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ppt/tags/tag9.xml" ContentType="application/vnd.openxmlformats-officedocument.presentationml.tags+xml"/>
  <Override PartName="/ppt/notesSlides/notesSlide2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8"/>
  </p:sldMasterIdLst>
  <p:notesMasterIdLst>
    <p:notesMasterId r:id="rId56"/>
  </p:notesMasterIdLst>
  <p:handoutMasterIdLst>
    <p:handoutMasterId r:id="rId57"/>
  </p:handoutMasterIdLst>
  <p:sldIdLst>
    <p:sldId id="260" r:id="rId19"/>
    <p:sldId id="258" r:id="rId20"/>
    <p:sldId id="562" r:id="rId21"/>
    <p:sldId id="561" r:id="rId22"/>
    <p:sldId id="534" r:id="rId23"/>
    <p:sldId id="589" r:id="rId24"/>
    <p:sldId id="2076138400" r:id="rId25"/>
    <p:sldId id="257" r:id="rId26"/>
    <p:sldId id="3684" r:id="rId27"/>
    <p:sldId id="2076136703" r:id="rId28"/>
    <p:sldId id="2076138399" r:id="rId29"/>
    <p:sldId id="2076136704" r:id="rId30"/>
    <p:sldId id="597" r:id="rId31"/>
    <p:sldId id="2076136636" r:id="rId32"/>
    <p:sldId id="599" r:id="rId33"/>
    <p:sldId id="601" r:id="rId34"/>
    <p:sldId id="2076136638" r:id="rId35"/>
    <p:sldId id="2076138415" r:id="rId36"/>
    <p:sldId id="2076138416" r:id="rId37"/>
    <p:sldId id="2076138417" r:id="rId38"/>
    <p:sldId id="2076138401" r:id="rId39"/>
    <p:sldId id="2076138402" r:id="rId40"/>
    <p:sldId id="2076136650" r:id="rId41"/>
    <p:sldId id="2076136651" r:id="rId42"/>
    <p:sldId id="2076136652" r:id="rId43"/>
    <p:sldId id="564" r:id="rId44"/>
    <p:sldId id="565" r:id="rId45"/>
    <p:sldId id="566" r:id="rId46"/>
    <p:sldId id="2076136663" r:id="rId47"/>
    <p:sldId id="2076136664" r:id="rId48"/>
    <p:sldId id="2076136668" r:id="rId49"/>
    <p:sldId id="2076136691" r:id="rId50"/>
    <p:sldId id="2076138408" r:id="rId51"/>
    <p:sldId id="610" r:id="rId52"/>
    <p:sldId id="611" r:id="rId53"/>
    <p:sldId id="614" r:id="rId54"/>
    <p:sldId id="259" r:id="rId55"/>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589"/>
            <p14:sldId id="2076138400"/>
            <p14:sldId id="257"/>
            <p14:sldId id="3684"/>
            <p14:sldId id="2076136703"/>
            <p14:sldId id="2076138399"/>
            <p14:sldId id="2076136704"/>
            <p14:sldId id="597"/>
            <p14:sldId id="2076136636"/>
            <p14:sldId id="599"/>
            <p14:sldId id="601"/>
            <p14:sldId id="2076136638"/>
            <p14:sldId id="2076138415"/>
            <p14:sldId id="2076138416"/>
            <p14:sldId id="2076138417"/>
            <p14:sldId id="2076138401"/>
            <p14:sldId id="2076138402"/>
            <p14:sldId id="2076136650"/>
            <p14:sldId id="2076136651"/>
            <p14:sldId id="2076136652"/>
          </p14:sldIdLst>
        </p14:section>
        <p14:section name="Lesson2" id="{6F639A05-2893-48A9-A600-6681E43668C4}">
          <p14:sldIdLst>
            <p14:sldId id="564"/>
            <p14:sldId id="565"/>
            <p14:sldId id="566"/>
            <p14:sldId id="2076136663"/>
            <p14:sldId id="2076136664"/>
            <p14:sldId id="2076136668"/>
            <p14:sldId id="2076136691"/>
            <p14:sldId id="2076138408"/>
            <p14:sldId id="610"/>
            <p14:sldId id="611"/>
            <p14:sldId id="614"/>
          </p14:sldIdLst>
        </p14:section>
        <p14:section name="End" id="{055D6A13-ED50-42FA-829F-CC2B8CC81B17}">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 id="2" name="Renata Festa" initials="RF" lastIdx="3" clrIdx="1">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E6FF"/>
    <a:srgbClr val="243A5E"/>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FA2523-17CE-49B4-9F1E-13E112D8D9C3}" v="8" dt="2020-10-16T21:50:19.367"/>
    <p1510:client id="{55A645A5-8446-4DC7-84B2-3846788E9E4A}" v="89" dt="2020-10-16T21:45:05.6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1328" autoAdjust="0"/>
  </p:normalViewPr>
  <p:slideViewPr>
    <p:cSldViewPr snapToGrid="0">
      <p:cViewPr varScale="1">
        <p:scale>
          <a:sx n="69" d="100"/>
          <a:sy n="69" d="100"/>
        </p:scale>
        <p:origin x="508"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1.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notesMaster" Target="notesMasters/notesMaster1.xml"/><Relationship Id="rId64"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commentAuthors" Target="commen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handoutMaster" Target="handoutMasters/handoutMaster1.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1.xml"/><Relationship Id="rId39" Type="http://schemas.openxmlformats.org/officeDocument/2006/relationships/slide" Target="slides/slide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56FBBF3B-0C1A-4DA3-85D1-A8ED2EAB4583}"/>
    <pc:docChg chg="undo custSel modSld sldOrd">
      <pc:chgData name="Batuhan Yildiz" userId="90f344fc-4655-4923-aeaf-697bba59c1a7" providerId="ADAL" clId="{56FBBF3B-0C1A-4DA3-85D1-A8ED2EAB4583}" dt="2020-05-19T22:26:47.687" v="133" actId="12100"/>
      <pc:docMkLst>
        <pc:docMk/>
      </pc:docMkLst>
      <pc:sldChg chg="addSp delSp modSp mod">
        <pc:chgData name="Batuhan Yildiz" userId="90f344fc-4655-4923-aeaf-697bba59c1a7" providerId="ADAL" clId="{56FBBF3B-0C1A-4DA3-85D1-A8ED2EAB4583}" dt="2020-05-19T22:15:12.962" v="79" actId="12100"/>
        <pc:sldMkLst>
          <pc:docMk/>
          <pc:sldMk cId="641676752" sldId="589"/>
        </pc:sldMkLst>
        <pc:spChg chg="add del mod">
          <ac:chgData name="Batuhan Yildiz" userId="90f344fc-4655-4923-aeaf-697bba59c1a7" providerId="ADAL" clId="{56FBBF3B-0C1A-4DA3-85D1-A8ED2EAB4583}" dt="2020-05-19T19:24:34.126" v="63" actId="478"/>
          <ac:spMkLst>
            <pc:docMk/>
            <pc:sldMk cId="641676752" sldId="589"/>
            <ac:spMk id="7" creationId="{020C9893-1A78-44B6-91FD-BA530D8A7F18}"/>
          </ac:spMkLst>
        </pc:spChg>
        <pc:spChg chg="add mod">
          <ac:chgData name="Batuhan Yildiz" userId="90f344fc-4655-4923-aeaf-697bba59c1a7" providerId="ADAL" clId="{56FBBF3B-0C1A-4DA3-85D1-A8ED2EAB4583}" dt="2020-05-19T19:26:12.352" v="74" actId="20577"/>
          <ac:spMkLst>
            <pc:docMk/>
            <pc:sldMk cId="641676752" sldId="589"/>
            <ac:spMk id="8" creationId="{EA792C95-F225-435D-8F58-50A370E966D0}"/>
          </ac:spMkLst>
        </pc:spChg>
        <pc:graphicFrameChg chg="mod">
          <ac:chgData name="Batuhan Yildiz" userId="90f344fc-4655-4923-aeaf-697bba59c1a7" providerId="ADAL" clId="{56FBBF3B-0C1A-4DA3-85D1-A8ED2EAB4583}" dt="2020-05-19T22:15:12.962" v="79" actId="12100"/>
          <ac:graphicFrameMkLst>
            <pc:docMk/>
            <pc:sldMk cId="641676752" sldId="589"/>
            <ac:graphicFrameMk id="6" creationId="{04DE0AED-3D4D-4F08-82DC-72CF55A44BB2}"/>
          </ac:graphicFrameMkLst>
        </pc:graphicFrameChg>
      </pc:sldChg>
      <pc:sldChg chg="modSp">
        <pc:chgData name="Batuhan Yildiz" userId="90f344fc-4655-4923-aeaf-697bba59c1a7" providerId="ADAL" clId="{56FBBF3B-0C1A-4DA3-85D1-A8ED2EAB4583}" dt="2020-05-19T22:15:29.103" v="80" actId="12100"/>
        <pc:sldMkLst>
          <pc:docMk/>
          <pc:sldMk cId="1639023780" sldId="593"/>
        </pc:sldMkLst>
        <pc:graphicFrameChg chg="mod">
          <ac:chgData name="Batuhan Yildiz" userId="90f344fc-4655-4923-aeaf-697bba59c1a7" providerId="ADAL" clId="{56FBBF3B-0C1A-4DA3-85D1-A8ED2EAB4583}" dt="2020-05-19T22:15:29.103" v="80" actId="12100"/>
          <ac:graphicFrameMkLst>
            <pc:docMk/>
            <pc:sldMk cId="1639023780" sldId="593"/>
            <ac:graphicFrameMk id="54" creationId="{C48F65C3-D79D-423B-9670-51D674871622}"/>
          </ac:graphicFrameMkLst>
        </pc:graphicFrameChg>
      </pc:sldChg>
      <pc:sldChg chg="modSp">
        <pc:chgData name="Batuhan Yildiz" userId="90f344fc-4655-4923-aeaf-697bba59c1a7" providerId="ADAL" clId="{56FBBF3B-0C1A-4DA3-85D1-A8ED2EAB4583}" dt="2020-05-19T22:15:57.662" v="81" actId="12100"/>
        <pc:sldMkLst>
          <pc:docMk/>
          <pc:sldMk cId="3481897816" sldId="594"/>
        </pc:sldMkLst>
        <pc:graphicFrameChg chg="mod">
          <ac:chgData name="Batuhan Yildiz" userId="90f344fc-4655-4923-aeaf-697bba59c1a7" providerId="ADAL" clId="{56FBBF3B-0C1A-4DA3-85D1-A8ED2EAB4583}" dt="2020-05-19T22:15:57.662" v="81" actId="12100"/>
          <ac:graphicFrameMkLst>
            <pc:docMk/>
            <pc:sldMk cId="3481897816" sldId="594"/>
            <ac:graphicFrameMk id="5" creationId="{61082510-4C94-44B7-B8E2-D51744F02EFD}"/>
          </ac:graphicFrameMkLst>
        </pc:graphicFrameChg>
      </pc:sldChg>
      <pc:sldChg chg="modSp">
        <pc:chgData name="Batuhan Yildiz" userId="90f344fc-4655-4923-aeaf-697bba59c1a7" providerId="ADAL" clId="{56FBBF3B-0C1A-4DA3-85D1-A8ED2EAB4583}" dt="2020-05-19T22:16:21.257" v="82" actId="12100"/>
        <pc:sldMkLst>
          <pc:docMk/>
          <pc:sldMk cId="129772539" sldId="597"/>
        </pc:sldMkLst>
        <pc:graphicFrameChg chg="mod">
          <ac:chgData name="Batuhan Yildiz" userId="90f344fc-4655-4923-aeaf-697bba59c1a7" providerId="ADAL" clId="{56FBBF3B-0C1A-4DA3-85D1-A8ED2EAB4583}" dt="2020-05-19T22:16:21.257" v="82" actId="12100"/>
          <ac:graphicFrameMkLst>
            <pc:docMk/>
            <pc:sldMk cId="129772539" sldId="597"/>
            <ac:graphicFrameMk id="56" creationId="{AA37CBE4-8426-49ED-855E-F7D6AF9139AA}"/>
          </ac:graphicFrameMkLst>
        </pc:graphicFrameChg>
      </pc:sldChg>
      <pc:sldChg chg="modSp">
        <pc:chgData name="Batuhan Yildiz" userId="90f344fc-4655-4923-aeaf-697bba59c1a7" providerId="ADAL" clId="{56FBBF3B-0C1A-4DA3-85D1-A8ED2EAB4583}" dt="2020-05-19T22:16:50.277" v="84" actId="12100"/>
        <pc:sldMkLst>
          <pc:docMk/>
          <pc:sldMk cId="783530848" sldId="599"/>
        </pc:sldMkLst>
        <pc:graphicFrameChg chg="mod">
          <ac:chgData name="Batuhan Yildiz" userId="90f344fc-4655-4923-aeaf-697bba59c1a7" providerId="ADAL" clId="{56FBBF3B-0C1A-4DA3-85D1-A8ED2EAB4583}" dt="2020-05-19T22:16:50.277" v="84" actId="12100"/>
          <ac:graphicFrameMkLst>
            <pc:docMk/>
            <pc:sldMk cId="783530848" sldId="599"/>
            <ac:graphicFrameMk id="9" creationId="{580710EA-282A-47EC-93C4-EC32C29CD39B}"/>
          </ac:graphicFrameMkLst>
        </pc:graphicFrameChg>
      </pc:sldChg>
      <pc:sldChg chg="modSp">
        <pc:chgData name="Batuhan Yildiz" userId="90f344fc-4655-4923-aeaf-697bba59c1a7" providerId="ADAL" clId="{56FBBF3B-0C1A-4DA3-85D1-A8ED2EAB4583}" dt="2020-05-19T22:16:59.611" v="85" actId="12100"/>
        <pc:sldMkLst>
          <pc:docMk/>
          <pc:sldMk cId="2369490167" sldId="600"/>
        </pc:sldMkLst>
        <pc:graphicFrameChg chg="mod">
          <ac:chgData name="Batuhan Yildiz" userId="90f344fc-4655-4923-aeaf-697bba59c1a7" providerId="ADAL" clId="{56FBBF3B-0C1A-4DA3-85D1-A8ED2EAB4583}" dt="2020-05-19T22:16:59.611" v="85" actId="12100"/>
          <ac:graphicFrameMkLst>
            <pc:docMk/>
            <pc:sldMk cId="2369490167" sldId="600"/>
            <ac:graphicFrameMk id="8" creationId="{BC89735D-35A1-4B37-9372-A27C46EE4072}"/>
          </ac:graphicFrameMkLst>
        </pc:graphicFrameChg>
      </pc:sldChg>
      <pc:sldChg chg="modSp">
        <pc:chgData name="Batuhan Yildiz" userId="90f344fc-4655-4923-aeaf-697bba59c1a7" providerId="ADAL" clId="{56FBBF3B-0C1A-4DA3-85D1-A8ED2EAB4583}" dt="2020-05-19T22:19:40.567" v="100" actId="255"/>
        <pc:sldMkLst>
          <pc:docMk/>
          <pc:sldMk cId="1398347698" sldId="602"/>
        </pc:sldMkLst>
        <pc:graphicFrameChg chg="mod">
          <ac:chgData name="Batuhan Yildiz" userId="90f344fc-4655-4923-aeaf-697bba59c1a7" providerId="ADAL" clId="{56FBBF3B-0C1A-4DA3-85D1-A8ED2EAB4583}" dt="2020-05-19T22:19:40.567" v="100" actId="255"/>
          <ac:graphicFrameMkLst>
            <pc:docMk/>
            <pc:sldMk cId="1398347698" sldId="602"/>
            <ac:graphicFrameMk id="43" creationId="{FEF1F9D0-F334-4A9E-9AA9-4DBC8F03075C}"/>
          </ac:graphicFrameMkLst>
        </pc:graphicFrameChg>
      </pc:sldChg>
      <pc:sldChg chg="modSp">
        <pc:chgData name="Batuhan Yildiz" userId="90f344fc-4655-4923-aeaf-697bba59c1a7" providerId="ADAL" clId="{56FBBF3B-0C1A-4DA3-85D1-A8ED2EAB4583}" dt="2020-05-19T22:18:07.359" v="92" actId="255"/>
        <pc:sldMkLst>
          <pc:docMk/>
          <pc:sldMk cId="428745910" sldId="2076136571"/>
        </pc:sldMkLst>
        <pc:graphicFrameChg chg="mod">
          <ac:chgData name="Batuhan Yildiz" userId="90f344fc-4655-4923-aeaf-697bba59c1a7" providerId="ADAL" clId="{56FBBF3B-0C1A-4DA3-85D1-A8ED2EAB4583}" dt="2020-05-19T22:18:07.359" v="92" actId="255"/>
          <ac:graphicFrameMkLst>
            <pc:docMk/>
            <pc:sldMk cId="428745910" sldId="2076136571"/>
            <ac:graphicFrameMk id="7" creationId="{06FC3312-3751-49D5-9529-688AF08D3398}"/>
          </ac:graphicFrameMkLst>
        </pc:graphicFrameChg>
      </pc:sldChg>
      <pc:sldChg chg="modSp mod">
        <pc:chgData name="Batuhan Yildiz" userId="90f344fc-4655-4923-aeaf-697bba59c1a7" providerId="ADAL" clId="{56FBBF3B-0C1A-4DA3-85D1-A8ED2EAB4583}" dt="2020-05-19T22:16:30.249" v="83" actId="12385"/>
        <pc:sldMkLst>
          <pc:docMk/>
          <pc:sldMk cId="4139485802" sldId="2076136636"/>
        </pc:sldMkLst>
        <pc:graphicFrameChg chg="modGraphic">
          <ac:chgData name="Batuhan Yildiz" userId="90f344fc-4655-4923-aeaf-697bba59c1a7" providerId="ADAL" clId="{56FBBF3B-0C1A-4DA3-85D1-A8ED2EAB4583}" dt="2020-05-19T22:16:30.249" v="83" actId="12385"/>
          <ac:graphicFrameMkLst>
            <pc:docMk/>
            <pc:sldMk cId="4139485802" sldId="2076136636"/>
            <ac:graphicFrameMk id="23" creationId="{B0DE46E9-B9D5-4510-A31A-1FBA0F0F23A2}"/>
          </ac:graphicFrameMkLst>
        </pc:graphicFrameChg>
      </pc:sldChg>
      <pc:sldChg chg="ord">
        <pc:chgData name="Batuhan Yildiz" userId="90f344fc-4655-4923-aeaf-697bba59c1a7" providerId="ADAL" clId="{56FBBF3B-0C1A-4DA3-85D1-A8ED2EAB4583}" dt="2020-05-19T19:27:47.990" v="76"/>
        <pc:sldMkLst>
          <pc:docMk/>
          <pc:sldMk cId="364567982" sldId="2076136646"/>
        </pc:sldMkLst>
      </pc:sldChg>
      <pc:sldChg chg="ord">
        <pc:chgData name="Batuhan Yildiz" userId="90f344fc-4655-4923-aeaf-697bba59c1a7" providerId="ADAL" clId="{56FBBF3B-0C1A-4DA3-85D1-A8ED2EAB4583}" dt="2020-05-19T19:28:58.268" v="78"/>
        <pc:sldMkLst>
          <pc:docMk/>
          <pc:sldMk cId="4117970720" sldId="2076136647"/>
        </pc:sldMkLst>
      </pc:sldChg>
      <pc:sldChg chg="modSp">
        <pc:chgData name="Batuhan Yildiz" userId="90f344fc-4655-4923-aeaf-697bba59c1a7" providerId="ADAL" clId="{56FBBF3B-0C1A-4DA3-85D1-A8ED2EAB4583}" dt="2020-05-19T22:20:08.664" v="101" actId="12100"/>
        <pc:sldMkLst>
          <pc:docMk/>
          <pc:sldMk cId="2575335592" sldId="2076136652"/>
        </pc:sldMkLst>
        <pc:graphicFrameChg chg="mod">
          <ac:chgData name="Batuhan Yildiz" userId="90f344fc-4655-4923-aeaf-697bba59c1a7" providerId="ADAL" clId="{56FBBF3B-0C1A-4DA3-85D1-A8ED2EAB4583}" dt="2020-05-19T22:20:08.664" v="101" actId="12100"/>
          <ac:graphicFrameMkLst>
            <pc:docMk/>
            <pc:sldMk cId="2575335592" sldId="2076136652"/>
            <ac:graphicFrameMk id="87" creationId="{9792F5B8-D284-4E2F-8E89-9BB7C415AF50}"/>
          </ac:graphicFrameMkLst>
        </pc:graphicFrameChg>
      </pc:sldChg>
      <pc:sldChg chg="modSp">
        <pc:chgData name="Batuhan Yildiz" userId="90f344fc-4655-4923-aeaf-697bba59c1a7" providerId="ADAL" clId="{56FBBF3B-0C1A-4DA3-85D1-A8ED2EAB4583}" dt="2020-05-19T22:21:26.861" v="109" actId="255"/>
        <pc:sldMkLst>
          <pc:docMk/>
          <pc:sldMk cId="3992590962" sldId="2076136654"/>
        </pc:sldMkLst>
        <pc:graphicFrameChg chg="mod">
          <ac:chgData name="Batuhan Yildiz" userId="90f344fc-4655-4923-aeaf-697bba59c1a7" providerId="ADAL" clId="{56FBBF3B-0C1A-4DA3-85D1-A8ED2EAB4583}" dt="2020-05-19T22:21:26.861" v="109" actId="255"/>
          <ac:graphicFrameMkLst>
            <pc:docMk/>
            <pc:sldMk cId="3992590962" sldId="2076136654"/>
            <ac:graphicFrameMk id="5" creationId="{ACFBD576-BC35-470F-AD93-9943AE29C551}"/>
          </ac:graphicFrameMkLst>
        </pc:graphicFrameChg>
      </pc:sldChg>
      <pc:sldChg chg="modSp">
        <pc:chgData name="Batuhan Yildiz" userId="90f344fc-4655-4923-aeaf-697bba59c1a7" providerId="ADAL" clId="{56FBBF3B-0C1A-4DA3-85D1-A8ED2EAB4583}" dt="2020-05-19T22:21:39.470" v="110" actId="12100"/>
        <pc:sldMkLst>
          <pc:docMk/>
          <pc:sldMk cId="4236357783" sldId="2076136655"/>
        </pc:sldMkLst>
        <pc:graphicFrameChg chg="mod">
          <ac:chgData name="Batuhan Yildiz" userId="90f344fc-4655-4923-aeaf-697bba59c1a7" providerId="ADAL" clId="{56FBBF3B-0C1A-4DA3-85D1-A8ED2EAB4583}" dt="2020-05-19T22:21:39.470" v="110" actId="12100"/>
          <ac:graphicFrameMkLst>
            <pc:docMk/>
            <pc:sldMk cId="4236357783" sldId="2076136655"/>
            <ac:graphicFrameMk id="5" creationId="{99F96923-6F93-4314-845E-DE2C51DDCED2}"/>
          </ac:graphicFrameMkLst>
        </pc:graphicFrameChg>
      </pc:sldChg>
      <pc:sldChg chg="modSp">
        <pc:chgData name="Batuhan Yildiz" userId="90f344fc-4655-4923-aeaf-697bba59c1a7" providerId="ADAL" clId="{56FBBF3B-0C1A-4DA3-85D1-A8ED2EAB4583}" dt="2020-05-19T22:22:00.706" v="113" actId="255"/>
        <pc:sldMkLst>
          <pc:docMk/>
          <pc:sldMk cId="576151350" sldId="2076136663"/>
        </pc:sldMkLst>
        <pc:graphicFrameChg chg="mod">
          <ac:chgData name="Batuhan Yildiz" userId="90f344fc-4655-4923-aeaf-697bba59c1a7" providerId="ADAL" clId="{56FBBF3B-0C1A-4DA3-85D1-A8ED2EAB4583}" dt="2020-05-19T22:22:00.706" v="113" actId="255"/>
          <ac:graphicFrameMkLst>
            <pc:docMk/>
            <pc:sldMk cId="576151350" sldId="2076136663"/>
            <ac:graphicFrameMk id="6" creationId="{B0CC26BA-DFB8-43D6-B002-070DD5FC78D2}"/>
          </ac:graphicFrameMkLst>
        </pc:graphicFrameChg>
      </pc:sldChg>
      <pc:sldChg chg="modSp mod">
        <pc:chgData name="Batuhan Yildiz" userId="90f344fc-4655-4923-aeaf-697bba59c1a7" providerId="ADAL" clId="{56FBBF3B-0C1A-4DA3-85D1-A8ED2EAB4583}" dt="2020-05-19T22:22:17.507" v="119" actId="947"/>
        <pc:sldMkLst>
          <pc:docMk/>
          <pc:sldMk cId="3049863206" sldId="2076136664"/>
        </pc:sldMkLst>
        <pc:spChg chg="mod">
          <ac:chgData name="Batuhan Yildiz" userId="90f344fc-4655-4923-aeaf-697bba59c1a7" providerId="ADAL" clId="{56FBBF3B-0C1A-4DA3-85D1-A8ED2EAB4583}" dt="2020-05-19T22:22:17.507" v="119" actId="947"/>
          <ac:spMkLst>
            <pc:docMk/>
            <pc:sldMk cId="3049863206" sldId="2076136664"/>
            <ac:spMk id="7" creationId="{697BB698-8A02-4A95-8359-2F89451BD2E0}"/>
          </ac:spMkLst>
        </pc:spChg>
        <pc:spChg chg="mod">
          <ac:chgData name="Batuhan Yildiz" userId="90f344fc-4655-4923-aeaf-697bba59c1a7" providerId="ADAL" clId="{56FBBF3B-0C1A-4DA3-85D1-A8ED2EAB4583}" dt="2020-05-19T22:22:13.681" v="116" actId="947"/>
          <ac:spMkLst>
            <pc:docMk/>
            <pc:sldMk cId="3049863206" sldId="2076136664"/>
            <ac:spMk id="8" creationId="{6480B1C8-EB2A-497D-9DE9-1C444812EDFA}"/>
          </ac:spMkLst>
        </pc:spChg>
        <pc:spChg chg="mod">
          <ac:chgData name="Batuhan Yildiz" userId="90f344fc-4655-4923-aeaf-697bba59c1a7" providerId="ADAL" clId="{56FBBF3B-0C1A-4DA3-85D1-A8ED2EAB4583}" dt="2020-05-19T22:22:13.684" v="117" actId="947"/>
          <ac:spMkLst>
            <pc:docMk/>
            <pc:sldMk cId="3049863206" sldId="2076136664"/>
            <ac:spMk id="9" creationId="{E1D581F7-650B-4A10-B2BE-2A7CF4E8B434}"/>
          </ac:spMkLst>
        </pc:spChg>
        <pc:spChg chg="mod">
          <ac:chgData name="Batuhan Yildiz" userId="90f344fc-4655-4923-aeaf-697bba59c1a7" providerId="ADAL" clId="{56FBBF3B-0C1A-4DA3-85D1-A8ED2EAB4583}" dt="2020-05-19T22:22:13.689" v="118" actId="947"/>
          <ac:spMkLst>
            <pc:docMk/>
            <pc:sldMk cId="3049863206" sldId="2076136664"/>
            <ac:spMk id="10" creationId="{59474DAC-E394-408D-A3B2-78E15D318A30}"/>
          </ac:spMkLst>
        </pc:spChg>
      </pc:sldChg>
      <pc:sldChg chg="modSp mod">
        <pc:chgData name="Batuhan Yildiz" userId="90f344fc-4655-4923-aeaf-697bba59c1a7" providerId="ADAL" clId="{56FBBF3B-0C1A-4DA3-85D1-A8ED2EAB4583}" dt="2020-05-19T22:25:20.699" v="127" actId="12385"/>
        <pc:sldMkLst>
          <pc:docMk/>
          <pc:sldMk cId="664316681" sldId="2076136671"/>
        </pc:sldMkLst>
        <pc:graphicFrameChg chg="mod modGraphic">
          <ac:chgData name="Batuhan Yildiz" userId="90f344fc-4655-4923-aeaf-697bba59c1a7" providerId="ADAL" clId="{56FBBF3B-0C1A-4DA3-85D1-A8ED2EAB4583}" dt="2020-05-19T22:25:20.699" v="127" actId="12385"/>
          <ac:graphicFrameMkLst>
            <pc:docMk/>
            <pc:sldMk cId="664316681" sldId="2076136671"/>
            <ac:graphicFrameMk id="5" creationId="{C08CE232-D447-467A-942B-7BF0381757EE}"/>
          </ac:graphicFrameMkLst>
        </pc:graphicFrameChg>
      </pc:sldChg>
      <pc:sldChg chg="modSp">
        <pc:chgData name="Batuhan Yildiz" userId="90f344fc-4655-4923-aeaf-697bba59c1a7" providerId="ADAL" clId="{56FBBF3B-0C1A-4DA3-85D1-A8ED2EAB4583}" dt="2020-05-19T22:23:34.548" v="120" actId="12100"/>
        <pc:sldMkLst>
          <pc:docMk/>
          <pc:sldMk cId="1400860027" sldId="2076136674"/>
        </pc:sldMkLst>
        <pc:graphicFrameChg chg="mod">
          <ac:chgData name="Batuhan Yildiz" userId="90f344fc-4655-4923-aeaf-697bba59c1a7" providerId="ADAL" clId="{56FBBF3B-0C1A-4DA3-85D1-A8ED2EAB4583}" dt="2020-05-19T22:23:34.548" v="120" actId="12100"/>
          <ac:graphicFrameMkLst>
            <pc:docMk/>
            <pc:sldMk cId="1400860027" sldId="2076136674"/>
            <ac:graphicFrameMk id="5" creationId="{44C78A62-EAD4-4FB9-BEC8-25D4F06D852F}"/>
          </ac:graphicFrameMkLst>
        </pc:graphicFrameChg>
      </pc:sldChg>
      <pc:sldChg chg="modSp">
        <pc:chgData name="Batuhan Yildiz" userId="90f344fc-4655-4923-aeaf-697bba59c1a7" providerId="ADAL" clId="{56FBBF3B-0C1A-4DA3-85D1-A8ED2EAB4583}" dt="2020-05-19T22:25:34.486" v="128" actId="12100"/>
        <pc:sldMkLst>
          <pc:docMk/>
          <pc:sldMk cId="1776456625" sldId="2076136676"/>
        </pc:sldMkLst>
        <pc:graphicFrameChg chg="mod">
          <ac:chgData name="Batuhan Yildiz" userId="90f344fc-4655-4923-aeaf-697bba59c1a7" providerId="ADAL" clId="{56FBBF3B-0C1A-4DA3-85D1-A8ED2EAB4583}" dt="2020-05-19T22:25:34.486" v="128" actId="12100"/>
          <ac:graphicFrameMkLst>
            <pc:docMk/>
            <pc:sldMk cId="1776456625" sldId="2076136676"/>
            <ac:graphicFrameMk id="5" creationId="{4C9D9838-DDE5-46DA-820C-29D7C6E20381}"/>
          </ac:graphicFrameMkLst>
        </pc:graphicFrameChg>
      </pc:sldChg>
      <pc:sldChg chg="modSp">
        <pc:chgData name="Batuhan Yildiz" userId="90f344fc-4655-4923-aeaf-697bba59c1a7" providerId="ADAL" clId="{56FBBF3B-0C1A-4DA3-85D1-A8ED2EAB4583}" dt="2020-05-19T22:25:40.842" v="129" actId="12100"/>
        <pc:sldMkLst>
          <pc:docMk/>
          <pc:sldMk cId="2694391453" sldId="2076136678"/>
        </pc:sldMkLst>
        <pc:graphicFrameChg chg="mod">
          <ac:chgData name="Batuhan Yildiz" userId="90f344fc-4655-4923-aeaf-697bba59c1a7" providerId="ADAL" clId="{56FBBF3B-0C1A-4DA3-85D1-A8ED2EAB4583}" dt="2020-05-19T22:25:40.842" v="129" actId="12100"/>
          <ac:graphicFrameMkLst>
            <pc:docMk/>
            <pc:sldMk cId="2694391453" sldId="2076136678"/>
            <ac:graphicFrameMk id="5" creationId="{3F0C86E6-FBC3-46E2-BD89-7A0FCECD7C9E}"/>
          </ac:graphicFrameMkLst>
        </pc:graphicFrameChg>
      </pc:sldChg>
      <pc:sldChg chg="modSp">
        <pc:chgData name="Batuhan Yildiz" userId="90f344fc-4655-4923-aeaf-697bba59c1a7" providerId="ADAL" clId="{56FBBF3B-0C1A-4DA3-85D1-A8ED2EAB4583}" dt="2020-05-19T22:25:57.232" v="131" actId="12100"/>
        <pc:sldMkLst>
          <pc:docMk/>
          <pc:sldMk cId="664196446" sldId="2076136692"/>
        </pc:sldMkLst>
        <pc:graphicFrameChg chg="mod">
          <ac:chgData name="Batuhan Yildiz" userId="90f344fc-4655-4923-aeaf-697bba59c1a7" providerId="ADAL" clId="{56FBBF3B-0C1A-4DA3-85D1-A8ED2EAB4583}" dt="2020-05-19T22:25:57.232" v="131" actId="12100"/>
          <ac:graphicFrameMkLst>
            <pc:docMk/>
            <pc:sldMk cId="664196446" sldId="2076136692"/>
            <ac:graphicFrameMk id="7" creationId="{18FFD0BA-ED18-4F81-8C66-3DA154E8B166}"/>
          </ac:graphicFrameMkLst>
        </pc:graphicFrameChg>
      </pc:sldChg>
      <pc:sldChg chg="modSp">
        <pc:chgData name="Batuhan Yildiz" userId="90f344fc-4655-4923-aeaf-697bba59c1a7" providerId="ADAL" clId="{56FBBF3B-0C1A-4DA3-85D1-A8ED2EAB4583}" dt="2020-05-19T22:26:41.933" v="132" actId="12100"/>
        <pc:sldMkLst>
          <pc:docMk/>
          <pc:sldMk cId="776602614" sldId="2076136697"/>
        </pc:sldMkLst>
        <pc:graphicFrameChg chg="mod">
          <ac:chgData name="Batuhan Yildiz" userId="90f344fc-4655-4923-aeaf-697bba59c1a7" providerId="ADAL" clId="{56FBBF3B-0C1A-4DA3-85D1-A8ED2EAB4583}" dt="2020-05-19T22:26:41.933" v="132" actId="12100"/>
          <ac:graphicFrameMkLst>
            <pc:docMk/>
            <pc:sldMk cId="776602614" sldId="2076136697"/>
            <ac:graphicFrameMk id="65" creationId="{7103A620-1990-4718-988F-41E4F6B5B358}"/>
          </ac:graphicFrameMkLst>
        </pc:graphicFrameChg>
      </pc:sldChg>
      <pc:sldChg chg="modSp">
        <pc:chgData name="Batuhan Yildiz" userId="90f344fc-4655-4923-aeaf-697bba59c1a7" providerId="ADAL" clId="{56FBBF3B-0C1A-4DA3-85D1-A8ED2EAB4583}" dt="2020-05-19T22:26:47.687" v="133" actId="12100"/>
        <pc:sldMkLst>
          <pc:docMk/>
          <pc:sldMk cId="1523218829" sldId="2076136699"/>
        </pc:sldMkLst>
        <pc:graphicFrameChg chg="mod">
          <ac:chgData name="Batuhan Yildiz" userId="90f344fc-4655-4923-aeaf-697bba59c1a7" providerId="ADAL" clId="{56FBBF3B-0C1A-4DA3-85D1-A8ED2EAB4583}" dt="2020-05-19T22:26:47.687" v="133" actId="12100"/>
          <ac:graphicFrameMkLst>
            <pc:docMk/>
            <pc:sldMk cId="1523218829" sldId="2076136699"/>
            <ac:graphicFrameMk id="35" creationId="{D0B76E88-7116-4F9D-BCE3-FD82DC90077B}"/>
          </ac:graphicFrameMkLst>
        </pc:graphicFrameChg>
      </pc:sldChg>
    </pc:docChg>
  </pc:docChgLst>
  <pc:docChgLst>
    <pc:chgData name="Rizwan Hassan" userId="04ec4a88-24aa-4abd-b901-af898e55845d" providerId="ADAL" clId="{55A645A5-8446-4DC7-84B2-3846788E9E4A}"/>
    <pc:docChg chg="custSel modSld sldOrd">
      <pc:chgData name="Rizwan Hassan" userId="04ec4a88-24aa-4abd-b901-af898e55845d" providerId="ADAL" clId="{55A645A5-8446-4DC7-84B2-3846788E9E4A}" dt="2020-10-16T21:45:05.623" v="176" actId="14100"/>
      <pc:docMkLst>
        <pc:docMk/>
      </pc:docMkLst>
      <pc:sldChg chg="modSp mod modNotesTx">
        <pc:chgData name="Rizwan Hassan" userId="04ec4a88-24aa-4abd-b901-af898e55845d" providerId="ADAL" clId="{55A645A5-8446-4DC7-84B2-3846788E9E4A}" dt="2020-10-16T21:41:42.630" v="126" actId="20577"/>
        <pc:sldMkLst>
          <pc:docMk/>
          <pc:sldMk cId="783530848" sldId="599"/>
        </pc:sldMkLst>
        <pc:spChg chg="mod">
          <ac:chgData name="Rizwan Hassan" userId="04ec4a88-24aa-4abd-b901-af898e55845d" providerId="ADAL" clId="{55A645A5-8446-4DC7-84B2-3846788E9E4A}" dt="2020-10-15T20:04:48.989" v="73" actId="1076"/>
          <ac:spMkLst>
            <pc:docMk/>
            <pc:sldMk cId="783530848" sldId="599"/>
            <ac:spMk id="10" creationId="{65CACE8B-44F7-491A-83A9-1D3DD248E43D}"/>
          </ac:spMkLst>
        </pc:spChg>
        <pc:graphicFrameChg chg="mod">
          <ac:chgData name="Rizwan Hassan" userId="04ec4a88-24aa-4abd-b901-af898e55845d" providerId="ADAL" clId="{55A645A5-8446-4DC7-84B2-3846788E9E4A}" dt="2020-10-16T21:41:42.630" v="126" actId="20577"/>
          <ac:graphicFrameMkLst>
            <pc:docMk/>
            <pc:sldMk cId="783530848" sldId="599"/>
            <ac:graphicFrameMk id="9" creationId="{580710EA-282A-47EC-93C4-EC32C29CD39B}"/>
          </ac:graphicFrameMkLst>
        </pc:graphicFrameChg>
      </pc:sldChg>
      <pc:sldChg chg="ord">
        <pc:chgData name="Rizwan Hassan" userId="04ec4a88-24aa-4abd-b901-af898e55845d" providerId="ADAL" clId="{55A645A5-8446-4DC7-84B2-3846788E9E4A}" dt="2020-10-15T20:11:04.602" v="84"/>
        <pc:sldMkLst>
          <pc:docMk/>
          <pc:sldMk cId="1325401877" sldId="603"/>
        </pc:sldMkLst>
      </pc:sldChg>
      <pc:sldChg chg="modNotesTx">
        <pc:chgData name="Rizwan Hassan" userId="04ec4a88-24aa-4abd-b901-af898e55845d" providerId="ADAL" clId="{55A645A5-8446-4DC7-84B2-3846788E9E4A}" dt="2020-10-15T20:08:15.384" v="82" actId="20577"/>
        <pc:sldMkLst>
          <pc:docMk/>
          <pc:sldMk cId="2276845176" sldId="2076136638"/>
        </pc:sldMkLst>
      </pc:sldChg>
      <pc:sldChg chg="modSp mod">
        <pc:chgData name="Rizwan Hassan" userId="04ec4a88-24aa-4abd-b901-af898e55845d" providerId="ADAL" clId="{55A645A5-8446-4DC7-84B2-3846788E9E4A}" dt="2020-10-16T21:42:23.729" v="135" actId="20577"/>
        <pc:sldMkLst>
          <pc:docMk/>
          <pc:sldMk cId="1168460214" sldId="2076136642"/>
        </pc:sldMkLst>
        <pc:graphicFrameChg chg="modGraphic">
          <ac:chgData name="Rizwan Hassan" userId="04ec4a88-24aa-4abd-b901-af898e55845d" providerId="ADAL" clId="{55A645A5-8446-4DC7-84B2-3846788E9E4A}" dt="2020-10-16T21:42:23.729" v="135" actId="20577"/>
          <ac:graphicFrameMkLst>
            <pc:docMk/>
            <pc:sldMk cId="1168460214" sldId="2076136642"/>
            <ac:graphicFrameMk id="14" creationId="{81DA0D0A-6A76-479C-9608-A86440D4607E}"/>
          </ac:graphicFrameMkLst>
        </pc:graphicFrameChg>
      </pc:sldChg>
      <pc:sldChg chg="modSp mod">
        <pc:chgData name="Rizwan Hassan" userId="04ec4a88-24aa-4abd-b901-af898e55845d" providerId="ADAL" clId="{55A645A5-8446-4DC7-84B2-3846788E9E4A}" dt="2020-10-16T21:43:41.472" v="171" actId="20577"/>
        <pc:sldMkLst>
          <pc:docMk/>
          <pc:sldMk cId="2835470576" sldId="2076136645"/>
        </pc:sldMkLst>
        <pc:spChg chg="mod">
          <ac:chgData name="Rizwan Hassan" userId="04ec4a88-24aa-4abd-b901-af898e55845d" providerId="ADAL" clId="{55A645A5-8446-4DC7-84B2-3846788E9E4A}" dt="2020-10-16T21:43:41.472" v="171" actId="20577"/>
          <ac:spMkLst>
            <pc:docMk/>
            <pc:sldMk cId="2835470576" sldId="2076136645"/>
            <ac:spMk id="6" creationId="{E466DD75-8A7F-4686-B27A-FB3C6BEE4C2C}"/>
          </ac:spMkLst>
        </pc:spChg>
        <pc:graphicFrameChg chg="modGraphic">
          <ac:chgData name="Rizwan Hassan" userId="04ec4a88-24aa-4abd-b901-af898e55845d" providerId="ADAL" clId="{55A645A5-8446-4DC7-84B2-3846788E9E4A}" dt="2020-10-16T21:43:23.309" v="138" actId="14100"/>
          <ac:graphicFrameMkLst>
            <pc:docMk/>
            <pc:sldMk cId="2835470576" sldId="2076136645"/>
            <ac:graphicFrameMk id="5" creationId="{BB42184F-CA1B-4A7B-9844-D1A2357E0022}"/>
          </ac:graphicFrameMkLst>
        </pc:graphicFrameChg>
      </pc:sldChg>
      <pc:sldChg chg="mod modShow">
        <pc:chgData name="Rizwan Hassan" userId="04ec4a88-24aa-4abd-b901-af898e55845d" providerId="ADAL" clId="{55A645A5-8446-4DC7-84B2-3846788E9E4A}" dt="2020-10-15T20:11:48.027" v="85" actId="729"/>
        <pc:sldMkLst>
          <pc:docMk/>
          <pc:sldMk cId="3992590962" sldId="2076136654"/>
        </pc:sldMkLst>
      </pc:sldChg>
      <pc:sldChg chg="mod modShow">
        <pc:chgData name="Rizwan Hassan" userId="04ec4a88-24aa-4abd-b901-af898e55845d" providerId="ADAL" clId="{55A645A5-8446-4DC7-84B2-3846788E9E4A}" dt="2020-10-15T20:11:52.515" v="86" actId="729"/>
        <pc:sldMkLst>
          <pc:docMk/>
          <pc:sldMk cId="4236357783" sldId="2076136655"/>
        </pc:sldMkLst>
      </pc:sldChg>
      <pc:sldChg chg="modSp mod">
        <pc:chgData name="Rizwan Hassan" userId="04ec4a88-24aa-4abd-b901-af898e55845d" providerId="ADAL" clId="{55A645A5-8446-4DC7-84B2-3846788E9E4A}" dt="2020-10-16T21:44:25.548" v="172" actId="20577"/>
        <pc:sldMkLst>
          <pc:docMk/>
          <pc:sldMk cId="1771447696" sldId="2076136665"/>
        </pc:sldMkLst>
        <pc:spChg chg="mod">
          <ac:chgData name="Rizwan Hassan" userId="04ec4a88-24aa-4abd-b901-af898e55845d" providerId="ADAL" clId="{55A645A5-8446-4DC7-84B2-3846788E9E4A}" dt="2020-10-16T21:44:25.548" v="172" actId="20577"/>
          <ac:spMkLst>
            <pc:docMk/>
            <pc:sldMk cId="1771447696" sldId="2076136665"/>
            <ac:spMk id="3" creationId="{F7F9C079-1EB3-4F42-8AF7-4181F65F9937}"/>
          </ac:spMkLst>
        </pc:spChg>
      </pc:sldChg>
      <pc:sldChg chg="modSp mod">
        <pc:chgData name="Rizwan Hassan" userId="04ec4a88-24aa-4abd-b901-af898e55845d" providerId="ADAL" clId="{55A645A5-8446-4DC7-84B2-3846788E9E4A}" dt="2020-10-15T20:12:35.342" v="87" actId="122"/>
        <pc:sldMkLst>
          <pc:docMk/>
          <pc:sldMk cId="664316681" sldId="2076136671"/>
        </pc:sldMkLst>
        <pc:graphicFrameChg chg="modGraphic">
          <ac:chgData name="Rizwan Hassan" userId="04ec4a88-24aa-4abd-b901-af898e55845d" providerId="ADAL" clId="{55A645A5-8446-4DC7-84B2-3846788E9E4A}" dt="2020-10-15T20:12:35.342" v="87" actId="122"/>
          <ac:graphicFrameMkLst>
            <pc:docMk/>
            <pc:sldMk cId="664316681" sldId="2076136671"/>
            <ac:graphicFrameMk id="5" creationId="{C08CE232-D447-467A-942B-7BF0381757EE}"/>
          </ac:graphicFrameMkLst>
        </pc:graphicFrameChg>
      </pc:sldChg>
      <pc:sldChg chg="modSp mod">
        <pc:chgData name="Rizwan Hassan" userId="04ec4a88-24aa-4abd-b901-af898e55845d" providerId="ADAL" clId="{55A645A5-8446-4DC7-84B2-3846788E9E4A}" dt="2020-10-16T21:44:52.712" v="174" actId="14100"/>
        <pc:sldMkLst>
          <pc:docMk/>
          <pc:sldMk cId="357102091" sldId="2076136672"/>
        </pc:sldMkLst>
        <pc:graphicFrameChg chg="modGraphic">
          <ac:chgData name="Rizwan Hassan" userId="04ec4a88-24aa-4abd-b901-af898e55845d" providerId="ADAL" clId="{55A645A5-8446-4DC7-84B2-3846788E9E4A}" dt="2020-10-16T21:44:52.712" v="174" actId="14100"/>
          <ac:graphicFrameMkLst>
            <pc:docMk/>
            <pc:sldMk cId="357102091" sldId="2076136672"/>
            <ac:graphicFrameMk id="6" creationId="{40D25BCA-181A-4CF5-B031-3C6F0F7350DA}"/>
          </ac:graphicFrameMkLst>
        </pc:graphicFrameChg>
      </pc:sldChg>
      <pc:sldChg chg="modSp mod">
        <pc:chgData name="Rizwan Hassan" userId="04ec4a88-24aa-4abd-b901-af898e55845d" providerId="ADAL" clId="{55A645A5-8446-4DC7-84B2-3846788E9E4A}" dt="2020-10-16T21:45:05.623" v="176" actId="14100"/>
        <pc:sldMkLst>
          <pc:docMk/>
          <pc:sldMk cId="1100248008" sldId="2076136673"/>
        </pc:sldMkLst>
        <pc:graphicFrameChg chg="mod modGraphic">
          <ac:chgData name="Rizwan Hassan" userId="04ec4a88-24aa-4abd-b901-af898e55845d" providerId="ADAL" clId="{55A645A5-8446-4DC7-84B2-3846788E9E4A}" dt="2020-10-16T21:45:05.623" v="176" actId="14100"/>
          <ac:graphicFrameMkLst>
            <pc:docMk/>
            <pc:sldMk cId="1100248008" sldId="2076136673"/>
            <ac:graphicFrameMk id="6" creationId="{EA658248-1496-4FAD-9CFE-BAE13B30DA44}"/>
          </ac:graphicFrameMkLst>
        </pc:graphicFrameChg>
      </pc:sldChg>
    </pc:docChg>
  </pc:docChgLst>
  <pc:docChgLst>
    <pc:chgData name="Renata Festa" userId="6f22df47-533b-4c2a-a3c1-7f9ad1d63e10" providerId="ADAL" clId="{7D997690-04A4-4675-83D7-2E1CC2ED1A4E}"/>
    <pc:docChg chg="undo redo custSel mod addSld delSld modSld sldOrd addSection delSection modSection">
      <pc:chgData name="Renata Festa" userId="6f22df47-533b-4c2a-a3c1-7f9ad1d63e10" providerId="ADAL" clId="{7D997690-04A4-4675-83D7-2E1CC2ED1A4E}" dt="2020-03-27T17:23:44.570" v="5002" actId="12090"/>
      <pc:docMkLst>
        <pc:docMk/>
      </pc:docMkLst>
      <pc:sldChg chg="addSp delSp modSp mod modShow modNotesTx">
        <pc:chgData name="Renata Festa" userId="6f22df47-533b-4c2a-a3c1-7f9ad1d63e10" providerId="ADAL" clId="{7D997690-04A4-4675-83D7-2E1CC2ED1A4E}" dt="2020-03-24T17:41:22.488" v="2692" actId="962"/>
        <pc:sldMkLst>
          <pc:docMk/>
          <pc:sldMk cId="3235270007" sldId="257"/>
        </pc:sldMkLst>
        <pc:spChg chg="mod">
          <ac:chgData name="Renata Festa" userId="6f22df47-533b-4c2a-a3c1-7f9ad1d63e10" providerId="ADAL" clId="{7D997690-04A4-4675-83D7-2E1CC2ED1A4E}" dt="2020-03-23T12:54:20.104" v="37"/>
          <ac:spMkLst>
            <pc:docMk/>
            <pc:sldMk cId="3235270007" sldId="257"/>
            <ac:spMk id="2" creationId="{EB67312A-9819-43C6-8D84-D9136E6CFFCC}"/>
          </ac:spMkLst>
        </pc:spChg>
        <pc:spChg chg="del">
          <ac:chgData name="Renata Festa" userId="6f22df47-533b-4c2a-a3c1-7f9ad1d63e10" providerId="ADAL" clId="{7D997690-04A4-4675-83D7-2E1CC2ED1A4E}" dt="2020-03-24T14:01:03.490" v="1640" actId="478"/>
          <ac:spMkLst>
            <pc:docMk/>
            <pc:sldMk cId="3235270007" sldId="257"/>
            <ac:spMk id="3" creationId="{F35E8CBB-5A7D-4DEF-BAF7-8DD5D042F9E0}"/>
          </ac:spMkLst>
        </pc:spChg>
        <pc:spChg chg="add del">
          <ac:chgData name="Renata Festa" userId="6f22df47-533b-4c2a-a3c1-7f9ad1d63e10" providerId="ADAL" clId="{7D997690-04A4-4675-83D7-2E1CC2ED1A4E}" dt="2020-03-24T14:01:05.893" v="1641" actId="478"/>
          <ac:spMkLst>
            <pc:docMk/>
            <pc:sldMk cId="3235270007" sldId="257"/>
            <ac:spMk id="4" creationId="{F3616A99-090F-45E1-9334-58D58B148205}"/>
          </ac:spMkLst>
        </pc:spChg>
        <pc:spChg chg="add del mod">
          <ac:chgData name="Renata Festa" userId="6f22df47-533b-4c2a-a3c1-7f9ad1d63e10" providerId="ADAL" clId="{7D997690-04A4-4675-83D7-2E1CC2ED1A4E}" dt="2020-03-23T12:54:26.195" v="39"/>
          <ac:spMkLst>
            <pc:docMk/>
            <pc:sldMk cId="3235270007" sldId="257"/>
            <ac:spMk id="5" creationId="{120C9C47-B2C8-4A72-8228-2C0EAE37E56D}"/>
          </ac:spMkLst>
        </pc:spChg>
        <pc:spChg chg="add mod">
          <ac:chgData name="Renata Festa" userId="6f22df47-533b-4c2a-a3c1-7f9ad1d63e10" providerId="ADAL" clId="{7D997690-04A4-4675-83D7-2E1CC2ED1A4E}" dt="2020-03-24T17:37:41.257" v="2365" actId="164"/>
          <ac:spMkLst>
            <pc:docMk/>
            <pc:sldMk cId="3235270007" sldId="257"/>
            <ac:spMk id="6" creationId="{EDB7564E-95B8-498D-A68B-0F745DF938D7}"/>
          </ac:spMkLst>
        </pc:spChg>
        <pc:spChg chg="add mod">
          <ac:chgData name="Renata Festa" userId="6f22df47-533b-4c2a-a3c1-7f9ad1d63e10" providerId="ADAL" clId="{7D997690-04A4-4675-83D7-2E1CC2ED1A4E}" dt="2020-03-24T17:37:41.257" v="2365" actId="164"/>
          <ac:spMkLst>
            <pc:docMk/>
            <pc:sldMk cId="3235270007" sldId="257"/>
            <ac:spMk id="9" creationId="{3E2A1003-40AF-44B8-BA85-28DCF450597B}"/>
          </ac:spMkLst>
        </pc:spChg>
        <pc:spChg chg="add mod">
          <ac:chgData name="Renata Festa" userId="6f22df47-533b-4c2a-a3c1-7f9ad1d63e10" providerId="ADAL" clId="{7D997690-04A4-4675-83D7-2E1CC2ED1A4E}" dt="2020-03-24T17:37:41.257" v="2365" actId="164"/>
          <ac:spMkLst>
            <pc:docMk/>
            <pc:sldMk cId="3235270007" sldId="257"/>
            <ac:spMk id="10" creationId="{53D98052-D14F-42BA-92BB-9851E65DAB4B}"/>
          </ac:spMkLst>
        </pc:spChg>
        <pc:spChg chg="add mod">
          <ac:chgData name="Renata Festa" userId="6f22df47-533b-4c2a-a3c1-7f9ad1d63e10" providerId="ADAL" clId="{7D997690-04A4-4675-83D7-2E1CC2ED1A4E}" dt="2020-03-24T17:37:41.257" v="2365" actId="164"/>
          <ac:spMkLst>
            <pc:docMk/>
            <pc:sldMk cId="3235270007" sldId="257"/>
            <ac:spMk id="14" creationId="{FCBDD917-082F-4047-8A62-46398353D8FF}"/>
          </ac:spMkLst>
        </pc:spChg>
        <pc:spChg chg="add mod">
          <ac:chgData name="Renata Festa" userId="6f22df47-533b-4c2a-a3c1-7f9ad1d63e10" providerId="ADAL" clId="{7D997690-04A4-4675-83D7-2E1CC2ED1A4E}" dt="2020-03-24T17:37:41.257" v="2365" actId="164"/>
          <ac:spMkLst>
            <pc:docMk/>
            <pc:sldMk cId="3235270007" sldId="257"/>
            <ac:spMk id="16" creationId="{ECEEC552-C320-4B8A-8E19-CCB704187752}"/>
          </ac:spMkLst>
        </pc:spChg>
        <pc:spChg chg="add mod">
          <ac:chgData name="Renata Festa" userId="6f22df47-533b-4c2a-a3c1-7f9ad1d63e10" providerId="ADAL" clId="{7D997690-04A4-4675-83D7-2E1CC2ED1A4E}" dt="2020-03-24T17:37:41.257" v="2365" actId="164"/>
          <ac:spMkLst>
            <pc:docMk/>
            <pc:sldMk cId="3235270007" sldId="257"/>
            <ac:spMk id="17" creationId="{161959DF-3FEF-49EE-AD7F-BC2780D8C697}"/>
          </ac:spMkLst>
        </pc:spChg>
        <pc:spChg chg="add mod">
          <ac:chgData name="Renata Festa" userId="6f22df47-533b-4c2a-a3c1-7f9ad1d63e10" providerId="ADAL" clId="{7D997690-04A4-4675-83D7-2E1CC2ED1A4E}" dt="2020-03-24T17:37:41.257" v="2365" actId="164"/>
          <ac:spMkLst>
            <pc:docMk/>
            <pc:sldMk cId="3235270007" sldId="257"/>
            <ac:spMk id="18" creationId="{4BBA0E84-B9B4-4172-8950-1FCD58746588}"/>
          </ac:spMkLst>
        </pc:spChg>
        <pc:spChg chg="add mod">
          <ac:chgData name="Renata Festa" userId="6f22df47-533b-4c2a-a3c1-7f9ad1d63e10" providerId="ADAL" clId="{7D997690-04A4-4675-83D7-2E1CC2ED1A4E}" dt="2020-03-24T17:37:41.257" v="2365" actId="164"/>
          <ac:spMkLst>
            <pc:docMk/>
            <pc:sldMk cId="3235270007" sldId="257"/>
            <ac:spMk id="27" creationId="{693CA917-DEBE-45D0-8561-ABC9DC2A2B3E}"/>
          </ac:spMkLst>
        </pc:spChg>
        <pc:spChg chg="add mod">
          <ac:chgData name="Renata Festa" userId="6f22df47-533b-4c2a-a3c1-7f9ad1d63e10" providerId="ADAL" clId="{7D997690-04A4-4675-83D7-2E1CC2ED1A4E}" dt="2020-03-24T17:37:41.257" v="2365" actId="164"/>
          <ac:spMkLst>
            <pc:docMk/>
            <pc:sldMk cId="3235270007" sldId="257"/>
            <ac:spMk id="37" creationId="{C1678387-11D3-47A8-BF88-479655335A22}"/>
          </ac:spMkLst>
        </pc:spChg>
        <pc:spChg chg="add mod">
          <ac:chgData name="Renata Festa" userId="6f22df47-533b-4c2a-a3c1-7f9ad1d63e10" providerId="ADAL" clId="{7D997690-04A4-4675-83D7-2E1CC2ED1A4E}" dt="2020-03-24T17:37:41.257" v="2365" actId="164"/>
          <ac:spMkLst>
            <pc:docMk/>
            <pc:sldMk cId="3235270007" sldId="257"/>
            <ac:spMk id="38" creationId="{E12235C6-BFFD-4659-B7A0-C596D372C69B}"/>
          </ac:spMkLst>
        </pc:spChg>
        <pc:spChg chg="add mod">
          <ac:chgData name="Renata Festa" userId="6f22df47-533b-4c2a-a3c1-7f9ad1d63e10" providerId="ADAL" clId="{7D997690-04A4-4675-83D7-2E1CC2ED1A4E}" dt="2020-03-24T17:37:41.257" v="2365" actId="164"/>
          <ac:spMkLst>
            <pc:docMk/>
            <pc:sldMk cId="3235270007" sldId="257"/>
            <ac:spMk id="44" creationId="{D95A261B-B6C0-4FAF-B95D-FE32FC45A872}"/>
          </ac:spMkLst>
        </pc:spChg>
        <pc:spChg chg="add mod">
          <ac:chgData name="Renata Festa" userId="6f22df47-533b-4c2a-a3c1-7f9ad1d63e10" providerId="ADAL" clId="{7D997690-04A4-4675-83D7-2E1CC2ED1A4E}" dt="2020-03-24T17:37:41.257" v="2365" actId="164"/>
          <ac:spMkLst>
            <pc:docMk/>
            <pc:sldMk cId="3235270007" sldId="257"/>
            <ac:spMk id="45" creationId="{8FF55B84-B17D-4EFB-9E46-90AE337A7349}"/>
          </ac:spMkLst>
        </pc:spChg>
        <pc:grpChg chg="add mod">
          <ac:chgData name="Renata Festa" userId="6f22df47-533b-4c2a-a3c1-7f9ad1d63e10" providerId="ADAL" clId="{7D997690-04A4-4675-83D7-2E1CC2ED1A4E}" dt="2020-03-24T17:41:22.488" v="2692" actId="962"/>
          <ac:grpSpMkLst>
            <pc:docMk/>
            <pc:sldMk cId="3235270007" sldId="257"/>
            <ac:grpSpMk id="3" creationId="{4D34517C-A9CA-4D67-9E91-2CBD2D1B944D}"/>
          </ac:grpSpMkLst>
        </pc:grpChg>
        <pc:grpChg chg="add mod">
          <ac:chgData name="Renata Festa" userId="6f22df47-533b-4c2a-a3c1-7f9ad1d63e10" providerId="ADAL" clId="{7D997690-04A4-4675-83D7-2E1CC2ED1A4E}" dt="2020-03-24T17:37:41.257" v="2365" actId="164"/>
          <ac:grpSpMkLst>
            <pc:docMk/>
            <pc:sldMk cId="3235270007" sldId="257"/>
            <ac:grpSpMk id="19" creationId="{469D03F4-DEDA-4EA7-A144-54F37A55B242}"/>
          </ac:grpSpMkLst>
        </pc:grpChg>
        <pc:grpChg chg="add mod">
          <ac:chgData name="Renata Festa" userId="6f22df47-533b-4c2a-a3c1-7f9ad1d63e10" providerId="ADAL" clId="{7D997690-04A4-4675-83D7-2E1CC2ED1A4E}" dt="2020-03-24T17:37:41.257" v="2365" actId="164"/>
          <ac:grpSpMkLst>
            <pc:docMk/>
            <pc:sldMk cId="3235270007" sldId="257"/>
            <ac:grpSpMk id="22" creationId="{06810C62-B434-4EEF-A49F-E1995C8EEE76}"/>
          </ac:grpSpMkLst>
        </pc:grpChg>
        <pc:grpChg chg="add mod">
          <ac:chgData name="Renata Festa" userId="6f22df47-533b-4c2a-a3c1-7f9ad1d63e10" providerId="ADAL" clId="{7D997690-04A4-4675-83D7-2E1CC2ED1A4E}" dt="2020-03-24T17:37:41.257" v="2365" actId="164"/>
          <ac:grpSpMkLst>
            <pc:docMk/>
            <pc:sldMk cId="3235270007" sldId="257"/>
            <ac:grpSpMk id="28" creationId="{0438842F-E604-43D4-8894-732D926E0D21}"/>
          </ac:grpSpMkLst>
        </pc:grpChg>
        <pc:grpChg chg="add mod">
          <ac:chgData name="Renata Festa" userId="6f22df47-533b-4c2a-a3c1-7f9ad1d63e10" providerId="ADAL" clId="{7D997690-04A4-4675-83D7-2E1CC2ED1A4E}" dt="2020-03-24T17:37:41.257" v="2365" actId="164"/>
          <ac:grpSpMkLst>
            <pc:docMk/>
            <pc:sldMk cId="3235270007" sldId="257"/>
            <ac:grpSpMk id="32" creationId="{418424C3-0316-4737-8B67-DB7EB144EC94}"/>
          </ac:grpSpMkLst>
        </pc:grpChg>
        <pc:grpChg chg="add mod">
          <ac:chgData name="Renata Festa" userId="6f22df47-533b-4c2a-a3c1-7f9ad1d63e10" providerId="ADAL" clId="{7D997690-04A4-4675-83D7-2E1CC2ED1A4E}" dt="2020-03-24T17:37:41.257" v="2365" actId="164"/>
          <ac:grpSpMkLst>
            <pc:docMk/>
            <pc:sldMk cId="3235270007" sldId="257"/>
            <ac:grpSpMk id="39" creationId="{F23EB9B5-375F-499C-9D19-074944059085}"/>
          </ac:grpSpMkLst>
        </pc:grpChg>
        <pc:cxnChg chg="add mod">
          <ac:chgData name="Renata Festa" userId="6f22df47-533b-4c2a-a3c1-7f9ad1d63e10" providerId="ADAL" clId="{7D997690-04A4-4675-83D7-2E1CC2ED1A4E}" dt="2020-03-24T17:37:41.257" v="2365" actId="164"/>
          <ac:cxnSpMkLst>
            <pc:docMk/>
            <pc:sldMk cId="3235270007" sldId="257"/>
            <ac:cxnSpMk id="7" creationId="{B6CA9BDF-3F50-427B-B968-73FEB652A872}"/>
          </ac:cxnSpMkLst>
        </pc:cxnChg>
        <pc:cxnChg chg="add mod">
          <ac:chgData name="Renata Festa" userId="6f22df47-533b-4c2a-a3c1-7f9ad1d63e10" providerId="ADAL" clId="{7D997690-04A4-4675-83D7-2E1CC2ED1A4E}" dt="2020-03-24T17:37:41.257" v="2365" actId="164"/>
          <ac:cxnSpMkLst>
            <pc:docMk/>
            <pc:sldMk cId="3235270007" sldId="257"/>
            <ac:cxnSpMk id="8" creationId="{3CF66CF4-251C-479C-8DFD-DA97C8AA0F0C}"/>
          </ac:cxnSpMkLst>
        </pc:cxnChg>
        <pc:cxnChg chg="add mod">
          <ac:chgData name="Renata Festa" userId="6f22df47-533b-4c2a-a3c1-7f9ad1d63e10" providerId="ADAL" clId="{7D997690-04A4-4675-83D7-2E1CC2ED1A4E}" dt="2020-03-24T17:37:41.257" v="2365" actId="164"/>
          <ac:cxnSpMkLst>
            <pc:docMk/>
            <pc:sldMk cId="3235270007" sldId="257"/>
            <ac:cxnSpMk id="11" creationId="{5BEF7A87-9DAA-4FFF-94AB-B054732AC944}"/>
          </ac:cxnSpMkLst>
        </pc:cxnChg>
        <pc:cxnChg chg="add mod">
          <ac:chgData name="Renata Festa" userId="6f22df47-533b-4c2a-a3c1-7f9ad1d63e10" providerId="ADAL" clId="{7D997690-04A4-4675-83D7-2E1CC2ED1A4E}" dt="2020-03-24T17:37:41.257" v="2365" actId="164"/>
          <ac:cxnSpMkLst>
            <pc:docMk/>
            <pc:sldMk cId="3235270007" sldId="257"/>
            <ac:cxnSpMk id="12" creationId="{19502B52-5A05-47BA-861C-ACD7AAC7738D}"/>
          </ac:cxnSpMkLst>
        </pc:cxnChg>
        <pc:cxnChg chg="add mod">
          <ac:chgData name="Renata Festa" userId="6f22df47-533b-4c2a-a3c1-7f9ad1d63e10" providerId="ADAL" clId="{7D997690-04A4-4675-83D7-2E1CC2ED1A4E}" dt="2020-03-24T17:37:41.257" v="2365" actId="164"/>
          <ac:cxnSpMkLst>
            <pc:docMk/>
            <pc:sldMk cId="3235270007" sldId="257"/>
            <ac:cxnSpMk id="13" creationId="{3D38FC40-1040-41CB-B8F4-3B028BE9B3C4}"/>
          </ac:cxnSpMkLst>
        </pc:cxnChg>
        <pc:cxnChg chg="add mod">
          <ac:chgData name="Renata Festa" userId="6f22df47-533b-4c2a-a3c1-7f9ad1d63e10" providerId="ADAL" clId="{7D997690-04A4-4675-83D7-2E1CC2ED1A4E}" dt="2020-03-24T17:37:41.257" v="2365" actId="164"/>
          <ac:cxnSpMkLst>
            <pc:docMk/>
            <pc:sldMk cId="3235270007" sldId="257"/>
            <ac:cxnSpMk id="15" creationId="{4EBD0CCB-611C-4FD5-948D-F5697EED421A}"/>
          </ac:cxnSpMkLst>
        </pc:cxnChg>
        <pc:cxnChg chg="add mod">
          <ac:chgData name="Renata Festa" userId="6f22df47-533b-4c2a-a3c1-7f9ad1d63e10" providerId="ADAL" clId="{7D997690-04A4-4675-83D7-2E1CC2ED1A4E}" dt="2020-03-24T17:37:41.257" v="2365" actId="164"/>
          <ac:cxnSpMkLst>
            <pc:docMk/>
            <pc:sldMk cId="3235270007" sldId="257"/>
            <ac:cxnSpMk id="25" creationId="{B5F70571-79C1-493D-ADDD-BE3B9275586D}"/>
          </ac:cxnSpMkLst>
        </pc:cxnChg>
        <pc:cxnChg chg="add mod">
          <ac:chgData name="Renata Festa" userId="6f22df47-533b-4c2a-a3c1-7f9ad1d63e10" providerId="ADAL" clId="{7D997690-04A4-4675-83D7-2E1CC2ED1A4E}" dt="2020-03-24T17:37:41.257" v="2365" actId="164"/>
          <ac:cxnSpMkLst>
            <pc:docMk/>
            <pc:sldMk cId="3235270007" sldId="257"/>
            <ac:cxnSpMk id="26" creationId="{119B66B4-4D7A-467A-B3CE-BEBB005ED6AA}"/>
          </ac:cxnSpMkLst>
        </pc:cxnChg>
        <pc:cxnChg chg="add mod">
          <ac:chgData name="Renata Festa" userId="6f22df47-533b-4c2a-a3c1-7f9ad1d63e10" providerId="ADAL" clId="{7D997690-04A4-4675-83D7-2E1CC2ED1A4E}" dt="2020-03-24T17:37:41.257" v="2365" actId="164"/>
          <ac:cxnSpMkLst>
            <pc:docMk/>
            <pc:sldMk cId="3235270007" sldId="257"/>
            <ac:cxnSpMk id="35" creationId="{BB1BC3D7-28B2-4A1C-8526-B0123B2A2446}"/>
          </ac:cxnSpMkLst>
        </pc:cxnChg>
        <pc:cxnChg chg="add mod">
          <ac:chgData name="Renata Festa" userId="6f22df47-533b-4c2a-a3c1-7f9ad1d63e10" providerId="ADAL" clId="{7D997690-04A4-4675-83D7-2E1CC2ED1A4E}" dt="2020-03-24T17:37:41.257" v="2365" actId="164"/>
          <ac:cxnSpMkLst>
            <pc:docMk/>
            <pc:sldMk cId="3235270007" sldId="257"/>
            <ac:cxnSpMk id="36" creationId="{8A808728-50BE-44C3-B429-1C76E0B3F888}"/>
          </ac:cxnSpMkLst>
        </pc:cxnChg>
        <pc:cxnChg chg="add mod">
          <ac:chgData name="Renata Festa" userId="6f22df47-533b-4c2a-a3c1-7f9ad1d63e10" providerId="ADAL" clId="{7D997690-04A4-4675-83D7-2E1CC2ED1A4E}" dt="2020-03-24T17:37:41.257" v="2365" actId="164"/>
          <ac:cxnSpMkLst>
            <pc:docMk/>
            <pc:sldMk cId="3235270007" sldId="257"/>
            <ac:cxnSpMk id="42" creationId="{4EF5167A-90DB-4CE1-9179-93A7F342132F}"/>
          </ac:cxnSpMkLst>
        </pc:cxnChg>
        <pc:cxnChg chg="add mod">
          <ac:chgData name="Renata Festa" userId="6f22df47-533b-4c2a-a3c1-7f9ad1d63e10" providerId="ADAL" clId="{7D997690-04A4-4675-83D7-2E1CC2ED1A4E}" dt="2020-03-24T17:37:41.257" v="2365" actId="164"/>
          <ac:cxnSpMkLst>
            <pc:docMk/>
            <pc:sldMk cId="3235270007" sldId="257"/>
            <ac:cxnSpMk id="43" creationId="{8929777F-4906-45BC-8814-3E8BC7F44D99}"/>
          </ac:cxnSpMkLst>
        </pc:cxnChg>
        <pc:cxnChg chg="add mod">
          <ac:chgData name="Renata Festa" userId="6f22df47-533b-4c2a-a3c1-7f9ad1d63e10" providerId="ADAL" clId="{7D997690-04A4-4675-83D7-2E1CC2ED1A4E}" dt="2020-03-24T17:37:41.257" v="2365" actId="164"/>
          <ac:cxnSpMkLst>
            <pc:docMk/>
            <pc:sldMk cId="3235270007" sldId="257"/>
            <ac:cxnSpMk id="46" creationId="{6D162B8A-4C86-4B87-95A1-C21D98DE01CD}"/>
          </ac:cxnSpMkLst>
        </pc:cxnChg>
        <pc:cxnChg chg="add mod">
          <ac:chgData name="Renata Festa" userId="6f22df47-533b-4c2a-a3c1-7f9ad1d63e10" providerId="ADAL" clId="{7D997690-04A4-4675-83D7-2E1CC2ED1A4E}" dt="2020-03-24T17:37:41.257" v="2365" actId="164"/>
          <ac:cxnSpMkLst>
            <pc:docMk/>
            <pc:sldMk cId="3235270007" sldId="257"/>
            <ac:cxnSpMk id="47" creationId="{7B27DA6E-9183-47D0-8D8D-11A9E977A825}"/>
          </ac:cxnSpMkLst>
        </pc:cxnChg>
        <pc:cxnChg chg="add mod">
          <ac:chgData name="Renata Festa" userId="6f22df47-533b-4c2a-a3c1-7f9ad1d63e10" providerId="ADAL" clId="{7D997690-04A4-4675-83D7-2E1CC2ED1A4E}" dt="2020-03-24T17:37:41.257" v="2365" actId="164"/>
          <ac:cxnSpMkLst>
            <pc:docMk/>
            <pc:sldMk cId="3235270007" sldId="257"/>
            <ac:cxnSpMk id="48" creationId="{79187E3D-AC1C-49DD-9E20-066D891BECF7}"/>
          </ac:cxnSpMkLst>
        </pc:cxnChg>
        <pc:cxnChg chg="add mod">
          <ac:chgData name="Renata Festa" userId="6f22df47-533b-4c2a-a3c1-7f9ad1d63e10" providerId="ADAL" clId="{7D997690-04A4-4675-83D7-2E1CC2ED1A4E}" dt="2020-03-24T17:37:41.257" v="2365" actId="164"/>
          <ac:cxnSpMkLst>
            <pc:docMk/>
            <pc:sldMk cId="3235270007" sldId="257"/>
            <ac:cxnSpMk id="49" creationId="{28C7AB2B-4C0F-46A3-B7FD-18FAD4CAA43D}"/>
          </ac:cxnSpMkLst>
        </pc:cxnChg>
      </pc:sldChg>
      <pc:sldChg chg="addSp delSp modSp mod">
        <pc:chgData name="Renata Festa" userId="6f22df47-533b-4c2a-a3c1-7f9ad1d63e10" providerId="ADAL" clId="{7D997690-04A4-4675-83D7-2E1CC2ED1A4E}" dt="2020-03-24T17:38:05.093" v="2415" actId="962"/>
        <pc:sldMkLst>
          <pc:docMk/>
          <pc:sldMk cId="1196121053" sldId="260"/>
        </pc:sldMkLst>
        <pc:spChg chg="mod">
          <ac:chgData name="Renata Festa" userId="6f22df47-533b-4c2a-a3c1-7f9ad1d63e10" providerId="ADAL" clId="{7D997690-04A4-4675-83D7-2E1CC2ED1A4E}" dt="2020-03-20T18:48:30.372" v="0"/>
          <ac:spMkLst>
            <pc:docMk/>
            <pc:sldMk cId="1196121053" sldId="260"/>
            <ac:spMk id="4" creationId="{5D85DF47-300F-4085-B774-DDE734B96F99}"/>
          </ac:spMkLst>
        </pc:spChg>
        <pc:spChg chg="add del mod">
          <ac:chgData name="Renata Festa" userId="6f22df47-533b-4c2a-a3c1-7f9ad1d63e10" providerId="ADAL" clId="{7D997690-04A4-4675-83D7-2E1CC2ED1A4E}" dt="2020-03-24T17:38:05.093" v="2415" actId="962"/>
          <ac:spMkLst>
            <pc:docMk/>
            <pc:sldMk cId="1196121053" sldId="260"/>
            <ac:spMk id="6" creationId="{0B24CF9C-EA03-4678-8221-3892B00F4889}"/>
          </ac:spMkLst>
        </pc:spChg>
        <pc:spChg chg="add">
          <ac:chgData name="Renata Festa" userId="6f22df47-533b-4c2a-a3c1-7f9ad1d63e10" providerId="ADAL" clId="{7D997690-04A4-4675-83D7-2E1CC2ED1A4E}" dt="2020-03-24T17:35:45.617" v="2362"/>
          <ac:spMkLst>
            <pc:docMk/>
            <pc:sldMk cId="1196121053" sldId="260"/>
            <ac:spMk id="16" creationId="{2BFCE26A-066E-4A38-932B-6CCAA6CE1249}"/>
          </ac:spMkLst>
        </pc:spChg>
        <pc:grpChg chg="add">
          <ac:chgData name="Renata Festa" userId="6f22df47-533b-4c2a-a3c1-7f9ad1d63e10" providerId="ADAL" clId="{7D997690-04A4-4675-83D7-2E1CC2ED1A4E}" dt="2020-03-24T17:35:45.617" v="2362"/>
          <ac:grpSpMkLst>
            <pc:docMk/>
            <pc:sldMk cId="1196121053" sldId="260"/>
            <ac:grpSpMk id="7" creationId="{261D9595-CE7D-4D58-A1AF-FD629EB2B795}"/>
          </ac:grpSpMkLst>
        </pc:grpChg>
      </pc:sldChg>
      <pc:sldChg chg="del mod modShow">
        <pc:chgData name="Renata Festa" userId="6f22df47-533b-4c2a-a3c1-7f9ad1d63e10" providerId="ADAL" clId="{7D997690-04A4-4675-83D7-2E1CC2ED1A4E}" dt="2020-03-24T14:26:08.878" v="1810" actId="47"/>
        <pc:sldMkLst>
          <pc:docMk/>
          <pc:sldMk cId="4267675391" sldId="531"/>
        </pc:sldMkLst>
      </pc:sldChg>
      <pc:sldChg chg="modAnim">
        <pc:chgData name="Renata Festa" userId="6f22df47-533b-4c2a-a3c1-7f9ad1d63e10" providerId="ADAL" clId="{7D997690-04A4-4675-83D7-2E1CC2ED1A4E}" dt="2020-03-20T18:53:09.583" v="22"/>
        <pc:sldMkLst>
          <pc:docMk/>
          <pc:sldMk cId="2621600474" sldId="534"/>
        </pc:sldMkLst>
      </pc:sldChg>
      <pc:sldChg chg="del mod modShow">
        <pc:chgData name="Renata Festa" userId="6f22df47-533b-4c2a-a3c1-7f9ad1d63e10" providerId="ADAL" clId="{7D997690-04A4-4675-83D7-2E1CC2ED1A4E}" dt="2020-03-24T14:26:06.816" v="1809" actId="47"/>
        <pc:sldMkLst>
          <pc:docMk/>
          <pc:sldMk cId="1861621179" sldId="535"/>
        </pc:sldMkLst>
      </pc:sldChg>
      <pc:sldChg chg="mod ord modShow">
        <pc:chgData name="Renata Festa" userId="6f22df47-533b-4c2a-a3c1-7f9ad1d63e10" providerId="ADAL" clId="{7D997690-04A4-4675-83D7-2E1CC2ED1A4E}" dt="2020-03-24T16:04:19.768" v="2116"/>
        <pc:sldMkLst>
          <pc:docMk/>
          <pc:sldMk cId="2980146838" sldId="560"/>
        </pc:sldMkLst>
      </pc:sldChg>
      <pc:sldChg chg="modSp">
        <pc:chgData name="Renata Festa" userId="6f22df47-533b-4c2a-a3c1-7f9ad1d63e10" providerId="ADAL" clId="{7D997690-04A4-4675-83D7-2E1CC2ED1A4E}" dt="2020-03-20T18:49:40.154" v="1"/>
        <pc:sldMkLst>
          <pc:docMk/>
          <pc:sldMk cId="1615560134" sldId="562"/>
        </pc:sldMkLst>
        <pc:spChg chg="mod">
          <ac:chgData name="Renata Festa" userId="6f22df47-533b-4c2a-a3c1-7f9ad1d63e10" providerId="ADAL" clId="{7D997690-04A4-4675-83D7-2E1CC2ED1A4E}" dt="2020-03-20T18:49:40.154" v="1"/>
          <ac:spMkLst>
            <pc:docMk/>
            <pc:sldMk cId="1615560134" sldId="562"/>
            <ac:spMk id="3" creationId="{859B2BAE-A383-4E74-B3CF-9AC64DA11727}"/>
          </ac:spMkLst>
        </pc:spChg>
      </pc:sldChg>
      <pc:sldChg chg="del mod modShow">
        <pc:chgData name="Renata Festa" userId="6f22df47-533b-4c2a-a3c1-7f9ad1d63e10" providerId="ADAL" clId="{7D997690-04A4-4675-83D7-2E1CC2ED1A4E}" dt="2020-03-24T14:26:03.342" v="1808" actId="47"/>
        <pc:sldMkLst>
          <pc:docMk/>
          <pc:sldMk cId="3735096506" sldId="563"/>
        </pc:sldMkLst>
      </pc:sldChg>
      <pc:sldChg chg="addSp delSp modSp mod modAnim modNotesTx">
        <pc:chgData name="Renata Festa" userId="6f22df47-533b-4c2a-a3c1-7f9ad1d63e10" providerId="ADAL" clId="{7D997690-04A4-4675-83D7-2E1CC2ED1A4E}" dt="2020-03-24T14:28:03.031" v="1837" actId="478"/>
        <pc:sldMkLst>
          <pc:docMk/>
          <pc:sldMk cId="4221783869" sldId="566"/>
        </pc:sldMkLst>
        <pc:spChg chg="mod">
          <ac:chgData name="Renata Festa" userId="6f22df47-533b-4c2a-a3c1-7f9ad1d63e10" providerId="ADAL" clId="{7D997690-04A4-4675-83D7-2E1CC2ED1A4E}" dt="2020-03-24T14:27:19.126" v="1829"/>
          <ac:spMkLst>
            <pc:docMk/>
            <pc:sldMk cId="4221783869" sldId="566"/>
            <ac:spMk id="2" creationId="{EB67312A-9819-43C6-8D84-D9136E6CFFCC}"/>
          </ac:spMkLst>
        </pc:spChg>
        <pc:spChg chg="del">
          <ac:chgData name="Renata Festa" userId="6f22df47-533b-4c2a-a3c1-7f9ad1d63e10" providerId="ADAL" clId="{7D997690-04A4-4675-83D7-2E1CC2ED1A4E}" dt="2020-03-24T14:27:27.667" v="1830" actId="478"/>
          <ac:spMkLst>
            <pc:docMk/>
            <pc:sldMk cId="4221783869" sldId="566"/>
            <ac:spMk id="3" creationId="{F35E8CBB-5A7D-4DEF-BAF7-8DD5D042F9E0}"/>
          </ac:spMkLst>
        </pc:spChg>
        <pc:spChg chg="del">
          <ac:chgData name="Renata Festa" userId="6f22df47-533b-4c2a-a3c1-7f9ad1d63e10" providerId="ADAL" clId="{7D997690-04A4-4675-83D7-2E1CC2ED1A4E}" dt="2020-03-24T14:28:03.031" v="1837" actId="478"/>
          <ac:spMkLst>
            <pc:docMk/>
            <pc:sldMk cId="4221783869" sldId="566"/>
            <ac:spMk id="4" creationId="{F3616A99-090F-45E1-9334-58D58B148205}"/>
          </ac:spMkLst>
        </pc:spChg>
        <pc:spChg chg="add del">
          <ac:chgData name="Renata Festa" userId="6f22df47-533b-4c2a-a3c1-7f9ad1d63e10" providerId="ADAL" clId="{7D997690-04A4-4675-83D7-2E1CC2ED1A4E}" dt="2020-03-24T14:27:36.085" v="1832"/>
          <ac:spMkLst>
            <pc:docMk/>
            <pc:sldMk cId="4221783869" sldId="566"/>
            <ac:spMk id="6" creationId="{5EBDB0B5-B11A-4B08-9CC3-AE9D75957C1F}"/>
          </ac:spMkLst>
        </pc:spChg>
        <pc:spChg chg="add del">
          <ac:chgData name="Renata Festa" userId="6f22df47-533b-4c2a-a3c1-7f9ad1d63e10" providerId="ADAL" clId="{7D997690-04A4-4675-83D7-2E1CC2ED1A4E}" dt="2020-03-24T14:27:36.085" v="1832"/>
          <ac:spMkLst>
            <pc:docMk/>
            <pc:sldMk cId="4221783869" sldId="566"/>
            <ac:spMk id="7" creationId="{33EF053B-0CE6-4015-A7E4-7965960B1AD5}"/>
          </ac:spMkLst>
        </pc:spChg>
        <pc:spChg chg="add del">
          <ac:chgData name="Renata Festa" userId="6f22df47-533b-4c2a-a3c1-7f9ad1d63e10" providerId="ADAL" clId="{7D997690-04A4-4675-83D7-2E1CC2ED1A4E}" dt="2020-03-24T14:27:36.085" v="1832"/>
          <ac:spMkLst>
            <pc:docMk/>
            <pc:sldMk cId="4221783869" sldId="566"/>
            <ac:spMk id="8" creationId="{A86D2AD5-A172-4045-8913-491A728229DF}"/>
          </ac:spMkLst>
        </pc:spChg>
        <pc:spChg chg="add del">
          <ac:chgData name="Renata Festa" userId="6f22df47-533b-4c2a-a3c1-7f9ad1d63e10" providerId="ADAL" clId="{7D997690-04A4-4675-83D7-2E1CC2ED1A4E}" dt="2020-03-24T14:27:36.085" v="1832"/>
          <ac:spMkLst>
            <pc:docMk/>
            <pc:sldMk cId="4221783869" sldId="566"/>
            <ac:spMk id="9" creationId="{47C3FDF1-39B8-4E35-8E1F-1D2025A295BC}"/>
          </ac:spMkLst>
        </pc:spChg>
        <pc:spChg chg="add del">
          <ac:chgData name="Renata Festa" userId="6f22df47-533b-4c2a-a3c1-7f9ad1d63e10" providerId="ADAL" clId="{7D997690-04A4-4675-83D7-2E1CC2ED1A4E}" dt="2020-03-24T14:27:36.085" v="1832"/>
          <ac:spMkLst>
            <pc:docMk/>
            <pc:sldMk cId="4221783869" sldId="566"/>
            <ac:spMk id="10" creationId="{F9682F92-1972-43A0-AE3E-3724B22FE061}"/>
          </ac:spMkLst>
        </pc:spChg>
        <pc:spChg chg="add del">
          <ac:chgData name="Renata Festa" userId="6f22df47-533b-4c2a-a3c1-7f9ad1d63e10" providerId="ADAL" clId="{7D997690-04A4-4675-83D7-2E1CC2ED1A4E}" dt="2020-03-24T14:27:36.085" v="1832"/>
          <ac:spMkLst>
            <pc:docMk/>
            <pc:sldMk cId="4221783869" sldId="566"/>
            <ac:spMk id="11" creationId="{DB6E9A94-30EE-4AAD-B8BF-B27AD93C78D4}"/>
          </ac:spMkLst>
        </pc:spChg>
        <pc:spChg chg="add del">
          <ac:chgData name="Renata Festa" userId="6f22df47-533b-4c2a-a3c1-7f9ad1d63e10" providerId="ADAL" clId="{7D997690-04A4-4675-83D7-2E1CC2ED1A4E}" dt="2020-03-24T14:27:36.085" v="1832"/>
          <ac:spMkLst>
            <pc:docMk/>
            <pc:sldMk cId="4221783869" sldId="566"/>
            <ac:spMk id="12" creationId="{AC789E82-967C-4787-B7D9-10E38579BB3A}"/>
          </ac:spMkLst>
        </pc:spChg>
        <pc:spChg chg="add mod">
          <ac:chgData name="Renata Festa" userId="6f22df47-533b-4c2a-a3c1-7f9ad1d63e10" providerId="ADAL" clId="{7D997690-04A4-4675-83D7-2E1CC2ED1A4E}" dt="2020-03-24T14:27:41.775" v="1834" actId="1076"/>
          <ac:spMkLst>
            <pc:docMk/>
            <pc:sldMk cId="4221783869" sldId="566"/>
            <ac:spMk id="13" creationId="{7E1F657D-671F-46B0-954E-21F31BE1E988}"/>
          </ac:spMkLst>
        </pc:spChg>
        <pc:spChg chg="add mod">
          <ac:chgData name="Renata Festa" userId="6f22df47-533b-4c2a-a3c1-7f9ad1d63e10" providerId="ADAL" clId="{7D997690-04A4-4675-83D7-2E1CC2ED1A4E}" dt="2020-03-24T14:27:41.775" v="1834" actId="1076"/>
          <ac:spMkLst>
            <pc:docMk/>
            <pc:sldMk cId="4221783869" sldId="566"/>
            <ac:spMk id="14" creationId="{2624B2E8-8694-4C65-AD93-3BC649C3965F}"/>
          </ac:spMkLst>
        </pc:spChg>
        <pc:spChg chg="add mod">
          <ac:chgData name="Renata Festa" userId="6f22df47-533b-4c2a-a3c1-7f9ad1d63e10" providerId="ADAL" clId="{7D997690-04A4-4675-83D7-2E1CC2ED1A4E}" dt="2020-03-24T14:27:41.775" v="1834" actId="1076"/>
          <ac:spMkLst>
            <pc:docMk/>
            <pc:sldMk cId="4221783869" sldId="566"/>
            <ac:spMk id="15" creationId="{61C92396-E779-4B67-928B-BF6248F77FE0}"/>
          </ac:spMkLst>
        </pc:spChg>
        <pc:spChg chg="add mod">
          <ac:chgData name="Renata Festa" userId="6f22df47-533b-4c2a-a3c1-7f9ad1d63e10" providerId="ADAL" clId="{7D997690-04A4-4675-83D7-2E1CC2ED1A4E}" dt="2020-03-24T14:27:41.775" v="1834" actId="1076"/>
          <ac:spMkLst>
            <pc:docMk/>
            <pc:sldMk cId="4221783869" sldId="566"/>
            <ac:spMk id="16" creationId="{18B63CD2-A1E5-46CB-B25D-927C2632553B}"/>
          </ac:spMkLst>
        </pc:spChg>
        <pc:spChg chg="add mod">
          <ac:chgData name="Renata Festa" userId="6f22df47-533b-4c2a-a3c1-7f9ad1d63e10" providerId="ADAL" clId="{7D997690-04A4-4675-83D7-2E1CC2ED1A4E}" dt="2020-03-24T14:27:41.775" v="1834" actId="1076"/>
          <ac:spMkLst>
            <pc:docMk/>
            <pc:sldMk cId="4221783869" sldId="566"/>
            <ac:spMk id="17" creationId="{C6CDD43F-350B-47AC-AF36-B761B62925E1}"/>
          </ac:spMkLst>
        </pc:spChg>
        <pc:spChg chg="add mod">
          <ac:chgData name="Renata Festa" userId="6f22df47-533b-4c2a-a3c1-7f9ad1d63e10" providerId="ADAL" clId="{7D997690-04A4-4675-83D7-2E1CC2ED1A4E}" dt="2020-03-24T14:27:41.775" v="1834" actId="1076"/>
          <ac:spMkLst>
            <pc:docMk/>
            <pc:sldMk cId="4221783869" sldId="566"/>
            <ac:spMk id="18" creationId="{41EF61EC-6A4E-449B-B0A8-09C1749FDA3F}"/>
          </ac:spMkLst>
        </pc:spChg>
        <pc:spChg chg="add mod">
          <ac:chgData name="Renata Festa" userId="6f22df47-533b-4c2a-a3c1-7f9ad1d63e10" providerId="ADAL" clId="{7D997690-04A4-4675-83D7-2E1CC2ED1A4E}" dt="2020-03-24T14:27:45.293" v="1835" actId="1076"/>
          <ac:spMkLst>
            <pc:docMk/>
            <pc:sldMk cId="4221783869" sldId="566"/>
            <ac:spMk id="19" creationId="{7F7818A5-BA8A-4AAC-B80A-4A04351C1C7D}"/>
          </ac:spMkLst>
        </pc:spChg>
        <pc:picChg chg="add del">
          <ac:chgData name="Renata Festa" userId="6f22df47-533b-4c2a-a3c1-7f9ad1d63e10" providerId="ADAL" clId="{7D997690-04A4-4675-83D7-2E1CC2ED1A4E}" dt="2020-03-24T14:27:12.616" v="1828"/>
          <ac:picMkLst>
            <pc:docMk/>
            <pc:sldMk cId="4221783869" sldId="566"/>
            <ac:picMk id="5" creationId="{3A834959-7F85-4C5C-9368-4B9CAA91FBF9}"/>
          </ac:picMkLst>
        </pc:picChg>
      </pc:sldChg>
      <pc:sldChg chg="del">
        <pc:chgData name="Renata Festa" userId="6f22df47-533b-4c2a-a3c1-7f9ad1d63e10" providerId="ADAL" clId="{7D997690-04A4-4675-83D7-2E1CC2ED1A4E}" dt="2020-03-24T14:36:06.820" v="1922" actId="47"/>
        <pc:sldMkLst>
          <pc:docMk/>
          <pc:sldMk cId="670385602" sldId="567"/>
        </pc:sldMkLst>
      </pc:sldChg>
      <pc:sldChg chg="del">
        <pc:chgData name="Renata Festa" userId="6f22df47-533b-4c2a-a3c1-7f9ad1d63e10" providerId="ADAL" clId="{7D997690-04A4-4675-83D7-2E1CC2ED1A4E}" dt="2020-03-24T14:36:07.292" v="1923" actId="47"/>
        <pc:sldMkLst>
          <pc:docMk/>
          <pc:sldMk cId="2147177822" sldId="568"/>
        </pc:sldMkLst>
      </pc:sldChg>
      <pc:sldChg chg="del">
        <pc:chgData name="Renata Festa" userId="6f22df47-533b-4c2a-a3c1-7f9ad1d63e10" providerId="ADAL" clId="{7D997690-04A4-4675-83D7-2E1CC2ED1A4E}" dt="2020-03-24T14:36:08.322" v="1924" actId="47"/>
        <pc:sldMkLst>
          <pc:docMk/>
          <pc:sldMk cId="1617064737" sldId="569"/>
        </pc:sldMkLst>
      </pc:sldChg>
      <pc:sldChg chg="modSp modAnim">
        <pc:chgData name="Renata Festa" userId="6f22df47-533b-4c2a-a3c1-7f9ad1d63e10" providerId="ADAL" clId="{7D997690-04A4-4675-83D7-2E1CC2ED1A4E}" dt="2020-03-25T17:03:56.179" v="4939"/>
        <pc:sldMkLst>
          <pc:docMk/>
          <pc:sldMk cId="2346840044" sldId="570"/>
        </pc:sldMkLst>
        <pc:graphicFrameChg chg="mod">
          <ac:chgData name="Renata Festa" userId="6f22df47-533b-4c2a-a3c1-7f9ad1d63e10" providerId="ADAL" clId="{7D997690-04A4-4675-83D7-2E1CC2ED1A4E}" dt="2020-03-24T14:36:29.486" v="1935" actId="20577"/>
          <ac:graphicFrameMkLst>
            <pc:docMk/>
            <pc:sldMk cId="2346840044" sldId="570"/>
            <ac:graphicFrameMk id="3" creationId="{9484E1FE-7534-495E-863C-657A46F5E628}"/>
          </ac:graphicFrameMkLst>
        </pc:graphicFrameChg>
      </pc:sldChg>
      <pc:sldChg chg="addSp modSp mod modAnim">
        <pc:chgData name="Renata Festa" userId="6f22df47-533b-4c2a-a3c1-7f9ad1d63e10" providerId="ADAL" clId="{7D997690-04A4-4675-83D7-2E1CC2ED1A4E}" dt="2020-03-24T15:50:14.603" v="1946" actId="1076"/>
        <pc:sldMkLst>
          <pc:docMk/>
          <pc:sldMk cId="4248838292" sldId="573"/>
        </pc:sldMkLst>
        <pc:spChg chg="mod">
          <ac:chgData name="Renata Festa" userId="6f22df47-533b-4c2a-a3c1-7f9ad1d63e10" providerId="ADAL" clId="{7D997690-04A4-4675-83D7-2E1CC2ED1A4E}" dt="2020-03-24T15:49:54.847" v="1942"/>
          <ac:spMkLst>
            <pc:docMk/>
            <pc:sldMk cId="4248838292" sldId="573"/>
            <ac:spMk id="2" creationId="{EB67312A-9819-43C6-8D84-D9136E6CFFCC}"/>
          </ac:spMkLst>
        </pc:spChg>
        <pc:picChg chg="add mod">
          <ac:chgData name="Renata Festa" userId="6f22df47-533b-4c2a-a3c1-7f9ad1d63e10" providerId="ADAL" clId="{7D997690-04A4-4675-83D7-2E1CC2ED1A4E}" dt="2020-03-24T15:50:14.603" v="1946" actId="1076"/>
          <ac:picMkLst>
            <pc:docMk/>
            <pc:sldMk cId="4248838292" sldId="573"/>
            <ac:picMk id="5" creationId="{4A0DED44-1461-4AA1-A2EB-7DF5D5543362}"/>
          </ac:picMkLst>
        </pc:picChg>
      </pc:sldChg>
      <pc:sldChg chg="del">
        <pc:chgData name="Renata Festa" userId="6f22df47-533b-4c2a-a3c1-7f9ad1d63e10" providerId="ADAL" clId="{7D997690-04A4-4675-83D7-2E1CC2ED1A4E}" dt="2020-03-24T16:04:07.685" v="2113" actId="47"/>
        <pc:sldMkLst>
          <pc:docMk/>
          <pc:sldMk cId="1487953619" sldId="574"/>
        </pc:sldMkLst>
      </pc:sldChg>
      <pc:sldChg chg="del">
        <pc:chgData name="Renata Festa" userId="6f22df47-533b-4c2a-a3c1-7f9ad1d63e10" providerId="ADAL" clId="{7D997690-04A4-4675-83D7-2E1CC2ED1A4E}" dt="2020-03-24T16:04:07.685" v="2113" actId="47"/>
        <pc:sldMkLst>
          <pc:docMk/>
          <pc:sldMk cId="3563492871" sldId="575"/>
        </pc:sldMkLst>
      </pc:sldChg>
      <pc:sldChg chg="addSp delSp modSp mod modAnim modNotesTx">
        <pc:chgData name="Renata Festa" userId="6f22df47-533b-4c2a-a3c1-7f9ad1d63e10" providerId="ADAL" clId="{7D997690-04A4-4675-83D7-2E1CC2ED1A4E}" dt="2020-03-25T17:04:11.388" v="4941"/>
        <pc:sldMkLst>
          <pc:docMk/>
          <pc:sldMk cId="4206133277" sldId="577"/>
        </pc:sldMkLst>
        <pc:spChg chg="add del mod">
          <ac:chgData name="Renata Festa" userId="6f22df47-533b-4c2a-a3c1-7f9ad1d63e10" providerId="ADAL" clId="{7D997690-04A4-4675-83D7-2E1CC2ED1A4E}" dt="2020-03-24T16:05:38.191" v="2136" actId="11529"/>
          <ac:spMkLst>
            <pc:docMk/>
            <pc:sldMk cId="4206133277" sldId="577"/>
            <ac:spMk id="4" creationId="{540E6270-24EF-4D68-BD85-EE2FC2528060}"/>
          </ac:spMkLst>
        </pc:spChg>
        <pc:graphicFrameChg chg="add del mod">
          <ac:chgData name="Renata Festa" userId="6f22df47-533b-4c2a-a3c1-7f9ad1d63e10" providerId="ADAL" clId="{7D997690-04A4-4675-83D7-2E1CC2ED1A4E}" dt="2020-03-24T16:06:42.074" v="2151" actId="478"/>
          <ac:graphicFrameMkLst>
            <pc:docMk/>
            <pc:sldMk cId="4206133277" sldId="577"/>
            <ac:graphicFrameMk id="3" creationId="{9484E1FE-7534-495E-863C-657A46F5E628}"/>
          </ac:graphicFrameMkLst>
        </pc:graphicFrameChg>
      </pc:sldChg>
      <pc:sldChg chg="del mod modShow">
        <pc:chgData name="Renata Festa" userId="6f22df47-533b-4c2a-a3c1-7f9ad1d63e10" providerId="ADAL" clId="{7D997690-04A4-4675-83D7-2E1CC2ED1A4E}" dt="2020-03-24T14:26:10.050" v="1811" actId="47"/>
        <pc:sldMkLst>
          <pc:docMk/>
          <pc:sldMk cId="3372985199" sldId="578"/>
        </pc:sldMkLst>
      </pc:sldChg>
      <pc:sldChg chg="del">
        <pc:chgData name="Renata Festa" userId="6f22df47-533b-4c2a-a3c1-7f9ad1d63e10" providerId="ADAL" clId="{7D997690-04A4-4675-83D7-2E1CC2ED1A4E}" dt="2020-03-24T14:36:06.375" v="1921" actId="47"/>
        <pc:sldMkLst>
          <pc:docMk/>
          <pc:sldMk cId="516268407" sldId="579"/>
        </pc:sldMkLst>
      </pc:sldChg>
      <pc:sldChg chg="del">
        <pc:chgData name="Renata Festa" userId="6f22df47-533b-4c2a-a3c1-7f9ad1d63e10" providerId="ADAL" clId="{7D997690-04A4-4675-83D7-2E1CC2ED1A4E}" dt="2020-03-24T16:04:07.685" v="2113" actId="47"/>
        <pc:sldMkLst>
          <pc:docMk/>
          <pc:sldMk cId="725857214" sldId="580"/>
        </pc:sldMkLst>
      </pc:sldChg>
      <pc:sldChg chg="addSp delSp modSp mod">
        <pc:chgData name="Renata Festa" userId="6f22df47-533b-4c2a-a3c1-7f9ad1d63e10" providerId="ADAL" clId="{7D997690-04A4-4675-83D7-2E1CC2ED1A4E}" dt="2020-03-24T16:07:45.330" v="2166" actId="478"/>
        <pc:sldMkLst>
          <pc:docMk/>
          <pc:sldMk cId="2354377971" sldId="582"/>
        </pc:sldMkLst>
        <pc:spChg chg="mod">
          <ac:chgData name="Renata Festa" userId="6f22df47-533b-4c2a-a3c1-7f9ad1d63e10" providerId="ADAL" clId="{7D997690-04A4-4675-83D7-2E1CC2ED1A4E}" dt="2020-03-24T16:07:25.114" v="2163"/>
          <ac:spMkLst>
            <pc:docMk/>
            <pc:sldMk cId="2354377971" sldId="582"/>
            <ac:spMk id="2" creationId="{EB67312A-9819-43C6-8D84-D9136E6CFFCC}"/>
          </ac:spMkLst>
        </pc:spChg>
        <pc:spChg chg="del">
          <ac:chgData name="Renata Festa" userId="6f22df47-533b-4c2a-a3c1-7f9ad1d63e10" providerId="ADAL" clId="{7D997690-04A4-4675-83D7-2E1CC2ED1A4E}" dt="2020-03-24T16:07:30.438" v="2164" actId="478"/>
          <ac:spMkLst>
            <pc:docMk/>
            <pc:sldMk cId="2354377971" sldId="582"/>
            <ac:spMk id="3" creationId="{F35E8CBB-5A7D-4DEF-BAF7-8DD5D042F9E0}"/>
          </ac:spMkLst>
        </pc:spChg>
        <pc:spChg chg="del">
          <ac:chgData name="Renata Festa" userId="6f22df47-533b-4c2a-a3c1-7f9ad1d63e10" providerId="ADAL" clId="{7D997690-04A4-4675-83D7-2E1CC2ED1A4E}" dt="2020-03-24T16:07:45.330" v="2166" actId="478"/>
          <ac:spMkLst>
            <pc:docMk/>
            <pc:sldMk cId="2354377971" sldId="582"/>
            <ac:spMk id="4" creationId="{F3616A99-090F-45E1-9334-58D58B148205}"/>
          </ac:spMkLst>
        </pc:spChg>
        <pc:spChg chg="add">
          <ac:chgData name="Renata Festa" userId="6f22df47-533b-4c2a-a3c1-7f9ad1d63e10" providerId="ADAL" clId="{7D997690-04A4-4675-83D7-2E1CC2ED1A4E}" dt="2020-03-24T16:07:37.447" v="2165"/>
          <ac:spMkLst>
            <pc:docMk/>
            <pc:sldMk cId="2354377971" sldId="582"/>
            <ac:spMk id="7" creationId="{9DB4AB84-2198-4C98-B783-4216D89DFC70}"/>
          </ac:spMkLst>
        </pc:spChg>
        <pc:spChg chg="add">
          <ac:chgData name="Renata Festa" userId="6f22df47-533b-4c2a-a3c1-7f9ad1d63e10" providerId="ADAL" clId="{7D997690-04A4-4675-83D7-2E1CC2ED1A4E}" dt="2020-03-24T16:07:37.447" v="2165"/>
          <ac:spMkLst>
            <pc:docMk/>
            <pc:sldMk cId="2354377971" sldId="582"/>
            <ac:spMk id="8" creationId="{BC679F4B-5A25-406E-9AB1-FEBB5B7D02DB}"/>
          </ac:spMkLst>
        </pc:spChg>
        <pc:spChg chg="add">
          <ac:chgData name="Renata Festa" userId="6f22df47-533b-4c2a-a3c1-7f9ad1d63e10" providerId="ADAL" clId="{7D997690-04A4-4675-83D7-2E1CC2ED1A4E}" dt="2020-03-24T16:07:37.447" v="2165"/>
          <ac:spMkLst>
            <pc:docMk/>
            <pc:sldMk cId="2354377971" sldId="582"/>
            <ac:spMk id="9" creationId="{A6E31221-811A-4FE6-9F55-DB265272886B}"/>
          </ac:spMkLst>
        </pc:spChg>
        <pc:spChg chg="add">
          <ac:chgData name="Renata Festa" userId="6f22df47-533b-4c2a-a3c1-7f9ad1d63e10" providerId="ADAL" clId="{7D997690-04A4-4675-83D7-2E1CC2ED1A4E}" dt="2020-03-24T16:07:37.447" v="2165"/>
          <ac:spMkLst>
            <pc:docMk/>
            <pc:sldMk cId="2354377971" sldId="582"/>
            <ac:spMk id="10" creationId="{BA4B6107-D530-461C-A46D-BE4B33B709F9}"/>
          </ac:spMkLst>
        </pc:spChg>
        <pc:spChg chg="add">
          <ac:chgData name="Renata Festa" userId="6f22df47-533b-4c2a-a3c1-7f9ad1d63e10" providerId="ADAL" clId="{7D997690-04A4-4675-83D7-2E1CC2ED1A4E}" dt="2020-03-24T16:07:37.447" v="2165"/>
          <ac:spMkLst>
            <pc:docMk/>
            <pc:sldMk cId="2354377971" sldId="582"/>
            <ac:spMk id="11" creationId="{5619F0A2-A648-4BE6-B1FC-CB3E32915210}"/>
          </ac:spMkLst>
        </pc:spChg>
        <pc:spChg chg="add">
          <ac:chgData name="Renata Festa" userId="6f22df47-533b-4c2a-a3c1-7f9ad1d63e10" providerId="ADAL" clId="{7D997690-04A4-4675-83D7-2E1CC2ED1A4E}" dt="2020-03-24T16:07:37.447" v="2165"/>
          <ac:spMkLst>
            <pc:docMk/>
            <pc:sldMk cId="2354377971" sldId="582"/>
            <ac:spMk id="12" creationId="{0C98BD19-BA86-43DB-8C10-A661DBB3A430}"/>
          </ac:spMkLst>
        </pc:spChg>
        <pc:spChg chg="add">
          <ac:chgData name="Renata Festa" userId="6f22df47-533b-4c2a-a3c1-7f9ad1d63e10" providerId="ADAL" clId="{7D997690-04A4-4675-83D7-2E1CC2ED1A4E}" dt="2020-03-24T16:07:37.447" v="2165"/>
          <ac:spMkLst>
            <pc:docMk/>
            <pc:sldMk cId="2354377971" sldId="582"/>
            <ac:spMk id="13" creationId="{16A8A2FD-28F4-46C4-8D0F-24392BFD1AE0}"/>
          </ac:spMkLst>
        </pc:spChg>
        <pc:spChg chg="add">
          <ac:chgData name="Renata Festa" userId="6f22df47-533b-4c2a-a3c1-7f9ad1d63e10" providerId="ADAL" clId="{7D997690-04A4-4675-83D7-2E1CC2ED1A4E}" dt="2020-03-24T16:07:37.447" v="2165"/>
          <ac:spMkLst>
            <pc:docMk/>
            <pc:sldMk cId="2354377971" sldId="582"/>
            <ac:spMk id="14" creationId="{CAAAA016-D598-4EC9-AE11-90F3F80BAF38}"/>
          </ac:spMkLst>
        </pc:spChg>
        <pc:grpChg chg="add">
          <ac:chgData name="Renata Festa" userId="6f22df47-533b-4c2a-a3c1-7f9ad1d63e10" providerId="ADAL" clId="{7D997690-04A4-4675-83D7-2E1CC2ED1A4E}" dt="2020-03-24T16:07:37.447" v="2165"/>
          <ac:grpSpMkLst>
            <pc:docMk/>
            <pc:sldMk cId="2354377971" sldId="582"/>
            <ac:grpSpMk id="15" creationId="{7E9CF5E4-4749-4387-A912-9D9A862F10A7}"/>
          </ac:grpSpMkLst>
        </pc:grpChg>
        <pc:grpChg chg="add">
          <ac:chgData name="Renata Festa" userId="6f22df47-533b-4c2a-a3c1-7f9ad1d63e10" providerId="ADAL" clId="{7D997690-04A4-4675-83D7-2E1CC2ED1A4E}" dt="2020-03-24T16:07:37.447" v="2165"/>
          <ac:grpSpMkLst>
            <pc:docMk/>
            <pc:sldMk cId="2354377971" sldId="582"/>
            <ac:grpSpMk id="21" creationId="{5071E6B1-0F7E-4BD3-A2EE-F40C4335263F}"/>
          </ac:grpSpMkLst>
        </pc:grpChg>
        <pc:picChg chg="add">
          <ac:chgData name="Renata Festa" userId="6f22df47-533b-4c2a-a3c1-7f9ad1d63e10" providerId="ADAL" clId="{7D997690-04A4-4675-83D7-2E1CC2ED1A4E}" dt="2020-03-24T16:07:37.447" v="2165"/>
          <ac:picMkLst>
            <pc:docMk/>
            <pc:sldMk cId="2354377971" sldId="582"/>
            <ac:picMk id="24" creationId="{C68ECC30-66AF-4F52-9FC0-5A168BA6FE00}"/>
          </ac:picMkLst>
        </pc:picChg>
        <pc:picChg chg="add">
          <ac:chgData name="Renata Festa" userId="6f22df47-533b-4c2a-a3c1-7f9ad1d63e10" providerId="ADAL" clId="{7D997690-04A4-4675-83D7-2E1CC2ED1A4E}" dt="2020-03-24T16:07:37.447" v="2165"/>
          <ac:picMkLst>
            <pc:docMk/>
            <pc:sldMk cId="2354377971" sldId="582"/>
            <ac:picMk id="25" creationId="{79EAC907-6549-420E-BDB4-F5B93052D217}"/>
          </ac:picMkLst>
        </pc:picChg>
        <pc:picChg chg="add">
          <ac:chgData name="Renata Festa" userId="6f22df47-533b-4c2a-a3c1-7f9ad1d63e10" providerId="ADAL" clId="{7D997690-04A4-4675-83D7-2E1CC2ED1A4E}" dt="2020-03-24T16:07:37.447" v="2165"/>
          <ac:picMkLst>
            <pc:docMk/>
            <pc:sldMk cId="2354377971" sldId="582"/>
            <ac:picMk id="26" creationId="{308FD28A-10C7-40EC-BA04-41DEC509ECB3}"/>
          </ac:picMkLst>
        </pc:picChg>
        <pc:cxnChg chg="add">
          <ac:chgData name="Renata Festa" userId="6f22df47-533b-4c2a-a3c1-7f9ad1d63e10" providerId="ADAL" clId="{7D997690-04A4-4675-83D7-2E1CC2ED1A4E}" dt="2020-03-24T16:07:37.447" v="2165"/>
          <ac:cxnSpMkLst>
            <pc:docMk/>
            <pc:sldMk cId="2354377971" sldId="582"/>
            <ac:cxnSpMk id="5" creationId="{0640F10E-3D4D-4607-A5DA-B52E23FEC385}"/>
          </ac:cxnSpMkLst>
        </pc:cxnChg>
        <pc:cxnChg chg="add">
          <ac:chgData name="Renata Festa" userId="6f22df47-533b-4c2a-a3c1-7f9ad1d63e10" providerId="ADAL" clId="{7D997690-04A4-4675-83D7-2E1CC2ED1A4E}" dt="2020-03-24T16:07:37.447" v="2165"/>
          <ac:cxnSpMkLst>
            <pc:docMk/>
            <pc:sldMk cId="2354377971" sldId="582"/>
            <ac:cxnSpMk id="6" creationId="{B9241C04-909B-4E30-9876-DE906770C23D}"/>
          </ac:cxnSpMkLst>
        </pc:cxnChg>
      </pc:sldChg>
      <pc:sldChg chg="del">
        <pc:chgData name="Renata Festa" userId="6f22df47-533b-4c2a-a3c1-7f9ad1d63e10" providerId="ADAL" clId="{7D997690-04A4-4675-83D7-2E1CC2ED1A4E}" dt="2020-03-24T17:29:21.666" v="2343" actId="47"/>
        <pc:sldMkLst>
          <pc:docMk/>
          <pc:sldMk cId="140421165" sldId="583"/>
        </pc:sldMkLst>
      </pc:sldChg>
      <pc:sldChg chg="del">
        <pc:chgData name="Renata Festa" userId="6f22df47-533b-4c2a-a3c1-7f9ad1d63e10" providerId="ADAL" clId="{7D997690-04A4-4675-83D7-2E1CC2ED1A4E}" dt="2020-03-24T17:29:22.386" v="2344" actId="47"/>
        <pc:sldMkLst>
          <pc:docMk/>
          <pc:sldMk cId="178012242" sldId="584"/>
        </pc:sldMkLst>
      </pc:sldChg>
      <pc:sldChg chg="del">
        <pc:chgData name="Renata Festa" userId="6f22df47-533b-4c2a-a3c1-7f9ad1d63e10" providerId="ADAL" clId="{7D997690-04A4-4675-83D7-2E1CC2ED1A4E}" dt="2020-03-24T17:29:24.190" v="2345" actId="47"/>
        <pc:sldMkLst>
          <pc:docMk/>
          <pc:sldMk cId="780259623" sldId="585"/>
        </pc:sldMkLst>
      </pc:sldChg>
      <pc:sldChg chg="add">
        <pc:chgData name="Renata Festa" userId="6f22df47-533b-4c2a-a3c1-7f9ad1d63e10" providerId="ADAL" clId="{7D997690-04A4-4675-83D7-2E1CC2ED1A4E}" dt="2020-03-24T17:28:55.809" v="2333"/>
        <pc:sldMkLst>
          <pc:docMk/>
          <pc:sldMk cId="146877347" sldId="586"/>
        </pc:sldMkLst>
      </pc:sldChg>
      <pc:sldChg chg="del">
        <pc:chgData name="Renata Festa" userId="6f22df47-533b-4c2a-a3c1-7f9ad1d63e10" providerId="ADAL" clId="{7D997690-04A4-4675-83D7-2E1CC2ED1A4E}" dt="2020-03-24T17:28:54.713" v="2332" actId="2696"/>
        <pc:sldMkLst>
          <pc:docMk/>
          <pc:sldMk cId="2795742538" sldId="586"/>
        </pc:sldMkLst>
      </pc:sldChg>
      <pc:sldChg chg="del">
        <pc:chgData name="Renata Festa" userId="6f22df47-533b-4c2a-a3c1-7f9ad1d63e10" providerId="ADAL" clId="{7D997690-04A4-4675-83D7-2E1CC2ED1A4E}" dt="2020-03-24T17:28:54.713" v="2332" actId="2696"/>
        <pc:sldMkLst>
          <pc:docMk/>
          <pc:sldMk cId="1657073583" sldId="587"/>
        </pc:sldMkLst>
      </pc:sldChg>
      <pc:sldChg chg="modSp add modAnim">
        <pc:chgData name="Renata Festa" userId="6f22df47-533b-4c2a-a3c1-7f9ad1d63e10" providerId="ADAL" clId="{7D997690-04A4-4675-83D7-2E1CC2ED1A4E}" dt="2020-03-25T17:04:21.654" v="4943"/>
        <pc:sldMkLst>
          <pc:docMk/>
          <pc:sldMk cId="2231734821" sldId="587"/>
        </pc:sldMkLst>
        <pc:graphicFrameChg chg="mod">
          <ac:chgData name="Renata Festa" userId="6f22df47-533b-4c2a-a3c1-7f9ad1d63e10" providerId="ADAL" clId="{7D997690-04A4-4675-83D7-2E1CC2ED1A4E}" dt="2020-03-24T17:29:10.170" v="2338" actId="20577"/>
          <ac:graphicFrameMkLst>
            <pc:docMk/>
            <pc:sldMk cId="2231734821" sldId="587"/>
            <ac:graphicFrameMk id="3" creationId="{9484E1FE-7534-495E-863C-657A46F5E628}"/>
          </ac:graphicFrameMkLst>
        </pc:graphicFrameChg>
      </pc:sldChg>
      <pc:sldChg chg="modNotesTx">
        <pc:chgData name="Renata Festa" userId="6f22df47-533b-4c2a-a3c1-7f9ad1d63e10" providerId="ADAL" clId="{7D997690-04A4-4675-83D7-2E1CC2ED1A4E}" dt="2020-03-24T16:07:09.405" v="2155" actId="20577"/>
        <pc:sldMkLst>
          <pc:docMk/>
          <pc:sldMk cId="3654074437" sldId="588"/>
        </pc:sldMkLst>
      </pc:sldChg>
      <pc:sldChg chg="addSp delSp modSp add mod modAnim modShow addCm modCm modNotesTx">
        <pc:chgData name="Renata Festa" userId="6f22df47-533b-4c2a-a3c1-7f9ad1d63e10" providerId="ADAL" clId="{7D997690-04A4-4675-83D7-2E1CC2ED1A4E}" dt="2020-03-24T17:40:15.587" v="2596" actId="962"/>
        <pc:sldMkLst>
          <pc:docMk/>
          <pc:sldMk cId="641676752" sldId="589"/>
        </pc:sldMkLst>
        <pc:spChg chg="mod">
          <ac:chgData name="Renata Festa" userId="6f22df47-533b-4c2a-a3c1-7f9ad1d63e10" providerId="ADAL" clId="{7D997690-04A4-4675-83D7-2E1CC2ED1A4E}" dt="2020-03-20T18:51:26.623" v="9"/>
          <ac:spMkLst>
            <pc:docMk/>
            <pc:sldMk cId="641676752" sldId="589"/>
            <ac:spMk id="2" creationId="{EB67312A-9819-43C6-8D84-D9136E6CFFCC}"/>
          </ac:spMkLst>
        </pc:spChg>
        <pc:spChg chg="del">
          <ac:chgData name="Renata Festa" userId="6f22df47-533b-4c2a-a3c1-7f9ad1d63e10" providerId="ADAL" clId="{7D997690-04A4-4675-83D7-2E1CC2ED1A4E}" dt="2020-03-24T14:01:07.774" v="1642" actId="478"/>
          <ac:spMkLst>
            <pc:docMk/>
            <pc:sldMk cId="641676752" sldId="589"/>
            <ac:spMk id="3" creationId="{F35E8CBB-5A7D-4DEF-BAF7-8DD5D042F9E0}"/>
          </ac:spMkLst>
        </pc:spChg>
        <pc:spChg chg="del mod">
          <ac:chgData name="Renata Festa" userId="6f22df47-533b-4c2a-a3c1-7f9ad1d63e10" providerId="ADAL" clId="{7D997690-04A4-4675-83D7-2E1CC2ED1A4E}" dt="2020-03-20T18:53:59.761" v="23" actId="12084"/>
          <ac:spMkLst>
            <pc:docMk/>
            <pc:sldMk cId="641676752" sldId="589"/>
            <ac:spMk id="4" creationId="{F3616A99-090F-45E1-9334-58D58B148205}"/>
          </ac:spMkLst>
        </pc:spChg>
        <pc:graphicFrameChg chg="add mod">
          <ac:chgData name="Renata Festa" userId="6f22df47-533b-4c2a-a3c1-7f9ad1d63e10" providerId="ADAL" clId="{7D997690-04A4-4675-83D7-2E1CC2ED1A4E}" dt="2020-03-24T17:39:43.596" v="2474" actId="962"/>
          <ac:graphicFrameMkLst>
            <pc:docMk/>
            <pc:sldMk cId="641676752" sldId="589"/>
            <ac:graphicFrameMk id="6" creationId="{04DE0AED-3D4D-4F08-82DC-72CF55A44BB2}"/>
          </ac:graphicFrameMkLst>
        </pc:graphicFrameChg>
        <pc:picChg chg="add mod">
          <ac:chgData name="Renata Festa" userId="6f22df47-533b-4c2a-a3c1-7f9ad1d63e10" providerId="ADAL" clId="{7D997690-04A4-4675-83D7-2E1CC2ED1A4E}" dt="2020-03-24T17:40:15.587" v="2596" actId="962"/>
          <ac:picMkLst>
            <pc:docMk/>
            <pc:sldMk cId="641676752" sldId="589"/>
            <ac:picMk id="5" creationId="{543BA366-B2F4-48F9-9394-1C2F5613EDA4}"/>
          </ac:picMkLst>
        </pc:picChg>
      </pc:sldChg>
      <pc:sldChg chg="add del">
        <pc:chgData name="Renata Festa" userId="6f22df47-533b-4c2a-a3c1-7f9ad1d63e10" providerId="ADAL" clId="{7D997690-04A4-4675-83D7-2E1CC2ED1A4E}" dt="2020-03-20T18:51:09.016" v="4"/>
        <pc:sldMkLst>
          <pc:docMk/>
          <pc:sldMk cId="2079216853" sldId="589"/>
        </pc:sldMkLst>
      </pc:sldChg>
      <pc:sldChg chg="add del">
        <pc:chgData name="Renata Festa" userId="6f22df47-533b-4c2a-a3c1-7f9ad1d63e10" providerId="ADAL" clId="{7D997690-04A4-4675-83D7-2E1CC2ED1A4E}" dt="2020-03-20T18:51:09.016" v="4"/>
        <pc:sldMkLst>
          <pc:docMk/>
          <pc:sldMk cId="3372817603" sldId="590"/>
        </pc:sldMkLst>
      </pc:sldChg>
      <pc:sldChg chg="addSp delSp modSp add mod modClrScheme modShow chgLayout">
        <pc:chgData name="Renata Festa" userId="6f22df47-533b-4c2a-a3c1-7f9ad1d63e10" providerId="ADAL" clId="{7D997690-04A4-4675-83D7-2E1CC2ED1A4E}" dt="2020-03-23T21:04:15.353" v="93" actId="962"/>
        <pc:sldMkLst>
          <pc:docMk/>
          <pc:sldMk cId="3752841492" sldId="590"/>
        </pc:sldMkLst>
        <pc:spChg chg="mod ord">
          <ac:chgData name="Renata Festa" userId="6f22df47-533b-4c2a-a3c1-7f9ad1d63e10" providerId="ADAL" clId="{7D997690-04A4-4675-83D7-2E1CC2ED1A4E}" dt="2020-03-23T21:04:08.367" v="91" actId="26606"/>
          <ac:spMkLst>
            <pc:docMk/>
            <pc:sldMk cId="3752841492" sldId="590"/>
            <ac:spMk id="2" creationId="{EB67312A-9819-43C6-8D84-D9136E6CFFCC}"/>
          </ac:spMkLst>
        </pc:spChg>
        <pc:spChg chg="add del">
          <ac:chgData name="Renata Festa" userId="6f22df47-533b-4c2a-a3c1-7f9ad1d63e10" providerId="ADAL" clId="{7D997690-04A4-4675-83D7-2E1CC2ED1A4E}" dt="2020-03-23T21:04:08.367" v="91" actId="26606"/>
          <ac:spMkLst>
            <pc:docMk/>
            <pc:sldMk cId="3752841492" sldId="590"/>
            <ac:spMk id="3" creationId="{F35E8CBB-5A7D-4DEF-BAF7-8DD5D042F9E0}"/>
          </ac:spMkLst>
        </pc:spChg>
        <pc:spChg chg="del">
          <ac:chgData name="Renata Festa" userId="6f22df47-533b-4c2a-a3c1-7f9ad1d63e10" providerId="ADAL" clId="{7D997690-04A4-4675-83D7-2E1CC2ED1A4E}" dt="2020-03-23T21:03:29.929" v="84"/>
          <ac:spMkLst>
            <pc:docMk/>
            <pc:sldMk cId="3752841492" sldId="590"/>
            <ac:spMk id="4" creationId="{F3616A99-090F-45E1-9334-58D58B148205}"/>
          </ac:spMkLst>
        </pc:spChg>
        <pc:picChg chg="add mod">
          <ac:chgData name="Renata Festa" userId="6f22df47-533b-4c2a-a3c1-7f9ad1d63e10" providerId="ADAL" clId="{7D997690-04A4-4675-83D7-2E1CC2ED1A4E}" dt="2020-03-23T21:04:15.353" v="93" actId="962"/>
          <ac:picMkLst>
            <pc:docMk/>
            <pc:sldMk cId="3752841492" sldId="590"/>
            <ac:picMk id="5" creationId="{4432CA7B-95B1-4964-862C-73A36AA68320}"/>
          </ac:picMkLst>
        </pc:picChg>
      </pc:sldChg>
      <pc:sldChg chg="addSp delSp modSp add mod addAnim delAnim modAnim modShow">
        <pc:chgData name="Renata Festa" userId="6f22df47-533b-4c2a-a3c1-7f9ad1d63e10" providerId="ADAL" clId="{7D997690-04A4-4675-83D7-2E1CC2ED1A4E}" dt="2020-03-24T18:56:03.687" v="4932" actId="207"/>
        <pc:sldMkLst>
          <pc:docMk/>
          <pc:sldMk cId="683846977" sldId="591"/>
        </pc:sldMkLst>
        <pc:spChg chg="mod">
          <ac:chgData name="Renata Festa" userId="6f22df47-533b-4c2a-a3c1-7f9ad1d63e10" providerId="ADAL" clId="{7D997690-04A4-4675-83D7-2E1CC2ED1A4E}" dt="2020-03-23T21:05:34.139" v="99"/>
          <ac:spMkLst>
            <pc:docMk/>
            <pc:sldMk cId="683846977" sldId="591"/>
            <ac:spMk id="2" creationId="{EB67312A-9819-43C6-8D84-D9136E6CFFCC}"/>
          </ac:spMkLst>
        </pc:spChg>
        <pc:spChg chg="del">
          <ac:chgData name="Renata Festa" userId="6f22df47-533b-4c2a-a3c1-7f9ad1d63e10" providerId="ADAL" clId="{7D997690-04A4-4675-83D7-2E1CC2ED1A4E}" dt="2020-03-24T14:01:01.433" v="1639" actId="478"/>
          <ac:spMkLst>
            <pc:docMk/>
            <pc:sldMk cId="683846977" sldId="591"/>
            <ac:spMk id="3" creationId="{F35E8CBB-5A7D-4DEF-BAF7-8DD5D042F9E0}"/>
          </ac:spMkLst>
        </pc:spChg>
        <pc:spChg chg="mod">
          <ac:chgData name="Renata Festa" userId="6f22df47-533b-4c2a-a3c1-7f9ad1d63e10" providerId="ADAL" clId="{7D997690-04A4-4675-83D7-2E1CC2ED1A4E}" dt="2020-03-24T18:42:43.213" v="4253" actId="962"/>
          <ac:spMkLst>
            <pc:docMk/>
            <pc:sldMk cId="683846977" sldId="591"/>
            <ac:spMk id="4" creationId="{F3616A99-090F-45E1-9334-58D58B148205}"/>
          </ac:spMkLst>
        </pc:spChg>
        <pc:spChg chg="add mod">
          <ac:chgData name="Renata Festa" userId="6f22df47-533b-4c2a-a3c1-7f9ad1d63e10" providerId="ADAL" clId="{7D997690-04A4-4675-83D7-2E1CC2ED1A4E}" dt="2020-03-24T18:42:43.213" v="4253" actId="962"/>
          <ac:spMkLst>
            <pc:docMk/>
            <pc:sldMk cId="683846977" sldId="591"/>
            <ac:spMk id="5" creationId="{9B36BCE0-E940-4D74-9671-47DE6C03717B}"/>
          </ac:spMkLst>
        </pc:spChg>
        <pc:spChg chg="add mod">
          <ac:chgData name="Renata Festa" userId="6f22df47-533b-4c2a-a3c1-7f9ad1d63e10" providerId="ADAL" clId="{7D997690-04A4-4675-83D7-2E1CC2ED1A4E}" dt="2020-03-24T18:42:43.213" v="4253" actId="962"/>
          <ac:spMkLst>
            <pc:docMk/>
            <pc:sldMk cId="683846977" sldId="591"/>
            <ac:spMk id="6" creationId="{217AD538-8177-4426-824D-29832FB232F7}"/>
          </ac:spMkLst>
        </pc:spChg>
        <pc:spChg chg="add mod">
          <ac:chgData name="Renata Festa" userId="6f22df47-533b-4c2a-a3c1-7f9ad1d63e10" providerId="ADAL" clId="{7D997690-04A4-4675-83D7-2E1CC2ED1A4E}" dt="2020-03-24T18:42:43.213" v="4253" actId="962"/>
          <ac:spMkLst>
            <pc:docMk/>
            <pc:sldMk cId="683846977" sldId="591"/>
            <ac:spMk id="7" creationId="{0E00D508-1CD0-4D09-B58D-70D167ABD971}"/>
          </ac:spMkLst>
        </pc:spChg>
        <pc:spChg chg="add mod">
          <ac:chgData name="Renata Festa" userId="6f22df47-533b-4c2a-a3c1-7f9ad1d63e10" providerId="ADAL" clId="{7D997690-04A4-4675-83D7-2E1CC2ED1A4E}" dt="2020-03-24T18:42:43.213" v="4253" actId="962"/>
          <ac:spMkLst>
            <pc:docMk/>
            <pc:sldMk cId="683846977" sldId="591"/>
            <ac:spMk id="8" creationId="{2D6FA174-820A-4BDF-AD4B-0506429A24A0}"/>
          </ac:spMkLst>
        </pc:spChg>
        <pc:spChg chg="add mod">
          <ac:chgData name="Renata Festa" userId="6f22df47-533b-4c2a-a3c1-7f9ad1d63e10" providerId="ADAL" clId="{7D997690-04A4-4675-83D7-2E1CC2ED1A4E}" dt="2020-03-24T18:42:43.213" v="4253" actId="962"/>
          <ac:spMkLst>
            <pc:docMk/>
            <pc:sldMk cId="683846977" sldId="591"/>
            <ac:spMk id="9" creationId="{FB1D215B-CC87-4E9B-848B-7F6277609361}"/>
          </ac:spMkLst>
        </pc:spChg>
        <pc:spChg chg="add mod">
          <ac:chgData name="Renata Festa" userId="6f22df47-533b-4c2a-a3c1-7f9ad1d63e10" providerId="ADAL" clId="{7D997690-04A4-4675-83D7-2E1CC2ED1A4E}" dt="2020-03-24T18:42:43.213" v="4253" actId="962"/>
          <ac:spMkLst>
            <pc:docMk/>
            <pc:sldMk cId="683846977" sldId="591"/>
            <ac:spMk id="10" creationId="{4F9E9CE0-62CA-4E62-A706-58147F4B5C74}"/>
          </ac:spMkLst>
        </pc:spChg>
        <pc:spChg chg="add mod">
          <ac:chgData name="Renata Festa" userId="6f22df47-533b-4c2a-a3c1-7f9ad1d63e10" providerId="ADAL" clId="{7D997690-04A4-4675-83D7-2E1CC2ED1A4E}" dt="2020-03-24T18:42:43.213" v="4253" actId="962"/>
          <ac:spMkLst>
            <pc:docMk/>
            <pc:sldMk cId="683846977" sldId="591"/>
            <ac:spMk id="11" creationId="{956EA06E-DF8C-4DD3-A179-E118CCDF23C5}"/>
          </ac:spMkLst>
        </pc:spChg>
        <pc:spChg chg="add mod">
          <ac:chgData name="Renata Festa" userId="6f22df47-533b-4c2a-a3c1-7f9ad1d63e10" providerId="ADAL" clId="{7D997690-04A4-4675-83D7-2E1CC2ED1A4E}" dt="2020-03-24T18:56:03.687" v="4932" actId="207"/>
          <ac:spMkLst>
            <pc:docMk/>
            <pc:sldMk cId="683846977" sldId="591"/>
            <ac:spMk id="12" creationId="{825ADFD8-8BFE-4BB9-A519-F6BF52C85AF6}"/>
          </ac:spMkLst>
        </pc:spChg>
        <pc:spChg chg="add mod">
          <ac:chgData name="Renata Festa" userId="6f22df47-533b-4c2a-a3c1-7f9ad1d63e10" providerId="ADAL" clId="{7D997690-04A4-4675-83D7-2E1CC2ED1A4E}" dt="2020-03-24T18:56:03.687" v="4932" actId="207"/>
          <ac:spMkLst>
            <pc:docMk/>
            <pc:sldMk cId="683846977" sldId="591"/>
            <ac:spMk id="13" creationId="{D36A431F-537F-4C78-8428-2049288ECB43}"/>
          </ac:spMkLst>
        </pc:spChg>
        <pc:spChg chg="add mod">
          <ac:chgData name="Renata Festa" userId="6f22df47-533b-4c2a-a3c1-7f9ad1d63e10" providerId="ADAL" clId="{7D997690-04A4-4675-83D7-2E1CC2ED1A4E}" dt="2020-03-24T18:42:43.213" v="4253" actId="962"/>
          <ac:spMkLst>
            <pc:docMk/>
            <pc:sldMk cId="683846977" sldId="591"/>
            <ac:spMk id="14" creationId="{67A601D5-0A27-4067-8A19-E2016594C9D0}"/>
          </ac:spMkLst>
        </pc:spChg>
        <pc:spChg chg="add mod">
          <ac:chgData name="Renata Festa" userId="6f22df47-533b-4c2a-a3c1-7f9ad1d63e10" providerId="ADAL" clId="{7D997690-04A4-4675-83D7-2E1CC2ED1A4E}" dt="2020-03-24T18:56:03.687" v="4932" actId="207"/>
          <ac:spMkLst>
            <pc:docMk/>
            <pc:sldMk cId="683846977" sldId="591"/>
            <ac:spMk id="15" creationId="{F81D7348-0B81-490E-84D6-416BD2BDB40D}"/>
          </ac:spMkLst>
        </pc:spChg>
        <pc:spChg chg="add mod">
          <ac:chgData name="Renata Festa" userId="6f22df47-533b-4c2a-a3c1-7f9ad1d63e10" providerId="ADAL" clId="{7D997690-04A4-4675-83D7-2E1CC2ED1A4E}" dt="2020-03-24T18:56:03.687" v="4932" actId="207"/>
          <ac:spMkLst>
            <pc:docMk/>
            <pc:sldMk cId="683846977" sldId="591"/>
            <ac:spMk id="16" creationId="{AD63D11F-1EB6-459A-84B1-E1CFC9F301D6}"/>
          </ac:spMkLst>
        </pc:spChg>
        <pc:spChg chg="add mod">
          <ac:chgData name="Renata Festa" userId="6f22df47-533b-4c2a-a3c1-7f9ad1d63e10" providerId="ADAL" clId="{7D997690-04A4-4675-83D7-2E1CC2ED1A4E}" dt="2020-03-24T18:56:03.687" v="4932" actId="207"/>
          <ac:spMkLst>
            <pc:docMk/>
            <pc:sldMk cId="683846977" sldId="591"/>
            <ac:spMk id="17" creationId="{9F578823-3285-4E96-92F8-A6F3B75109A3}"/>
          </ac:spMkLst>
        </pc:spChg>
        <pc:spChg chg="add mod">
          <ac:chgData name="Renata Festa" userId="6f22df47-533b-4c2a-a3c1-7f9ad1d63e10" providerId="ADAL" clId="{7D997690-04A4-4675-83D7-2E1CC2ED1A4E}" dt="2020-03-24T18:42:43.213" v="4253" actId="962"/>
          <ac:spMkLst>
            <pc:docMk/>
            <pc:sldMk cId="683846977" sldId="591"/>
            <ac:spMk id="18" creationId="{F6EEB102-C803-472F-81B4-6988F32D05A5}"/>
          </ac:spMkLst>
        </pc:spChg>
        <pc:spChg chg="add mod">
          <ac:chgData name="Renata Festa" userId="6f22df47-533b-4c2a-a3c1-7f9ad1d63e10" providerId="ADAL" clId="{7D997690-04A4-4675-83D7-2E1CC2ED1A4E}" dt="2020-03-24T18:42:43.213" v="4253" actId="962"/>
          <ac:spMkLst>
            <pc:docMk/>
            <pc:sldMk cId="683846977" sldId="591"/>
            <ac:spMk id="19" creationId="{8C4289A2-8BED-4A30-88B8-64B3EA17A3B7}"/>
          </ac:spMkLst>
        </pc:spChg>
        <pc:spChg chg="add mod">
          <ac:chgData name="Renata Festa" userId="6f22df47-533b-4c2a-a3c1-7f9ad1d63e10" providerId="ADAL" clId="{7D997690-04A4-4675-83D7-2E1CC2ED1A4E}" dt="2020-03-24T18:42:43.213" v="4253" actId="962"/>
          <ac:spMkLst>
            <pc:docMk/>
            <pc:sldMk cId="683846977" sldId="591"/>
            <ac:spMk id="20" creationId="{7ED6FF46-8F6A-4848-B093-A0425C982795}"/>
          </ac:spMkLst>
        </pc:spChg>
        <pc:spChg chg="add mod">
          <ac:chgData name="Renata Festa" userId="6f22df47-533b-4c2a-a3c1-7f9ad1d63e10" providerId="ADAL" clId="{7D997690-04A4-4675-83D7-2E1CC2ED1A4E}" dt="2020-03-24T18:42:43.213" v="4253" actId="962"/>
          <ac:spMkLst>
            <pc:docMk/>
            <pc:sldMk cId="683846977" sldId="591"/>
            <ac:spMk id="21" creationId="{DC15246B-899A-402A-873C-1D2F1D7DAFD1}"/>
          </ac:spMkLst>
        </pc:spChg>
        <pc:spChg chg="add mod">
          <ac:chgData name="Renata Festa" userId="6f22df47-533b-4c2a-a3c1-7f9ad1d63e10" providerId="ADAL" clId="{7D997690-04A4-4675-83D7-2E1CC2ED1A4E}" dt="2020-03-24T18:42:43.213" v="4253" actId="962"/>
          <ac:spMkLst>
            <pc:docMk/>
            <pc:sldMk cId="683846977" sldId="591"/>
            <ac:spMk id="22" creationId="{13E88D3D-E2C1-4530-ACCE-52CDDEE1956D}"/>
          </ac:spMkLst>
        </pc:spChg>
        <pc:spChg chg="add mod">
          <ac:chgData name="Renata Festa" userId="6f22df47-533b-4c2a-a3c1-7f9ad1d63e10" providerId="ADAL" clId="{7D997690-04A4-4675-83D7-2E1CC2ED1A4E}" dt="2020-03-24T18:42:43.213" v="4253" actId="962"/>
          <ac:spMkLst>
            <pc:docMk/>
            <pc:sldMk cId="683846977" sldId="591"/>
            <ac:spMk id="23" creationId="{5BDB2FA8-DEFD-4F99-A0AD-21B72CE22475}"/>
          </ac:spMkLst>
        </pc:spChg>
        <pc:spChg chg="add mod">
          <ac:chgData name="Renata Festa" userId="6f22df47-533b-4c2a-a3c1-7f9ad1d63e10" providerId="ADAL" clId="{7D997690-04A4-4675-83D7-2E1CC2ED1A4E}" dt="2020-03-24T18:42:43.213" v="4253" actId="962"/>
          <ac:spMkLst>
            <pc:docMk/>
            <pc:sldMk cId="683846977" sldId="591"/>
            <ac:spMk id="24" creationId="{68F203F5-AA26-4D33-95CA-CC11301239D5}"/>
          </ac:spMkLst>
        </pc:spChg>
        <pc:spChg chg="add mod">
          <ac:chgData name="Renata Festa" userId="6f22df47-533b-4c2a-a3c1-7f9ad1d63e10" providerId="ADAL" clId="{7D997690-04A4-4675-83D7-2E1CC2ED1A4E}" dt="2020-03-24T18:42:43.213" v="4253" actId="962"/>
          <ac:spMkLst>
            <pc:docMk/>
            <pc:sldMk cId="683846977" sldId="591"/>
            <ac:spMk id="25" creationId="{9F496650-EF0E-495D-8A1C-3A06F0410D30}"/>
          </ac:spMkLst>
        </pc:spChg>
        <pc:spChg chg="add mod">
          <ac:chgData name="Renata Festa" userId="6f22df47-533b-4c2a-a3c1-7f9ad1d63e10" providerId="ADAL" clId="{7D997690-04A4-4675-83D7-2E1CC2ED1A4E}" dt="2020-03-24T18:42:43.213" v="4253" actId="962"/>
          <ac:spMkLst>
            <pc:docMk/>
            <pc:sldMk cId="683846977" sldId="591"/>
            <ac:spMk id="26" creationId="{1325C7CC-4153-4065-AA01-F8354D3F525C}"/>
          </ac:spMkLst>
        </pc:spChg>
        <pc:spChg chg="add mod">
          <ac:chgData name="Renata Festa" userId="6f22df47-533b-4c2a-a3c1-7f9ad1d63e10" providerId="ADAL" clId="{7D997690-04A4-4675-83D7-2E1CC2ED1A4E}" dt="2020-03-24T18:42:43.213" v="4253" actId="962"/>
          <ac:spMkLst>
            <pc:docMk/>
            <pc:sldMk cId="683846977" sldId="591"/>
            <ac:spMk id="27" creationId="{DA43B060-741D-48BE-AFA0-9EBAF48AC75C}"/>
          </ac:spMkLst>
        </pc:spChg>
        <pc:spChg chg="add mod">
          <ac:chgData name="Renata Festa" userId="6f22df47-533b-4c2a-a3c1-7f9ad1d63e10" providerId="ADAL" clId="{7D997690-04A4-4675-83D7-2E1CC2ED1A4E}" dt="2020-03-24T18:42:43.213" v="4253" actId="962"/>
          <ac:spMkLst>
            <pc:docMk/>
            <pc:sldMk cId="683846977" sldId="591"/>
            <ac:spMk id="28" creationId="{DBE2D012-4BF6-4C5A-B877-F3DF5351FB8B}"/>
          </ac:spMkLst>
        </pc:spChg>
        <pc:spChg chg="add mod">
          <ac:chgData name="Renata Festa" userId="6f22df47-533b-4c2a-a3c1-7f9ad1d63e10" providerId="ADAL" clId="{7D997690-04A4-4675-83D7-2E1CC2ED1A4E}" dt="2020-03-24T18:42:43.213" v="4253" actId="962"/>
          <ac:spMkLst>
            <pc:docMk/>
            <pc:sldMk cId="683846977" sldId="591"/>
            <ac:spMk id="29" creationId="{085F8073-318E-44AA-BFBF-5D7E0B327E99}"/>
          </ac:spMkLst>
        </pc:spChg>
        <pc:spChg chg="add mod">
          <ac:chgData name="Renata Festa" userId="6f22df47-533b-4c2a-a3c1-7f9ad1d63e10" providerId="ADAL" clId="{7D997690-04A4-4675-83D7-2E1CC2ED1A4E}" dt="2020-03-24T18:42:43.213" v="4253" actId="962"/>
          <ac:spMkLst>
            <pc:docMk/>
            <pc:sldMk cId="683846977" sldId="591"/>
            <ac:spMk id="30" creationId="{9AC0F5F0-046B-441F-A8B8-42A571215143}"/>
          </ac:spMkLst>
        </pc:spChg>
        <pc:spChg chg="add mod">
          <ac:chgData name="Renata Festa" userId="6f22df47-533b-4c2a-a3c1-7f9ad1d63e10" providerId="ADAL" clId="{7D997690-04A4-4675-83D7-2E1CC2ED1A4E}" dt="2020-03-24T18:42:43.213" v="4253" actId="962"/>
          <ac:spMkLst>
            <pc:docMk/>
            <pc:sldMk cId="683846977" sldId="591"/>
            <ac:spMk id="31" creationId="{26C0389A-3422-4C78-A189-58A34A97F47B}"/>
          </ac:spMkLst>
        </pc:spChg>
        <pc:spChg chg="add mod">
          <ac:chgData name="Renata Festa" userId="6f22df47-533b-4c2a-a3c1-7f9ad1d63e10" providerId="ADAL" clId="{7D997690-04A4-4675-83D7-2E1CC2ED1A4E}" dt="2020-03-24T18:42:43.213" v="4253" actId="962"/>
          <ac:spMkLst>
            <pc:docMk/>
            <pc:sldMk cId="683846977" sldId="591"/>
            <ac:spMk id="32" creationId="{0005062A-2CBC-4BEA-BF92-1F90175D2FAF}"/>
          </ac:spMkLst>
        </pc:spChg>
        <pc:spChg chg="add mod">
          <ac:chgData name="Renata Festa" userId="6f22df47-533b-4c2a-a3c1-7f9ad1d63e10" providerId="ADAL" clId="{7D997690-04A4-4675-83D7-2E1CC2ED1A4E}" dt="2020-03-24T18:56:03.687" v="4932" actId="207"/>
          <ac:spMkLst>
            <pc:docMk/>
            <pc:sldMk cId="683846977" sldId="591"/>
            <ac:spMk id="33" creationId="{A92E53EB-C7BD-4B77-8A08-731DEDC08A20}"/>
          </ac:spMkLst>
        </pc:spChg>
        <pc:spChg chg="add mod">
          <ac:chgData name="Renata Festa" userId="6f22df47-533b-4c2a-a3c1-7f9ad1d63e10" providerId="ADAL" clId="{7D997690-04A4-4675-83D7-2E1CC2ED1A4E}" dt="2020-03-24T18:42:43.213" v="4253" actId="962"/>
          <ac:spMkLst>
            <pc:docMk/>
            <pc:sldMk cId="683846977" sldId="591"/>
            <ac:spMk id="34" creationId="{31D05F59-F4E1-4C5A-B36F-B283C6154699}"/>
          </ac:spMkLst>
        </pc:spChg>
        <pc:spChg chg="add mod">
          <ac:chgData name="Renata Festa" userId="6f22df47-533b-4c2a-a3c1-7f9ad1d63e10" providerId="ADAL" clId="{7D997690-04A4-4675-83D7-2E1CC2ED1A4E}" dt="2020-03-24T18:56:03.687" v="4932" actId="207"/>
          <ac:spMkLst>
            <pc:docMk/>
            <pc:sldMk cId="683846977" sldId="591"/>
            <ac:spMk id="35" creationId="{99FF9725-F1A1-4DCC-930E-2A54437D13B1}"/>
          </ac:spMkLst>
        </pc:spChg>
        <pc:spChg chg="add mod">
          <ac:chgData name="Renata Festa" userId="6f22df47-533b-4c2a-a3c1-7f9ad1d63e10" providerId="ADAL" clId="{7D997690-04A4-4675-83D7-2E1CC2ED1A4E}" dt="2020-03-24T18:42:43.213" v="4253" actId="962"/>
          <ac:spMkLst>
            <pc:docMk/>
            <pc:sldMk cId="683846977" sldId="591"/>
            <ac:spMk id="36" creationId="{B0E721A3-E0D8-4B94-B905-51734109FF47}"/>
          </ac:spMkLst>
        </pc:spChg>
        <pc:spChg chg="add mod">
          <ac:chgData name="Renata Festa" userId="6f22df47-533b-4c2a-a3c1-7f9ad1d63e10" providerId="ADAL" clId="{7D997690-04A4-4675-83D7-2E1CC2ED1A4E}" dt="2020-03-24T18:42:43.213" v="4253" actId="962"/>
          <ac:spMkLst>
            <pc:docMk/>
            <pc:sldMk cId="683846977" sldId="591"/>
            <ac:spMk id="37" creationId="{2EFAF0B3-6045-4E1F-B82A-0C061EF734C3}"/>
          </ac:spMkLst>
        </pc:spChg>
        <pc:spChg chg="add mod">
          <ac:chgData name="Renata Festa" userId="6f22df47-533b-4c2a-a3c1-7f9ad1d63e10" providerId="ADAL" clId="{7D997690-04A4-4675-83D7-2E1CC2ED1A4E}" dt="2020-03-24T18:42:43.213" v="4253" actId="962"/>
          <ac:spMkLst>
            <pc:docMk/>
            <pc:sldMk cId="683846977" sldId="591"/>
            <ac:spMk id="38" creationId="{BA8F5CF4-CBE1-4151-B73A-024ED4C27A63}"/>
          </ac:spMkLst>
        </pc:spChg>
        <pc:spChg chg="add mod">
          <ac:chgData name="Renata Festa" userId="6f22df47-533b-4c2a-a3c1-7f9ad1d63e10" providerId="ADAL" clId="{7D997690-04A4-4675-83D7-2E1CC2ED1A4E}" dt="2020-03-24T18:42:43.213" v="4253" actId="962"/>
          <ac:spMkLst>
            <pc:docMk/>
            <pc:sldMk cId="683846977" sldId="591"/>
            <ac:spMk id="39" creationId="{1FCCB833-2A29-47E4-B490-4C8B5F4B614F}"/>
          </ac:spMkLst>
        </pc:spChg>
        <pc:spChg chg="add mod">
          <ac:chgData name="Renata Festa" userId="6f22df47-533b-4c2a-a3c1-7f9ad1d63e10" providerId="ADAL" clId="{7D997690-04A4-4675-83D7-2E1CC2ED1A4E}" dt="2020-03-24T18:42:43.213" v="4253" actId="962"/>
          <ac:spMkLst>
            <pc:docMk/>
            <pc:sldMk cId="683846977" sldId="591"/>
            <ac:spMk id="40" creationId="{6444B5F2-C9EF-4671-A019-541A5671FF52}"/>
          </ac:spMkLst>
        </pc:spChg>
        <pc:spChg chg="add mod">
          <ac:chgData name="Renata Festa" userId="6f22df47-533b-4c2a-a3c1-7f9ad1d63e10" providerId="ADAL" clId="{7D997690-04A4-4675-83D7-2E1CC2ED1A4E}" dt="2020-03-24T18:42:43.213" v="4253" actId="962"/>
          <ac:spMkLst>
            <pc:docMk/>
            <pc:sldMk cId="683846977" sldId="591"/>
            <ac:spMk id="41" creationId="{94F3A573-EC8E-453F-8F55-8F6558F8A635}"/>
          </ac:spMkLst>
        </pc:spChg>
        <pc:spChg chg="add mod">
          <ac:chgData name="Renata Festa" userId="6f22df47-533b-4c2a-a3c1-7f9ad1d63e10" providerId="ADAL" clId="{7D997690-04A4-4675-83D7-2E1CC2ED1A4E}" dt="2020-03-24T18:42:43.213" v="4253" actId="962"/>
          <ac:spMkLst>
            <pc:docMk/>
            <pc:sldMk cId="683846977" sldId="591"/>
            <ac:spMk id="42" creationId="{FB22B1F8-5B61-479E-8D30-9CFD502A2F35}"/>
          </ac:spMkLst>
        </pc:spChg>
        <pc:spChg chg="add mod">
          <ac:chgData name="Renata Festa" userId="6f22df47-533b-4c2a-a3c1-7f9ad1d63e10" providerId="ADAL" clId="{7D997690-04A4-4675-83D7-2E1CC2ED1A4E}" dt="2020-03-24T18:42:43.213" v="4253" actId="962"/>
          <ac:spMkLst>
            <pc:docMk/>
            <pc:sldMk cId="683846977" sldId="591"/>
            <ac:spMk id="43" creationId="{D18EAD06-6AF0-49FD-B896-F5183318A3C3}"/>
          </ac:spMkLst>
        </pc:spChg>
        <pc:spChg chg="add mod">
          <ac:chgData name="Renata Festa" userId="6f22df47-533b-4c2a-a3c1-7f9ad1d63e10" providerId="ADAL" clId="{7D997690-04A4-4675-83D7-2E1CC2ED1A4E}" dt="2020-03-24T18:42:43.213" v="4253" actId="962"/>
          <ac:spMkLst>
            <pc:docMk/>
            <pc:sldMk cId="683846977" sldId="591"/>
            <ac:spMk id="44" creationId="{9CA41E1D-1142-4731-8758-FD987AEB91AC}"/>
          </ac:spMkLst>
        </pc:spChg>
        <pc:spChg chg="add mod">
          <ac:chgData name="Renata Festa" userId="6f22df47-533b-4c2a-a3c1-7f9ad1d63e10" providerId="ADAL" clId="{7D997690-04A4-4675-83D7-2E1CC2ED1A4E}" dt="2020-03-24T18:42:43.213" v="4253" actId="962"/>
          <ac:spMkLst>
            <pc:docMk/>
            <pc:sldMk cId="683846977" sldId="591"/>
            <ac:spMk id="45" creationId="{AF841F5D-129D-4197-AF8A-9952683B1870}"/>
          </ac:spMkLst>
        </pc:spChg>
        <pc:spChg chg="add mod">
          <ac:chgData name="Renata Festa" userId="6f22df47-533b-4c2a-a3c1-7f9ad1d63e10" providerId="ADAL" clId="{7D997690-04A4-4675-83D7-2E1CC2ED1A4E}" dt="2020-03-24T18:42:43.213" v="4253" actId="962"/>
          <ac:spMkLst>
            <pc:docMk/>
            <pc:sldMk cId="683846977" sldId="591"/>
            <ac:spMk id="46" creationId="{37532D86-5701-449E-9F38-AD96B9297DAA}"/>
          </ac:spMkLst>
        </pc:spChg>
        <pc:spChg chg="add mod">
          <ac:chgData name="Renata Festa" userId="6f22df47-533b-4c2a-a3c1-7f9ad1d63e10" providerId="ADAL" clId="{7D997690-04A4-4675-83D7-2E1CC2ED1A4E}" dt="2020-03-24T18:56:03.687" v="4932" actId="207"/>
          <ac:spMkLst>
            <pc:docMk/>
            <pc:sldMk cId="683846977" sldId="591"/>
            <ac:spMk id="47" creationId="{45878E69-E983-4950-A6B7-D8FD789A9461}"/>
          </ac:spMkLst>
        </pc:spChg>
        <pc:spChg chg="add mod">
          <ac:chgData name="Renata Festa" userId="6f22df47-533b-4c2a-a3c1-7f9ad1d63e10" providerId="ADAL" clId="{7D997690-04A4-4675-83D7-2E1CC2ED1A4E}" dt="2020-03-24T18:56:03.687" v="4932" actId="207"/>
          <ac:spMkLst>
            <pc:docMk/>
            <pc:sldMk cId="683846977" sldId="591"/>
            <ac:spMk id="48" creationId="{7085BE56-1589-4E7E-8DE4-64BEE6755E66}"/>
          </ac:spMkLst>
        </pc:spChg>
        <pc:spChg chg="add mod">
          <ac:chgData name="Renata Festa" userId="6f22df47-533b-4c2a-a3c1-7f9ad1d63e10" providerId="ADAL" clId="{7D997690-04A4-4675-83D7-2E1CC2ED1A4E}" dt="2020-03-24T18:56:03.687" v="4932" actId="207"/>
          <ac:spMkLst>
            <pc:docMk/>
            <pc:sldMk cId="683846977" sldId="591"/>
            <ac:spMk id="49" creationId="{86914C14-2EB4-4B01-9A11-989373F0AA5D}"/>
          </ac:spMkLst>
        </pc:spChg>
        <pc:spChg chg="add mod">
          <ac:chgData name="Renata Festa" userId="6f22df47-533b-4c2a-a3c1-7f9ad1d63e10" providerId="ADAL" clId="{7D997690-04A4-4675-83D7-2E1CC2ED1A4E}" dt="2020-03-24T18:56:03.687" v="4932" actId="207"/>
          <ac:spMkLst>
            <pc:docMk/>
            <pc:sldMk cId="683846977" sldId="591"/>
            <ac:spMk id="50" creationId="{E8DA537B-0C94-47F9-92A6-FC745F22F465}"/>
          </ac:spMkLst>
        </pc:spChg>
        <pc:spChg chg="add mod">
          <ac:chgData name="Renata Festa" userId="6f22df47-533b-4c2a-a3c1-7f9ad1d63e10" providerId="ADAL" clId="{7D997690-04A4-4675-83D7-2E1CC2ED1A4E}" dt="2020-03-24T18:56:03.687" v="4932" actId="207"/>
          <ac:spMkLst>
            <pc:docMk/>
            <pc:sldMk cId="683846977" sldId="591"/>
            <ac:spMk id="51" creationId="{9D000D40-32F4-4E55-BFDE-ECE6B65E4496}"/>
          </ac:spMkLst>
        </pc:spChg>
        <pc:spChg chg="add mod">
          <ac:chgData name="Renata Festa" userId="6f22df47-533b-4c2a-a3c1-7f9ad1d63e10" providerId="ADAL" clId="{7D997690-04A4-4675-83D7-2E1CC2ED1A4E}" dt="2020-03-24T18:56:03.687" v="4932" actId="207"/>
          <ac:spMkLst>
            <pc:docMk/>
            <pc:sldMk cId="683846977" sldId="591"/>
            <ac:spMk id="52" creationId="{B4431797-ACA3-441C-AFB6-3A718A006F19}"/>
          </ac:spMkLst>
        </pc:spChg>
        <pc:spChg chg="add mod">
          <ac:chgData name="Renata Festa" userId="6f22df47-533b-4c2a-a3c1-7f9ad1d63e10" providerId="ADAL" clId="{7D997690-04A4-4675-83D7-2E1CC2ED1A4E}" dt="2020-03-24T18:56:03.687" v="4932" actId="207"/>
          <ac:spMkLst>
            <pc:docMk/>
            <pc:sldMk cId="683846977" sldId="591"/>
            <ac:spMk id="53" creationId="{80EAD51F-38EE-4241-A36D-396F387F1D39}"/>
          </ac:spMkLst>
        </pc:spChg>
        <pc:spChg chg="add mod">
          <ac:chgData name="Renata Festa" userId="6f22df47-533b-4c2a-a3c1-7f9ad1d63e10" providerId="ADAL" clId="{7D997690-04A4-4675-83D7-2E1CC2ED1A4E}" dt="2020-03-24T18:56:03.687" v="4932" actId="207"/>
          <ac:spMkLst>
            <pc:docMk/>
            <pc:sldMk cId="683846977" sldId="591"/>
            <ac:spMk id="54" creationId="{FC4EF67E-2CD8-4FAC-B657-78C01EA24AF3}"/>
          </ac:spMkLst>
        </pc:spChg>
        <pc:spChg chg="add mod">
          <ac:chgData name="Renata Festa" userId="6f22df47-533b-4c2a-a3c1-7f9ad1d63e10" providerId="ADAL" clId="{7D997690-04A4-4675-83D7-2E1CC2ED1A4E}" dt="2020-03-24T18:56:03.687" v="4932" actId="207"/>
          <ac:spMkLst>
            <pc:docMk/>
            <pc:sldMk cId="683846977" sldId="591"/>
            <ac:spMk id="55" creationId="{F9688C44-9EDA-42BF-8529-B530D41F22EE}"/>
          </ac:spMkLst>
        </pc:spChg>
        <pc:spChg chg="add mod">
          <ac:chgData name="Renata Festa" userId="6f22df47-533b-4c2a-a3c1-7f9ad1d63e10" providerId="ADAL" clId="{7D997690-04A4-4675-83D7-2E1CC2ED1A4E}" dt="2020-03-24T18:42:43.213" v="4253" actId="962"/>
          <ac:spMkLst>
            <pc:docMk/>
            <pc:sldMk cId="683846977" sldId="591"/>
            <ac:spMk id="56" creationId="{9E49E262-CDAE-47B4-8488-4D34D1CAB174}"/>
          </ac:spMkLst>
        </pc:spChg>
        <pc:spChg chg="add mod">
          <ac:chgData name="Renata Festa" userId="6f22df47-533b-4c2a-a3c1-7f9ad1d63e10" providerId="ADAL" clId="{7D997690-04A4-4675-83D7-2E1CC2ED1A4E}" dt="2020-03-24T18:42:43.213" v="4253" actId="962"/>
          <ac:spMkLst>
            <pc:docMk/>
            <pc:sldMk cId="683846977" sldId="591"/>
            <ac:spMk id="57" creationId="{1B918896-12A2-4E7E-BE0F-2A47C97502F0}"/>
          </ac:spMkLst>
        </pc:spChg>
        <pc:spChg chg="add del mod">
          <ac:chgData name="Renata Festa" userId="6f22df47-533b-4c2a-a3c1-7f9ad1d63e10" providerId="ADAL" clId="{7D997690-04A4-4675-83D7-2E1CC2ED1A4E}" dt="2020-03-24T18:42:43.213" v="4253" actId="962"/>
          <ac:spMkLst>
            <pc:docMk/>
            <pc:sldMk cId="683846977" sldId="591"/>
            <ac:spMk id="58" creationId="{B145EC5B-7EDB-464F-99CB-9D3430188016}"/>
          </ac:spMkLst>
        </pc:spChg>
        <pc:spChg chg="add mod">
          <ac:chgData name="Renata Festa" userId="6f22df47-533b-4c2a-a3c1-7f9ad1d63e10" providerId="ADAL" clId="{7D997690-04A4-4675-83D7-2E1CC2ED1A4E}" dt="2020-03-24T18:42:43.213" v="4253" actId="962"/>
          <ac:spMkLst>
            <pc:docMk/>
            <pc:sldMk cId="683846977" sldId="591"/>
            <ac:spMk id="59" creationId="{6C57F491-FBA3-4DE8-A42E-6E698BEFDE94}"/>
          </ac:spMkLst>
        </pc:spChg>
        <pc:spChg chg="add mod">
          <ac:chgData name="Renata Festa" userId="6f22df47-533b-4c2a-a3c1-7f9ad1d63e10" providerId="ADAL" clId="{7D997690-04A4-4675-83D7-2E1CC2ED1A4E}" dt="2020-03-24T18:42:43.213" v="4253" actId="962"/>
          <ac:spMkLst>
            <pc:docMk/>
            <pc:sldMk cId="683846977" sldId="591"/>
            <ac:spMk id="60" creationId="{4AB5E342-D474-4416-BC20-3438113AF3F9}"/>
          </ac:spMkLst>
        </pc:spChg>
        <pc:spChg chg="add mod">
          <ac:chgData name="Renata Festa" userId="6f22df47-533b-4c2a-a3c1-7f9ad1d63e10" providerId="ADAL" clId="{7D997690-04A4-4675-83D7-2E1CC2ED1A4E}" dt="2020-03-24T18:42:43.213" v="4253" actId="962"/>
          <ac:spMkLst>
            <pc:docMk/>
            <pc:sldMk cId="683846977" sldId="591"/>
            <ac:spMk id="61" creationId="{CBDB38E7-5578-4332-9F8C-0950F8424496}"/>
          </ac:spMkLst>
        </pc:spChg>
        <pc:spChg chg="add mod">
          <ac:chgData name="Renata Festa" userId="6f22df47-533b-4c2a-a3c1-7f9ad1d63e10" providerId="ADAL" clId="{7D997690-04A4-4675-83D7-2E1CC2ED1A4E}" dt="2020-03-24T18:42:43.213" v="4253" actId="962"/>
          <ac:spMkLst>
            <pc:docMk/>
            <pc:sldMk cId="683846977" sldId="591"/>
            <ac:spMk id="62" creationId="{F4E554BB-5D74-491D-B2A9-A7DE9972FAA7}"/>
          </ac:spMkLst>
        </pc:spChg>
        <pc:spChg chg="add mod">
          <ac:chgData name="Renata Festa" userId="6f22df47-533b-4c2a-a3c1-7f9ad1d63e10" providerId="ADAL" clId="{7D997690-04A4-4675-83D7-2E1CC2ED1A4E}" dt="2020-03-24T18:42:43.213" v="4253" actId="962"/>
          <ac:spMkLst>
            <pc:docMk/>
            <pc:sldMk cId="683846977" sldId="591"/>
            <ac:spMk id="63" creationId="{02F8AB21-0AE9-4228-B33A-FF2E44DD9B11}"/>
          </ac:spMkLst>
        </pc:spChg>
        <pc:spChg chg="add del mod">
          <ac:chgData name="Renata Festa" userId="6f22df47-533b-4c2a-a3c1-7f9ad1d63e10" providerId="ADAL" clId="{7D997690-04A4-4675-83D7-2E1CC2ED1A4E}" dt="2020-03-23T21:14:17.292" v="194"/>
          <ac:spMkLst>
            <pc:docMk/>
            <pc:sldMk cId="683846977" sldId="591"/>
            <ac:spMk id="66" creationId="{6F219BCE-62E0-4CD9-A023-C93478105F7A}"/>
          </ac:spMkLst>
        </pc:spChg>
        <pc:spChg chg="add del mod">
          <ac:chgData name="Renata Festa" userId="6f22df47-533b-4c2a-a3c1-7f9ad1d63e10" providerId="ADAL" clId="{7D997690-04A4-4675-83D7-2E1CC2ED1A4E}" dt="2020-03-23T21:14:15.523" v="191"/>
          <ac:spMkLst>
            <pc:docMk/>
            <pc:sldMk cId="683846977" sldId="591"/>
            <ac:spMk id="67" creationId="{DE7F6EFF-AA49-46F8-AA1D-46D437EC1262}"/>
          </ac:spMkLst>
        </pc:spChg>
        <pc:inkChg chg="add del">
          <ac:chgData name="Renata Festa" userId="6f22df47-533b-4c2a-a3c1-7f9ad1d63e10" providerId="ADAL" clId="{7D997690-04A4-4675-83D7-2E1CC2ED1A4E}" dt="2020-03-23T21:10:07.780" v="146" actId="9405"/>
          <ac:inkMkLst>
            <pc:docMk/>
            <pc:sldMk cId="683846977" sldId="591"/>
            <ac:inkMk id="64" creationId="{531989BC-FDAF-482D-A1CF-37E65FD038CB}"/>
          </ac:inkMkLst>
        </pc:inkChg>
        <pc:inkChg chg="add del">
          <ac:chgData name="Renata Festa" userId="6f22df47-533b-4c2a-a3c1-7f9ad1d63e10" providerId="ADAL" clId="{7D997690-04A4-4675-83D7-2E1CC2ED1A4E}" dt="2020-03-23T21:10:07.635" v="145" actId="9405"/>
          <ac:inkMkLst>
            <pc:docMk/>
            <pc:sldMk cId="683846977" sldId="591"/>
            <ac:inkMk id="65" creationId="{DD32475E-0438-4281-B0CF-43A420980F04}"/>
          </ac:inkMkLst>
        </pc:inkChg>
      </pc:sldChg>
      <pc:sldChg chg="add del">
        <pc:chgData name="Renata Festa" userId="6f22df47-533b-4c2a-a3c1-7f9ad1d63e10" providerId="ADAL" clId="{7D997690-04A4-4675-83D7-2E1CC2ED1A4E}" dt="2020-03-20T18:51:09.016" v="4"/>
        <pc:sldMkLst>
          <pc:docMk/>
          <pc:sldMk cId="2650761956" sldId="591"/>
        </pc:sldMkLst>
      </pc:sldChg>
      <pc:sldChg chg="add del">
        <pc:chgData name="Renata Festa" userId="6f22df47-533b-4c2a-a3c1-7f9ad1d63e10" providerId="ADAL" clId="{7D997690-04A4-4675-83D7-2E1CC2ED1A4E}" dt="2020-03-20T18:51:09.016" v="4"/>
        <pc:sldMkLst>
          <pc:docMk/>
          <pc:sldMk cId="648137854" sldId="592"/>
        </pc:sldMkLst>
      </pc:sldChg>
      <pc:sldChg chg="addSp delSp modSp add mod modAnim modShow modNotesTx">
        <pc:chgData name="Renata Festa" userId="6f22df47-533b-4c2a-a3c1-7f9ad1d63e10" providerId="ADAL" clId="{7D997690-04A4-4675-83D7-2E1CC2ED1A4E}" dt="2020-03-24T18:56:19.111" v="4933" actId="207"/>
        <pc:sldMkLst>
          <pc:docMk/>
          <pc:sldMk cId="2841856026" sldId="592"/>
        </pc:sldMkLst>
        <pc:spChg chg="mod">
          <ac:chgData name="Renata Festa" userId="6f22df47-533b-4c2a-a3c1-7f9ad1d63e10" providerId="ADAL" clId="{7D997690-04A4-4675-83D7-2E1CC2ED1A4E}" dt="2020-03-23T21:16:11.269" v="209"/>
          <ac:spMkLst>
            <pc:docMk/>
            <pc:sldMk cId="2841856026" sldId="592"/>
            <ac:spMk id="2" creationId="{EB67312A-9819-43C6-8D84-D9136E6CFFCC}"/>
          </ac:spMkLst>
        </pc:spChg>
        <pc:spChg chg="del">
          <ac:chgData name="Renata Festa" userId="6f22df47-533b-4c2a-a3c1-7f9ad1d63e10" providerId="ADAL" clId="{7D997690-04A4-4675-83D7-2E1CC2ED1A4E}" dt="2020-03-24T14:00:59.987" v="1638" actId="478"/>
          <ac:spMkLst>
            <pc:docMk/>
            <pc:sldMk cId="2841856026" sldId="592"/>
            <ac:spMk id="3" creationId="{F35E8CBB-5A7D-4DEF-BAF7-8DD5D042F9E0}"/>
          </ac:spMkLst>
        </pc:spChg>
        <pc:spChg chg="mod">
          <ac:chgData name="Renata Festa" userId="6f22df47-533b-4c2a-a3c1-7f9ad1d63e10" providerId="ADAL" clId="{7D997690-04A4-4675-83D7-2E1CC2ED1A4E}" dt="2020-03-24T18:45:46.973" v="4927" actId="962"/>
          <ac:spMkLst>
            <pc:docMk/>
            <pc:sldMk cId="2841856026" sldId="592"/>
            <ac:spMk id="4" creationId="{F3616A99-090F-45E1-9334-58D58B148205}"/>
          </ac:spMkLst>
        </pc:spChg>
        <pc:spChg chg="add mod">
          <ac:chgData name="Renata Festa" userId="6f22df47-533b-4c2a-a3c1-7f9ad1d63e10" providerId="ADAL" clId="{7D997690-04A4-4675-83D7-2E1CC2ED1A4E}" dt="2020-03-24T18:45:46.973" v="4927" actId="962"/>
          <ac:spMkLst>
            <pc:docMk/>
            <pc:sldMk cId="2841856026" sldId="592"/>
            <ac:spMk id="5" creationId="{322A765D-EF46-436F-98D5-358A046EA054}"/>
          </ac:spMkLst>
        </pc:spChg>
        <pc:spChg chg="add mod">
          <ac:chgData name="Renata Festa" userId="6f22df47-533b-4c2a-a3c1-7f9ad1d63e10" providerId="ADAL" clId="{7D997690-04A4-4675-83D7-2E1CC2ED1A4E}" dt="2020-03-24T18:45:46.973" v="4927" actId="962"/>
          <ac:spMkLst>
            <pc:docMk/>
            <pc:sldMk cId="2841856026" sldId="592"/>
            <ac:spMk id="6" creationId="{5CA6A9E2-0801-42E6-82C9-FF9DD0C47385}"/>
          </ac:spMkLst>
        </pc:spChg>
        <pc:spChg chg="add mod">
          <ac:chgData name="Renata Festa" userId="6f22df47-533b-4c2a-a3c1-7f9ad1d63e10" providerId="ADAL" clId="{7D997690-04A4-4675-83D7-2E1CC2ED1A4E}" dt="2020-03-24T18:45:46.973" v="4927" actId="962"/>
          <ac:spMkLst>
            <pc:docMk/>
            <pc:sldMk cId="2841856026" sldId="592"/>
            <ac:spMk id="7" creationId="{9ED902E4-C93F-4D5D-8C32-314454F924CA}"/>
          </ac:spMkLst>
        </pc:spChg>
        <pc:spChg chg="add mod">
          <ac:chgData name="Renata Festa" userId="6f22df47-533b-4c2a-a3c1-7f9ad1d63e10" providerId="ADAL" clId="{7D997690-04A4-4675-83D7-2E1CC2ED1A4E}" dt="2020-03-24T18:45:46.973" v="4927" actId="962"/>
          <ac:spMkLst>
            <pc:docMk/>
            <pc:sldMk cId="2841856026" sldId="592"/>
            <ac:spMk id="8" creationId="{F37E6B9A-09B8-4050-91F4-EAAFD2B192AD}"/>
          </ac:spMkLst>
        </pc:spChg>
        <pc:spChg chg="add mod">
          <ac:chgData name="Renata Festa" userId="6f22df47-533b-4c2a-a3c1-7f9ad1d63e10" providerId="ADAL" clId="{7D997690-04A4-4675-83D7-2E1CC2ED1A4E}" dt="2020-03-24T18:45:46.973" v="4927" actId="962"/>
          <ac:spMkLst>
            <pc:docMk/>
            <pc:sldMk cId="2841856026" sldId="592"/>
            <ac:spMk id="9" creationId="{AC2E2DEB-8B80-4964-AA13-C891ACA6B2CB}"/>
          </ac:spMkLst>
        </pc:spChg>
        <pc:spChg chg="add mod">
          <ac:chgData name="Renata Festa" userId="6f22df47-533b-4c2a-a3c1-7f9ad1d63e10" providerId="ADAL" clId="{7D997690-04A4-4675-83D7-2E1CC2ED1A4E}" dt="2020-03-24T18:45:46.973" v="4927" actId="962"/>
          <ac:spMkLst>
            <pc:docMk/>
            <pc:sldMk cId="2841856026" sldId="592"/>
            <ac:spMk id="10" creationId="{A418583E-607D-4518-9AF9-B85A90A8EBFE}"/>
          </ac:spMkLst>
        </pc:spChg>
        <pc:spChg chg="add mod">
          <ac:chgData name="Renata Festa" userId="6f22df47-533b-4c2a-a3c1-7f9ad1d63e10" providerId="ADAL" clId="{7D997690-04A4-4675-83D7-2E1CC2ED1A4E}" dt="2020-03-24T18:45:46.973" v="4927" actId="962"/>
          <ac:spMkLst>
            <pc:docMk/>
            <pc:sldMk cId="2841856026" sldId="592"/>
            <ac:spMk id="11" creationId="{CC4DBA0E-AEA7-48AA-A2FA-D2EC64E2396C}"/>
          </ac:spMkLst>
        </pc:spChg>
        <pc:spChg chg="add mod">
          <ac:chgData name="Renata Festa" userId="6f22df47-533b-4c2a-a3c1-7f9ad1d63e10" providerId="ADAL" clId="{7D997690-04A4-4675-83D7-2E1CC2ED1A4E}" dt="2020-03-24T18:56:19.111" v="4933" actId="207"/>
          <ac:spMkLst>
            <pc:docMk/>
            <pc:sldMk cId="2841856026" sldId="592"/>
            <ac:spMk id="12" creationId="{6AEDBBEB-86FF-48A0-A8BD-88F2A5A1A3EF}"/>
          </ac:spMkLst>
        </pc:spChg>
        <pc:spChg chg="add mod">
          <ac:chgData name="Renata Festa" userId="6f22df47-533b-4c2a-a3c1-7f9ad1d63e10" providerId="ADAL" clId="{7D997690-04A4-4675-83D7-2E1CC2ED1A4E}" dt="2020-03-24T18:56:19.111" v="4933" actId="207"/>
          <ac:spMkLst>
            <pc:docMk/>
            <pc:sldMk cId="2841856026" sldId="592"/>
            <ac:spMk id="13" creationId="{F9414D59-1C42-4A28-8FEF-F5215FE67D29}"/>
          </ac:spMkLst>
        </pc:spChg>
        <pc:spChg chg="add mod">
          <ac:chgData name="Renata Festa" userId="6f22df47-533b-4c2a-a3c1-7f9ad1d63e10" providerId="ADAL" clId="{7D997690-04A4-4675-83D7-2E1CC2ED1A4E}" dt="2020-03-24T18:45:46.973" v="4927" actId="962"/>
          <ac:spMkLst>
            <pc:docMk/>
            <pc:sldMk cId="2841856026" sldId="592"/>
            <ac:spMk id="14" creationId="{8D6AB7C3-D761-43D9-B4DE-EFBC8E942696}"/>
          </ac:spMkLst>
        </pc:spChg>
        <pc:spChg chg="add mod">
          <ac:chgData name="Renata Festa" userId="6f22df47-533b-4c2a-a3c1-7f9ad1d63e10" providerId="ADAL" clId="{7D997690-04A4-4675-83D7-2E1CC2ED1A4E}" dt="2020-03-24T18:56:19.111" v="4933" actId="207"/>
          <ac:spMkLst>
            <pc:docMk/>
            <pc:sldMk cId="2841856026" sldId="592"/>
            <ac:spMk id="15" creationId="{CDB57443-61C5-4136-87AF-950A3E135F20}"/>
          </ac:spMkLst>
        </pc:spChg>
        <pc:spChg chg="add mod">
          <ac:chgData name="Renata Festa" userId="6f22df47-533b-4c2a-a3c1-7f9ad1d63e10" providerId="ADAL" clId="{7D997690-04A4-4675-83D7-2E1CC2ED1A4E}" dt="2020-03-24T18:56:19.111" v="4933" actId="207"/>
          <ac:spMkLst>
            <pc:docMk/>
            <pc:sldMk cId="2841856026" sldId="592"/>
            <ac:spMk id="16" creationId="{AFAE36B5-830B-446D-9F8A-4A2C535EACCE}"/>
          </ac:spMkLst>
        </pc:spChg>
        <pc:spChg chg="add mod">
          <ac:chgData name="Renata Festa" userId="6f22df47-533b-4c2a-a3c1-7f9ad1d63e10" providerId="ADAL" clId="{7D997690-04A4-4675-83D7-2E1CC2ED1A4E}" dt="2020-03-24T18:56:19.111" v="4933" actId="207"/>
          <ac:spMkLst>
            <pc:docMk/>
            <pc:sldMk cId="2841856026" sldId="592"/>
            <ac:spMk id="17" creationId="{47D2EC10-84FA-420E-BEF5-4506FEA38990}"/>
          </ac:spMkLst>
        </pc:spChg>
        <pc:spChg chg="add mod">
          <ac:chgData name="Renata Festa" userId="6f22df47-533b-4c2a-a3c1-7f9ad1d63e10" providerId="ADAL" clId="{7D997690-04A4-4675-83D7-2E1CC2ED1A4E}" dt="2020-03-24T18:45:46.973" v="4927" actId="962"/>
          <ac:spMkLst>
            <pc:docMk/>
            <pc:sldMk cId="2841856026" sldId="592"/>
            <ac:spMk id="18" creationId="{D26D976C-0148-4DED-AED1-1289B6CBEB0A}"/>
          </ac:spMkLst>
        </pc:spChg>
        <pc:spChg chg="add mod">
          <ac:chgData name="Renata Festa" userId="6f22df47-533b-4c2a-a3c1-7f9ad1d63e10" providerId="ADAL" clId="{7D997690-04A4-4675-83D7-2E1CC2ED1A4E}" dt="2020-03-24T18:45:46.973" v="4927" actId="962"/>
          <ac:spMkLst>
            <pc:docMk/>
            <pc:sldMk cId="2841856026" sldId="592"/>
            <ac:spMk id="19" creationId="{563B4937-8F78-4534-8BC2-283D96FA144A}"/>
          </ac:spMkLst>
        </pc:spChg>
        <pc:spChg chg="add mod">
          <ac:chgData name="Renata Festa" userId="6f22df47-533b-4c2a-a3c1-7f9ad1d63e10" providerId="ADAL" clId="{7D997690-04A4-4675-83D7-2E1CC2ED1A4E}" dt="2020-03-24T18:45:46.973" v="4927" actId="962"/>
          <ac:spMkLst>
            <pc:docMk/>
            <pc:sldMk cId="2841856026" sldId="592"/>
            <ac:spMk id="20" creationId="{A28E9357-CF65-4849-AEBB-E98FA030C88E}"/>
          </ac:spMkLst>
        </pc:spChg>
        <pc:spChg chg="add mod">
          <ac:chgData name="Renata Festa" userId="6f22df47-533b-4c2a-a3c1-7f9ad1d63e10" providerId="ADAL" clId="{7D997690-04A4-4675-83D7-2E1CC2ED1A4E}" dt="2020-03-24T18:45:46.973" v="4927" actId="962"/>
          <ac:spMkLst>
            <pc:docMk/>
            <pc:sldMk cId="2841856026" sldId="592"/>
            <ac:spMk id="21" creationId="{F056AA30-BEB6-47FF-BDF0-B57A277FF0EC}"/>
          </ac:spMkLst>
        </pc:spChg>
        <pc:spChg chg="add mod">
          <ac:chgData name="Renata Festa" userId="6f22df47-533b-4c2a-a3c1-7f9ad1d63e10" providerId="ADAL" clId="{7D997690-04A4-4675-83D7-2E1CC2ED1A4E}" dt="2020-03-24T18:45:46.973" v="4927" actId="962"/>
          <ac:spMkLst>
            <pc:docMk/>
            <pc:sldMk cId="2841856026" sldId="592"/>
            <ac:spMk id="22" creationId="{F7632473-8D1A-4A0B-AABF-B83F75AD5056}"/>
          </ac:spMkLst>
        </pc:spChg>
        <pc:spChg chg="add mod">
          <ac:chgData name="Renata Festa" userId="6f22df47-533b-4c2a-a3c1-7f9ad1d63e10" providerId="ADAL" clId="{7D997690-04A4-4675-83D7-2E1CC2ED1A4E}" dt="2020-03-24T18:45:46.973" v="4927" actId="962"/>
          <ac:spMkLst>
            <pc:docMk/>
            <pc:sldMk cId="2841856026" sldId="592"/>
            <ac:spMk id="23" creationId="{D82D6CEF-48B4-4968-8305-9A4C54E4BD4C}"/>
          </ac:spMkLst>
        </pc:spChg>
        <pc:spChg chg="add mod">
          <ac:chgData name="Renata Festa" userId="6f22df47-533b-4c2a-a3c1-7f9ad1d63e10" providerId="ADAL" clId="{7D997690-04A4-4675-83D7-2E1CC2ED1A4E}" dt="2020-03-24T18:45:46.973" v="4927" actId="962"/>
          <ac:spMkLst>
            <pc:docMk/>
            <pc:sldMk cId="2841856026" sldId="592"/>
            <ac:spMk id="24" creationId="{C230FA1C-9206-49F8-BA54-58C9B86AF0BC}"/>
          </ac:spMkLst>
        </pc:spChg>
        <pc:spChg chg="add mod">
          <ac:chgData name="Renata Festa" userId="6f22df47-533b-4c2a-a3c1-7f9ad1d63e10" providerId="ADAL" clId="{7D997690-04A4-4675-83D7-2E1CC2ED1A4E}" dt="2020-03-24T18:45:46.973" v="4927" actId="962"/>
          <ac:spMkLst>
            <pc:docMk/>
            <pc:sldMk cId="2841856026" sldId="592"/>
            <ac:spMk id="25" creationId="{66F53200-0AF0-4529-A41B-BA5E6DE59444}"/>
          </ac:spMkLst>
        </pc:spChg>
        <pc:spChg chg="add mod">
          <ac:chgData name="Renata Festa" userId="6f22df47-533b-4c2a-a3c1-7f9ad1d63e10" providerId="ADAL" clId="{7D997690-04A4-4675-83D7-2E1CC2ED1A4E}" dt="2020-03-24T18:45:46.973" v="4927" actId="962"/>
          <ac:spMkLst>
            <pc:docMk/>
            <pc:sldMk cId="2841856026" sldId="592"/>
            <ac:spMk id="26" creationId="{5435210F-E558-4586-A5C5-B4E1549E8670}"/>
          </ac:spMkLst>
        </pc:spChg>
        <pc:spChg chg="add mod">
          <ac:chgData name="Renata Festa" userId="6f22df47-533b-4c2a-a3c1-7f9ad1d63e10" providerId="ADAL" clId="{7D997690-04A4-4675-83D7-2E1CC2ED1A4E}" dt="2020-03-24T18:45:46.973" v="4927" actId="962"/>
          <ac:spMkLst>
            <pc:docMk/>
            <pc:sldMk cId="2841856026" sldId="592"/>
            <ac:spMk id="27" creationId="{1F9501E1-C29D-4BB2-9485-9F1D3DFC1E27}"/>
          </ac:spMkLst>
        </pc:spChg>
        <pc:spChg chg="add mod">
          <ac:chgData name="Renata Festa" userId="6f22df47-533b-4c2a-a3c1-7f9ad1d63e10" providerId="ADAL" clId="{7D997690-04A4-4675-83D7-2E1CC2ED1A4E}" dt="2020-03-24T18:45:46.973" v="4927" actId="962"/>
          <ac:spMkLst>
            <pc:docMk/>
            <pc:sldMk cId="2841856026" sldId="592"/>
            <ac:spMk id="28" creationId="{9400EB85-A7B8-4776-96AF-BCEC33EF0D39}"/>
          </ac:spMkLst>
        </pc:spChg>
        <pc:spChg chg="add mod">
          <ac:chgData name="Renata Festa" userId="6f22df47-533b-4c2a-a3c1-7f9ad1d63e10" providerId="ADAL" clId="{7D997690-04A4-4675-83D7-2E1CC2ED1A4E}" dt="2020-03-24T18:45:46.973" v="4927" actId="962"/>
          <ac:spMkLst>
            <pc:docMk/>
            <pc:sldMk cId="2841856026" sldId="592"/>
            <ac:spMk id="29" creationId="{BD6CC425-E887-4BC3-9F33-A10161D9B480}"/>
          </ac:spMkLst>
        </pc:spChg>
        <pc:spChg chg="add mod">
          <ac:chgData name="Renata Festa" userId="6f22df47-533b-4c2a-a3c1-7f9ad1d63e10" providerId="ADAL" clId="{7D997690-04A4-4675-83D7-2E1CC2ED1A4E}" dt="2020-03-24T18:45:46.973" v="4927" actId="962"/>
          <ac:spMkLst>
            <pc:docMk/>
            <pc:sldMk cId="2841856026" sldId="592"/>
            <ac:spMk id="30" creationId="{13F0463C-1437-4452-890C-F930C20145BB}"/>
          </ac:spMkLst>
        </pc:spChg>
        <pc:spChg chg="add mod">
          <ac:chgData name="Renata Festa" userId="6f22df47-533b-4c2a-a3c1-7f9ad1d63e10" providerId="ADAL" clId="{7D997690-04A4-4675-83D7-2E1CC2ED1A4E}" dt="2020-03-24T18:45:46.973" v="4927" actId="962"/>
          <ac:spMkLst>
            <pc:docMk/>
            <pc:sldMk cId="2841856026" sldId="592"/>
            <ac:spMk id="31" creationId="{E6C34FBB-0F49-418B-85C3-D705F12D6EC4}"/>
          </ac:spMkLst>
        </pc:spChg>
        <pc:spChg chg="add mod">
          <ac:chgData name="Renata Festa" userId="6f22df47-533b-4c2a-a3c1-7f9ad1d63e10" providerId="ADAL" clId="{7D997690-04A4-4675-83D7-2E1CC2ED1A4E}" dt="2020-03-24T18:45:46.973" v="4927" actId="962"/>
          <ac:spMkLst>
            <pc:docMk/>
            <pc:sldMk cId="2841856026" sldId="592"/>
            <ac:spMk id="32" creationId="{8E3BECF8-6FD9-4E4B-AB02-210DC5A05DAA}"/>
          </ac:spMkLst>
        </pc:spChg>
        <pc:spChg chg="add mod">
          <ac:chgData name="Renata Festa" userId="6f22df47-533b-4c2a-a3c1-7f9ad1d63e10" providerId="ADAL" clId="{7D997690-04A4-4675-83D7-2E1CC2ED1A4E}" dt="2020-03-24T18:56:19.111" v="4933" actId="207"/>
          <ac:spMkLst>
            <pc:docMk/>
            <pc:sldMk cId="2841856026" sldId="592"/>
            <ac:spMk id="33" creationId="{5409B55B-8882-4A16-92FE-B768106273E1}"/>
          </ac:spMkLst>
        </pc:spChg>
        <pc:spChg chg="add mod">
          <ac:chgData name="Renata Festa" userId="6f22df47-533b-4c2a-a3c1-7f9ad1d63e10" providerId="ADAL" clId="{7D997690-04A4-4675-83D7-2E1CC2ED1A4E}" dt="2020-03-24T18:45:46.973" v="4927" actId="962"/>
          <ac:spMkLst>
            <pc:docMk/>
            <pc:sldMk cId="2841856026" sldId="592"/>
            <ac:spMk id="34" creationId="{B49F66DF-ED55-4E5F-BDC8-1B98E0CD1280}"/>
          </ac:spMkLst>
        </pc:spChg>
        <pc:spChg chg="add mod">
          <ac:chgData name="Renata Festa" userId="6f22df47-533b-4c2a-a3c1-7f9ad1d63e10" providerId="ADAL" clId="{7D997690-04A4-4675-83D7-2E1CC2ED1A4E}" dt="2020-03-24T18:56:19.111" v="4933" actId="207"/>
          <ac:spMkLst>
            <pc:docMk/>
            <pc:sldMk cId="2841856026" sldId="592"/>
            <ac:spMk id="35" creationId="{9EA92E25-2F49-4365-89D2-0A94D2CD188A}"/>
          </ac:spMkLst>
        </pc:spChg>
        <pc:spChg chg="add mod">
          <ac:chgData name="Renata Festa" userId="6f22df47-533b-4c2a-a3c1-7f9ad1d63e10" providerId="ADAL" clId="{7D997690-04A4-4675-83D7-2E1CC2ED1A4E}" dt="2020-03-24T18:45:46.973" v="4927" actId="962"/>
          <ac:spMkLst>
            <pc:docMk/>
            <pc:sldMk cId="2841856026" sldId="592"/>
            <ac:spMk id="36" creationId="{448663E4-0322-4112-ADFC-761E775C778F}"/>
          </ac:spMkLst>
        </pc:spChg>
        <pc:spChg chg="add mod">
          <ac:chgData name="Renata Festa" userId="6f22df47-533b-4c2a-a3c1-7f9ad1d63e10" providerId="ADAL" clId="{7D997690-04A4-4675-83D7-2E1CC2ED1A4E}" dt="2020-03-24T18:45:46.973" v="4927" actId="962"/>
          <ac:spMkLst>
            <pc:docMk/>
            <pc:sldMk cId="2841856026" sldId="592"/>
            <ac:spMk id="37" creationId="{CABD6AEF-09AF-4C9A-BBE4-5FCBC908164D}"/>
          </ac:spMkLst>
        </pc:spChg>
        <pc:spChg chg="add mod">
          <ac:chgData name="Renata Festa" userId="6f22df47-533b-4c2a-a3c1-7f9ad1d63e10" providerId="ADAL" clId="{7D997690-04A4-4675-83D7-2E1CC2ED1A4E}" dt="2020-03-24T18:45:46.973" v="4927" actId="962"/>
          <ac:spMkLst>
            <pc:docMk/>
            <pc:sldMk cId="2841856026" sldId="592"/>
            <ac:spMk id="38" creationId="{8CFBDFB8-E0E8-4016-B99A-FB29AB32CF36}"/>
          </ac:spMkLst>
        </pc:spChg>
        <pc:spChg chg="add mod">
          <ac:chgData name="Renata Festa" userId="6f22df47-533b-4c2a-a3c1-7f9ad1d63e10" providerId="ADAL" clId="{7D997690-04A4-4675-83D7-2E1CC2ED1A4E}" dt="2020-03-24T18:45:46.973" v="4927" actId="962"/>
          <ac:spMkLst>
            <pc:docMk/>
            <pc:sldMk cId="2841856026" sldId="592"/>
            <ac:spMk id="39" creationId="{D81D16AC-2295-47F2-8BC9-254D32D333E9}"/>
          </ac:spMkLst>
        </pc:spChg>
        <pc:spChg chg="add mod">
          <ac:chgData name="Renata Festa" userId="6f22df47-533b-4c2a-a3c1-7f9ad1d63e10" providerId="ADAL" clId="{7D997690-04A4-4675-83D7-2E1CC2ED1A4E}" dt="2020-03-24T18:45:46.973" v="4927" actId="962"/>
          <ac:spMkLst>
            <pc:docMk/>
            <pc:sldMk cId="2841856026" sldId="592"/>
            <ac:spMk id="40" creationId="{A36E4D75-6CDF-4E47-8421-9CC80B8407D5}"/>
          </ac:spMkLst>
        </pc:spChg>
        <pc:spChg chg="add mod">
          <ac:chgData name="Renata Festa" userId="6f22df47-533b-4c2a-a3c1-7f9ad1d63e10" providerId="ADAL" clId="{7D997690-04A4-4675-83D7-2E1CC2ED1A4E}" dt="2020-03-24T18:45:46.973" v="4927" actId="962"/>
          <ac:spMkLst>
            <pc:docMk/>
            <pc:sldMk cId="2841856026" sldId="592"/>
            <ac:spMk id="41" creationId="{9030BA2A-BF97-4D6C-BECF-D65E02AD13FB}"/>
          </ac:spMkLst>
        </pc:spChg>
        <pc:spChg chg="add mod">
          <ac:chgData name="Renata Festa" userId="6f22df47-533b-4c2a-a3c1-7f9ad1d63e10" providerId="ADAL" clId="{7D997690-04A4-4675-83D7-2E1CC2ED1A4E}" dt="2020-03-24T18:45:46.973" v="4927" actId="962"/>
          <ac:spMkLst>
            <pc:docMk/>
            <pc:sldMk cId="2841856026" sldId="592"/>
            <ac:spMk id="42" creationId="{F8759418-147D-4439-B877-C5D78C14A362}"/>
          </ac:spMkLst>
        </pc:spChg>
        <pc:spChg chg="add mod">
          <ac:chgData name="Renata Festa" userId="6f22df47-533b-4c2a-a3c1-7f9ad1d63e10" providerId="ADAL" clId="{7D997690-04A4-4675-83D7-2E1CC2ED1A4E}" dt="2020-03-24T18:45:46.973" v="4927" actId="962"/>
          <ac:spMkLst>
            <pc:docMk/>
            <pc:sldMk cId="2841856026" sldId="592"/>
            <ac:spMk id="43" creationId="{37809154-6676-423A-BA2D-AB2DCD41973B}"/>
          </ac:spMkLst>
        </pc:spChg>
        <pc:spChg chg="add mod">
          <ac:chgData name="Renata Festa" userId="6f22df47-533b-4c2a-a3c1-7f9ad1d63e10" providerId="ADAL" clId="{7D997690-04A4-4675-83D7-2E1CC2ED1A4E}" dt="2020-03-24T18:45:46.973" v="4927" actId="962"/>
          <ac:spMkLst>
            <pc:docMk/>
            <pc:sldMk cId="2841856026" sldId="592"/>
            <ac:spMk id="44" creationId="{2203971B-41FD-4043-83A1-14EC2E9237CB}"/>
          </ac:spMkLst>
        </pc:spChg>
        <pc:spChg chg="add mod">
          <ac:chgData name="Renata Festa" userId="6f22df47-533b-4c2a-a3c1-7f9ad1d63e10" providerId="ADAL" clId="{7D997690-04A4-4675-83D7-2E1CC2ED1A4E}" dt="2020-03-24T18:45:46.973" v="4927" actId="962"/>
          <ac:spMkLst>
            <pc:docMk/>
            <pc:sldMk cId="2841856026" sldId="592"/>
            <ac:spMk id="45" creationId="{5942A1C4-46E0-4E2E-82ED-21765EAF4BC3}"/>
          </ac:spMkLst>
        </pc:spChg>
        <pc:spChg chg="add mod">
          <ac:chgData name="Renata Festa" userId="6f22df47-533b-4c2a-a3c1-7f9ad1d63e10" providerId="ADAL" clId="{7D997690-04A4-4675-83D7-2E1CC2ED1A4E}" dt="2020-03-24T18:45:46.973" v="4927" actId="962"/>
          <ac:spMkLst>
            <pc:docMk/>
            <pc:sldMk cId="2841856026" sldId="592"/>
            <ac:spMk id="46" creationId="{55F65A84-A685-497E-A9A3-ABC4C3DA7FB1}"/>
          </ac:spMkLst>
        </pc:spChg>
        <pc:spChg chg="add mod">
          <ac:chgData name="Renata Festa" userId="6f22df47-533b-4c2a-a3c1-7f9ad1d63e10" providerId="ADAL" clId="{7D997690-04A4-4675-83D7-2E1CC2ED1A4E}" dt="2020-03-24T18:45:46.973" v="4927" actId="962"/>
          <ac:spMkLst>
            <pc:docMk/>
            <pc:sldMk cId="2841856026" sldId="592"/>
            <ac:spMk id="47" creationId="{4BF20A39-ACC1-49D2-826D-D2A148B01020}"/>
          </ac:spMkLst>
        </pc:spChg>
        <pc:spChg chg="add mod">
          <ac:chgData name="Renata Festa" userId="6f22df47-533b-4c2a-a3c1-7f9ad1d63e10" providerId="ADAL" clId="{7D997690-04A4-4675-83D7-2E1CC2ED1A4E}" dt="2020-03-24T18:45:46.973" v="4927" actId="962"/>
          <ac:spMkLst>
            <pc:docMk/>
            <pc:sldMk cId="2841856026" sldId="592"/>
            <ac:spMk id="48" creationId="{6D027800-E78A-4E22-B8CC-37C13BDB97D1}"/>
          </ac:spMkLst>
        </pc:spChg>
        <pc:spChg chg="add mod">
          <ac:chgData name="Renata Festa" userId="6f22df47-533b-4c2a-a3c1-7f9ad1d63e10" providerId="ADAL" clId="{7D997690-04A4-4675-83D7-2E1CC2ED1A4E}" dt="2020-03-24T18:56:19.111" v="4933" actId="207"/>
          <ac:spMkLst>
            <pc:docMk/>
            <pc:sldMk cId="2841856026" sldId="592"/>
            <ac:spMk id="49" creationId="{12B7BF20-F662-4259-A44C-5364B3F22398}"/>
          </ac:spMkLst>
        </pc:spChg>
        <pc:spChg chg="add mod">
          <ac:chgData name="Renata Festa" userId="6f22df47-533b-4c2a-a3c1-7f9ad1d63e10" providerId="ADAL" clId="{7D997690-04A4-4675-83D7-2E1CC2ED1A4E}" dt="2020-03-24T18:56:19.111" v="4933" actId="207"/>
          <ac:spMkLst>
            <pc:docMk/>
            <pc:sldMk cId="2841856026" sldId="592"/>
            <ac:spMk id="50" creationId="{BC806CFC-87AB-4964-81CE-B1F34D2E2985}"/>
          </ac:spMkLst>
        </pc:spChg>
        <pc:spChg chg="add mod">
          <ac:chgData name="Renata Festa" userId="6f22df47-533b-4c2a-a3c1-7f9ad1d63e10" providerId="ADAL" clId="{7D997690-04A4-4675-83D7-2E1CC2ED1A4E}" dt="2020-03-24T18:56:19.111" v="4933" actId="207"/>
          <ac:spMkLst>
            <pc:docMk/>
            <pc:sldMk cId="2841856026" sldId="592"/>
            <ac:spMk id="51" creationId="{F1F8EFCA-DC17-410D-A686-4DC92760B759}"/>
          </ac:spMkLst>
        </pc:spChg>
        <pc:spChg chg="add mod">
          <ac:chgData name="Renata Festa" userId="6f22df47-533b-4c2a-a3c1-7f9ad1d63e10" providerId="ADAL" clId="{7D997690-04A4-4675-83D7-2E1CC2ED1A4E}" dt="2020-03-24T18:56:19.111" v="4933" actId="207"/>
          <ac:spMkLst>
            <pc:docMk/>
            <pc:sldMk cId="2841856026" sldId="592"/>
            <ac:spMk id="52" creationId="{BEDB0322-95D6-4FE9-BB7C-D98CF8FD385F}"/>
          </ac:spMkLst>
        </pc:spChg>
        <pc:spChg chg="add mod">
          <ac:chgData name="Renata Festa" userId="6f22df47-533b-4c2a-a3c1-7f9ad1d63e10" providerId="ADAL" clId="{7D997690-04A4-4675-83D7-2E1CC2ED1A4E}" dt="2020-03-24T18:56:19.111" v="4933" actId="207"/>
          <ac:spMkLst>
            <pc:docMk/>
            <pc:sldMk cId="2841856026" sldId="592"/>
            <ac:spMk id="53" creationId="{E7EDEE7C-71E9-4C6E-9497-E4F0F2794F12}"/>
          </ac:spMkLst>
        </pc:spChg>
        <pc:spChg chg="add mod">
          <ac:chgData name="Renata Festa" userId="6f22df47-533b-4c2a-a3c1-7f9ad1d63e10" providerId="ADAL" clId="{7D997690-04A4-4675-83D7-2E1CC2ED1A4E}" dt="2020-03-24T18:56:19.111" v="4933" actId="207"/>
          <ac:spMkLst>
            <pc:docMk/>
            <pc:sldMk cId="2841856026" sldId="592"/>
            <ac:spMk id="54" creationId="{57776630-9364-48AA-AE35-25828F05067D}"/>
          </ac:spMkLst>
        </pc:spChg>
        <pc:spChg chg="add mod">
          <ac:chgData name="Renata Festa" userId="6f22df47-533b-4c2a-a3c1-7f9ad1d63e10" providerId="ADAL" clId="{7D997690-04A4-4675-83D7-2E1CC2ED1A4E}" dt="2020-03-24T18:56:19.111" v="4933" actId="207"/>
          <ac:spMkLst>
            <pc:docMk/>
            <pc:sldMk cId="2841856026" sldId="592"/>
            <ac:spMk id="55" creationId="{45CE9A64-73F0-4191-9DDE-D81703466E0F}"/>
          </ac:spMkLst>
        </pc:spChg>
        <pc:spChg chg="add mod">
          <ac:chgData name="Renata Festa" userId="6f22df47-533b-4c2a-a3c1-7f9ad1d63e10" providerId="ADAL" clId="{7D997690-04A4-4675-83D7-2E1CC2ED1A4E}" dt="2020-03-24T18:56:19.111" v="4933" actId="207"/>
          <ac:spMkLst>
            <pc:docMk/>
            <pc:sldMk cId="2841856026" sldId="592"/>
            <ac:spMk id="56" creationId="{173592CB-CF9A-4DAF-BD20-45C07BBD5CD3}"/>
          </ac:spMkLst>
        </pc:spChg>
        <pc:spChg chg="add mod">
          <ac:chgData name="Renata Festa" userId="6f22df47-533b-4c2a-a3c1-7f9ad1d63e10" providerId="ADAL" clId="{7D997690-04A4-4675-83D7-2E1CC2ED1A4E}" dt="2020-03-24T18:56:19.111" v="4933" actId="207"/>
          <ac:spMkLst>
            <pc:docMk/>
            <pc:sldMk cId="2841856026" sldId="592"/>
            <ac:spMk id="57" creationId="{850FE7C0-7F83-470A-BD62-5EC5D101CE0D}"/>
          </ac:spMkLst>
        </pc:spChg>
        <pc:spChg chg="add mod">
          <ac:chgData name="Renata Festa" userId="6f22df47-533b-4c2a-a3c1-7f9ad1d63e10" providerId="ADAL" clId="{7D997690-04A4-4675-83D7-2E1CC2ED1A4E}" dt="2020-03-24T18:45:46.973" v="4927" actId="962"/>
          <ac:spMkLst>
            <pc:docMk/>
            <pc:sldMk cId="2841856026" sldId="592"/>
            <ac:spMk id="58" creationId="{45B5EB6F-C0D3-4C45-B353-629B0F982475}"/>
          </ac:spMkLst>
        </pc:spChg>
        <pc:spChg chg="add mod">
          <ac:chgData name="Renata Festa" userId="6f22df47-533b-4c2a-a3c1-7f9ad1d63e10" providerId="ADAL" clId="{7D997690-04A4-4675-83D7-2E1CC2ED1A4E}" dt="2020-03-24T18:45:46.973" v="4927" actId="962"/>
          <ac:spMkLst>
            <pc:docMk/>
            <pc:sldMk cId="2841856026" sldId="592"/>
            <ac:spMk id="59" creationId="{B78AD3C7-57E8-479C-AE47-A49F635534FC}"/>
          </ac:spMkLst>
        </pc:spChg>
        <pc:spChg chg="add mod">
          <ac:chgData name="Renata Festa" userId="6f22df47-533b-4c2a-a3c1-7f9ad1d63e10" providerId="ADAL" clId="{7D997690-04A4-4675-83D7-2E1CC2ED1A4E}" dt="2020-03-24T18:45:46.973" v="4927" actId="962"/>
          <ac:spMkLst>
            <pc:docMk/>
            <pc:sldMk cId="2841856026" sldId="592"/>
            <ac:spMk id="60" creationId="{2DA31131-68D0-4C48-AF08-D37B52FEFE21}"/>
          </ac:spMkLst>
        </pc:spChg>
        <pc:spChg chg="add mod">
          <ac:chgData name="Renata Festa" userId="6f22df47-533b-4c2a-a3c1-7f9ad1d63e10" providerId="ADAL" clId="{7D997690-04A4-4675-83D7-2E1CC2ED1A4E}" dt="2020-03-24T18:45:46.973" v="4927" actId="962"/>
          <ac:spMkLst>
            <pc:docMk/>
            <pc:sldMk cId="2841856026" sldId="592"/>
            <ac:spMk id="61" creationId="{C853264D-42AB-4475-8889-67A557E352B9}"/>
          </ac:spMkLst>
        </pc:spChg>
        <pc:spChg chg="add del">
          <ac:chgData name="Renata Festa" userId="6f22df47-533b-4c2a-a3c1-7f9ad1d63e10" providerId="ADAL" clId="{7D997690-04A4-4675-83D7-2E1CC2ED1A4E}" dt="2020-03-23T21:19:28.619" v="249"/>
          <ac:spMkLst>
            <pc:docMk/>
            <pc:sldMk cId="2841856026" sldId="592"/>
            <ac:spMk id="62" creationId="{63F34472-6CC1-466B-BAD7-D92F059EA533}"/>
          </ac:spMkLst>
        </pc:spChg>
      </pc:sldChg>
      <pc:sldChg chg="add del">
        <pc:chgData name="Renata Festa" userId="6f22df47-533b-4c2a-a3c1-7f9ad1d63e10" providerId="ADAL" clId="{7D997690-04A4-4675-83D7-2E1CC2ED1A4E}" dt="2020-03-20T18:51:09.016" v="4"/>
        <pc:sldMkLst>
          <pc:docMk/>
          <pc:sldMk cId="1440117627" sldId="593"/>
        </pc:sldMkLst>
      </pc:sldChg>
      <pc:sldChg chg="addSp delSp modSp add mod modAnim modShow">
        <pc:chgData name="Renata Festa" userId="6f22df47-533b-4c2a-a3c1-7f9ad1d63e10" providerId="ADAL" clId="{7D997690-04A4-4675-83D7-2E1CC2ED1A4E}" dt="2020-03-24T18:56:54.479" v="4935" actId="207"/>
        <pc:sldMkLst>
          <pc:docMk/>
          <pc:sldMk cId="1639023780" sldId="593"/>
        </pc:sldMkLst>
        <pc:spChg chg="mod">
          <ac:chgData name="Renata Festa" userId="6f22df47-533b-4c2a-a3c1-7f9ad1d63e10" providerId="ADAL" clId="{7D997690-04A4-4675-83D7-2E1CC2ED1A4E}" dt="2020-03-23T21:19:47.392" v="250"/>
          <ac:spMkLst>
            <pc:docMk/>
            <pc:sldMk cId="1639023780" sldId="593"/>
            <ac:spMk id="2" creationId="{EB67312A-9819-43C6-8D84-D9136E6CFFCC}"/>
          </ac:spMkLst>
        </pc:spChg>
        <pc:spChg chg="del">
          <ac:chgData name="Renata Festa" userId="6f22df47-533b-4c2a-a3c1-7f9ad1d63e10" providerId="ADAL" clId="{7D997690-04A4-4675-83D7-2E1CC2ED1A4E}" dt="2020-03-24T14:00:58.220" v="1637" actId="478"/>
          <ac:spMkLst>
            <pc:docMk/>
            <pc:sldMk cId="1639023780" sldId="593"/>
            <ac:spMk id="3" creationId="{F35E8CBB-5A7D-4DEF-BAF7-8DD5D042F9E0}"/>
          </ac:spMkLst>
        </pc:spChg>
        <pc:spChg chg="add del mod">
          <ac:chgData name="Renata Festa" userId="6f22df47-533b-4c2a-a3c1-7f9ad1d63e10" providerId="ADAL" clId="{7D997690-04A4-4675-83D7-2E1CC2ED1A4E}" dt="2020-03-23T21:21:14.858" v="263" actId="12084"/>
          <ac:spMkLst>
            <pc:docMk/>
            <pc:sldMk cId="1639023780" sldId="593"/>
            <ac:spMk id="4" creationId="{F3616A99-090F-45E1-9334-58D58B148205}"/>
          </ac:spMkLst>
        </pc:spChg>
        <pc:spChg chg="add del mod">
          <ac:chgData name="Renata Festa" userId="6f22df47-533b-4c2a-a3c1-7f9ad1d63e10" providerId="ADAL" clId="{7D997690-04A4-4675-83D7-2E1CC2ED1A4E}" dt="2020-03-23T21:21:05.558" v="262"/>
          <ac:spMkLst>
            <pc:docMk/>
            <pc:sldMk cId="1639023780" sldId="593"/>
            <ac:spMk id="5" creationId="{0404A1AE-1ECD-4FFC-86F1-AB1E4233284B}"/>
          </ac:spMkLst>
        </pc:spChg>
        <pc:spChg chg="add mod">
          <ac:chgData name="Renata Festa" userId="6f22df47-533b-4c2a-a3c1-7f9ad1d63e10" providerId="ADAL" clId="{7D997690-04A4-4675-83D7-2E1CC2ED1A4E}" dt="2020-03-23T21:25:48.267" v="365" actId="1076"/>
          <ac:spMkLst>
            <pc:docMk/>
            <pc:sldMk cId="1639023780" sldId="593"/>
            <ac:spMk id="55" creationId="{747606A0-2B23-4DF6-8A08-97560A351072}"/>
          </ac:spMkLst>
        </pc:spChg>
        <pc:spChg chg="mod">
          <ac:chgData name="Renata Festa" userId="6f22df47-533b-4c2a-a3c1-7f9ad1d63e10" providerId="ADAL" clId="{7D997690-04A4-4675-83D7-2E1CC2ED1A4E}" dt="2020-03-24T18:56:54.479" v="4935" actId="207"/>
          <ac:spMkLst>
            <pc:docMk/>
            <pc:sldMk cId="1639023780" sldId="593"/>
            <ac:spMk id="57" creationId="{FB73061C-5E4A-4965-95EE-6439FD6C9D73}"/>
          </ac:spMkLst>
        </pc:spChg>
        <pc:spChg chg="mod">
          <ac:chgData name="Renata Festa" userId="6f22df47-533b-4c2a-a3c1-7f9ad1d63e10" providerId="ADAL" clId="{7D997690-04A4-4675-83D7-2E1CC2ED1A4E}" dt="2020-03-24T18:56:54.479" v="4935" actId="207"/>
          <ac:spMkLst>
            <pc:docMk/>
            <pc:sldMk cId="1639023780" sldId="593"/>
            <ac:spMk id="58" creationId="{EC1541C1-3007-4CFC-A436-AD7154289FF6}"/>
          </ac:spMkLst>
        </pc:spChg>
        <pc:spChg chg="mod">
          <ac:chgData name="Renata Festa" userId="6f22df47-533b-4c2a-a3c1-7f9ad1d63e10" providerId="ADAL" clId="{7D997690-04A4-4675-83D7-2E1CC2ED1A4E}" dt="2020-03-24T18:56:54.479" v="4935" actId="207"/>
          <ac:spMkLst>
            <pc:docMk/>
            <pc:sldMk cId="1639023780" sldId="593"/>
            <ac:spMk id="59" creationId="{77CD6547-4B2E-400E-8244-9E267C5D60D5}"/>
          </ac:spMkLst>
        </pc:spChg>
        <pc:spChg chg="mod">
          <ac:chgData name="Renata Festa" userId="6f22df47-533b-4c2a-a3c1-7f9ad1d63e10" providerId="ADAL" clId="{7D997690-04A4-4675-83D7-2E1CC2ED1A4E}" dt="2020-03-24T18:56:54.479" v="4935" actId="207"/>
          <ac:spMkLst>
            <pc:docMk/>
            <pc:sldMk cId="1639023780" sldId="593"/>
            <ac:spMk id="60" creationId="{0812796B-F516-4713-89BD-7655B3F1DD9C}"/>
          </ac:spMkLst>
        </pc:spChg>
        <pc:spChg chg="mod">
          <ac:chgData name="Renata Festa" userId="6f22df47-533b-4c2a-a3c1-7f9ad1d63e10" providerId="ADAL" clId="{7D997690-04A4-4675-83D7-2E1CC2ED1A4E}" dt="2020-03-24T18:56:54.479" v="4935" actId="207"/>
          <ac:spMkLst>
            <pc:docMk/>
            <pc:sldMk cId="1639023780" sldId="593"/>
            <ac:spMk id="61" creationId="{DBDDD30F-767B-4AD7-BB1B-674F5AE05746}"/>
          </ac:spMkLst>
        </pc:spChg>
        <pc:spChg chg="mod">
          <ac:chgData name="Renata Festa" userId="6f22df47-533b-4c2a-a3c1-7f9ad1d63e10" providerId="ADAL" clId="{7D997690-04A4-4675-83D7-2E1CC2ED1A4E}" dt="2020-03-24T18:56:54.479" v="4935" actId="207"/>
          <ac:spMkLst>
            <pc:docMk/>
            <pc:sldMk cId="1639023780" sldId="593"/>
            <ac:spMk id="62" creationId="{3582FCDD-D067-4292-B045-EBCE44198B6B}"/>
          </ac:spMkLst>
        </pc:spChg>
        <pc:spChg chg="mod">
          <ac:chgData name="Renata Festa" userId="6f22df47-533b-4c2a-a3c1-7f9ad1d63e10" providerId="ADAL" clId="{7D997690-04A4-4675-83D7-2E1CC2ED1A4E}" dt="2020-03-23T21:24:26.050" v="341" actId="1076"/>
          <ac:spMkLst>
            <pc:docMk/>
            <pc:sldMk cId="1639023780" sldId="593"/>
            <ac:spMk id="66" creationId="{54A45738-1FC9-45E7-95B3-1BE2B327755E}"/>
          </ac:spMkLst>
        </pc:spChg>
        <pc:spChg chg="mod">
          <ac:chgData name="Renata Festa" userId="6f22df47-533b-4c2a-a3c1-7f9ad1d63e10" providerId="ADAL" clId="{7D997690-04A4-4675-83D7-2E1CC2ED1A4E}" dt="2020-03-23T21:24:46.395" v="346" actId="1036"/>
          <ac:spMkLst>
            <pc:docMk/>
            <pc:sldMk cId="1639023780" sldId="593"/>
            <ac:spMk id="67" creationId="{6380E3AE-3271-4960-BA0C-35CED4A56684}"/>
          </ac:spMkLst>
        </pc:spChg>
        <pc:spChg chg="mod">
          <ac:chgData name="Renata Festa" userId="6f22df47-533b-4c2a-a3c1-7f9ad1d63e10" providerId="ADAL" clId="{7D997690-04A4-4675-83D7-2E1CC2ED1A4E}" dt="2020-03-23T21:24:46.395" v="346" actId="1036"/>
          <ac:spMkLst>
            <pc:docMk/>
            <pc:sldMk cId="1639023780" sldId="593"/>
            <ac:spMk id="68" creationId="{C0E5090B-FC07-4497-90E7-C95BE2CF0A3B}"/>
          </ac:spMkLst>
        </pc:spChg>
        <pc:spChg chg="mod">
          <ac:chgData name="Renata Festa" userId="6f22df47-533b-4c2a-a3c1-7f9ad1d63e10" providerId="ADAL" clId="{7D997690-04A4-4675-83D7-2E1CC2ED1A4E}" dt="2020-03-23T21:24:46.395" v="346" actId="1036"/>
          <ac:spMkLst>
            <pc:docMk/>
            <pc:sldMk cId="1639023780" sldId="593"/>
            <ac:spMk id="69" creationId="{774F4AA7-F5B4-401B-835A-0098A4416DCE}"/>
          </ac:spMkLst>
        </pc:spChg>
        <pc:spChg chg="mod">
          <ac:chgData name="Renata Festa" userId="6f22df47-533b-4c2a-a3c1-7f9ad1d63e10" providerId="ADAL" clId="{7D997690-04A4-4675-83D7-2E1CC2ED1A4E}" dt="2020-03-23T21:24:46.395" v="346" actId="1036"/>
          <ac:spMkLst>
            <pc:docMk/>
            <pc:sldMk cId="1639023780" sldId="593"/>
            <ac:spMk id="70" creationId="{8CCC36B1-E63D-47D2-8B99-010B8EAC5205}"/>
          </ac:spMkLst>
        </pc:spChg>
        <pc:spChg chg="mod">
          <ac:chgData name="Renata Festa" userId="6f22df47-533b-4c2a-a3c1-7f9ad1d63e10" providerId="ADAL" clId="{7D997690-04A4-4675-83D7-2E1CC2ED1A4E}" dt="2020-03-23T21:24:46.395" v="346" actId="1036"/>
          <ac:spMkLst>
            <pc:docMk/>
            <pc:sldMk cId="1639023780" sldId="593"/>
            <ac:spMk id="71" creationId="{CE425B89-0384-4AA4-86F3-471C53CB8BCC}"/>
          </ac:spMkLst>
        </pc:spChg>
        <pc:spChg chg="mod">
          <ac:chgData name="Renata Festa" userId="6f22df47-533b-4c2a-a3c1-7f9ad1d63e10" providerId="ADAL" clId="{7D997690-04A4-4675-83D7-2E1CC2ED1A4E}" dt="2020-03-23T21:24:46.395" v="346" actId="1036"/>
          <ac:spMkLst>
            <pc:docMk/>
            <pc:sldMk cId="1639023780" sldId="593"/>
            <ac:spMk id="72" creationId="{2DF4E3B4-C903-4CD5-B851-4F441B5FDA35}"/>
          </ac:spMkLst>
        </pc:spChg>
        <pc:spChg chg="mod">
          <ac:chgData name="Renata Festa" userId="6f22df47-533b-4c2a-a3c1-7f9ad1d63e10" providerId="ADAL" clId="{7D997690-04A4-4675-83D7-2E1CC2ED1A4E}" dt="2020-03-23T21:24:46.395" v="346" actId="1036"/>
          <ac:spMkLst>
            <pc:docMk/>
            <pc:sldMk cId="1639023780" sldId="593"/>
            <ac:spMk id="73" creationId="{9E61FBB4-CE86-498C-98BF-D86BC1695842}"/>
          </ac:spMkLst>
        </pc:spChg>
        <pc:spChg chg="mod">
          <ac:chgData name="Renata Festa" userId="6f22df47-533b-4c2a-a3c1-7f9ad1d63e10" providerId="ADAL" clId="{7D997690-04A4-4675-83D7-2E1CC2ED1A4E}" dt="2020-03-23T21:24:46.395" v="346" actId="1036"/>
          <ac:spMkLst>
            <pc:docMk/>
            <pc:sldMk cId="1639023780" sldId="593"/>
            <ac:spMk id="74" creationId="{478D36D4-A584-49E3-8BED-7058088ECB10}"/>
          </ac:spMkLst>
        </pc:spChg>
        <pc:spChg chg="mod">
          <ac:chgData name="Renata Festa" userId="6f22df47-533b-4c2a-a3c1-7f9ad1d63e10" providerId="ADAL" clId="{7D997690-04A4-4675-83D7-2E1CC2ED1A4E}" dt="2020-03-23T21:24:46.395" v="346" actId="1036"/>
          <ac:spMkLst>
            <pc:docMk/>
            <pc:sldMk cId="1639023780" sldId="593"/>
            <ac:spMk id="75" creationId="{985EC4A8-800F-4197-9126-8F027CF557EC}"/>
          </ac:spMkLst>
        </pc:spChg>
        <pc:spChg chg="mod">
          <ac:chgData name="Renata Festa" userId="6f22df47-533b-4c2a-a3c1-7f9ad1d63e10" providerId="ADAL" clId="{7D997690-04A4-4675-83D7-2E1CC2ED1A4E}" dt="2020-03-23T21:24:46.395" v="346" actId="1036"/>
          <ac:spMkLst>
            <pc:docMk/>
            <pc:sldMk cId="1639023780" sldId="593"/>
            <ac:spMk id="76" creationId="{BE685DB3-CDEA-4098-BED1-31414DBC7D31}"/>
          </ac:spMkLst>
        </pc:spChg>
        <pc:spChg chg="mod">
          <ac:chgData name="Renata Festa" userId="6f22df47-533b-4c2a-a3c1-7f9ad1d63e10" providerId="ADAL" clId="{7D997690-04A4-4675-83D7-2E1CC2ED1A4E}" dt="2020-03-23T21:24:46.395" v="346" actId="1036"/>
          <ac:spMkLst>
            <pc:docMk/>
            <pc:sldMk cId="1639023780" sldId="593"/>
            <ac:spMk id="77" creationId="{B8CDA129-5084-45E5-8422-8D924480652A}"/>
          </ac:spMkLst>
        </pc:spChg>
        <pc:spChg chg="mod">
          <ac:chgData name="Renata Festa" userId="6f22df47-533b-4c2a-a3c1-7f9ad1d63e10" providerId="ADAL" clId="{7D997690-04A4-4675-83D7-2E1CC2ED1A4E}" dt="2020-03-23T21:24:46.395" v="346" actId="1036"/>
          <ac:spMkLst>
            <pc:docMk/>
            <pc:sldMk cId="1639023780" sldId="593"/>
            <ac:spMk id="78" creationId="{E7E90F08-9C71-4D0E-A06E-776988C70A15}"/>
          </ac:spMkLst>
        </pc:spChg>
        <pc:spChg chg="mod">
          <ac:chgData name="Renata Festa" userId="6f22df47-533b-4c2a-a3c1-7f9ad1d63e10" providerId="ADAL" clId="{7D997690-04A4-4675-83D7-2E1CC2ED1A4E}" dt="2020-03-23T21:24:54.487" v="348" actId="1035"/>
          <ac:spMkLst>
            <pc:docMk/>
            <pc:sldMk cId="1639023780" sldId="593"/>
            <ac:spMk id="79" creationId="{4EF80F7B-DD48-4106-B228-E49EFE42CB44}"/>
          </ac:spMkLst>
        </pc:spChg>
        <pc:spChg chg="mod">
          <ac:chgData name="Renata Festa" userId="6f22df47-533b-4c2a-a3c1-7f9ad1d63e10" providerId="ADAL" clId="{7D997690-04A4-4675-83D7-2E1CC2ED1A4E}" dt="2020-03-23T21:25:04.212" v="350" actId="1035"/>
          <ac:spMkLst>
            <pc:docMk/>
            <pc:sldMk cId="1639023780" sldId="593"/>
            <ac:spMk id="80" creationId="{0213A3DD-B75A-4C93-AEAC-6C242636224E}"/>
          </ac:spMkLst>
        </pc:spChg>
        <pc:spChg chg="mod">
          <ac:chgData name="Renata Festa" userId="6f22df47-533b-4c2a-a3c1-7f9ad1d63e10" providerId="ADAL" clId="{7D997690-04A4-4675-83D7-2E1CC2ED1A4E}" dt="2020-03-23T21:24:54.487" v="348" actId="1035"/>
          <ac:spMkLst>
            <pc:docMk/>
            <pc:sldMk cId="1639023780" sldId="593"/>
            <ac:spMk id="81" creationId="{79B9BAA6-E34B-438A-B2AF-7F50D1F99A46}"/>
          </ac:spMkLst>
        </pc:spChg>
        <pc:spChg chg="mod">
          <ac:chgData name="Renata Festa" userId="6f22df47-533b-4c2a-a3c1-7f9ad1d63e10" providerId="ADAL" clId="{7D997690-04A4-4675-83D7-2E1CC2ED1A4E}" dt="2020-03-23T21:22:15.442" v="306" actId="1076"/>
          <ac:spMkLst>
            <pc:docMk/>
            <pc:sldMk cId="1639023780" sldId="593"/>
            <ac:spMk id="83" creationId="{91BD5AD7-5586-4927-B65D-D758E2754C78}"/>
          </ac:spMkLst>
        </pc:spChg>
        <pc:spChg chg="mod">
          <ac:chgData name="Renata Festa" userId="6f22df47-533b-4c2a-a3c1-7f9ad1d63e10" providerId="ADAL" clId="{7D997690-04A4-4675-83D7-2E1CC2ED1A4E}" dt="2020-03-23T21:25:23.913" v="356" actId="14100"/>
          <ac:spMkLst>
            <pc:docMk/>
            <pc:sldMk cId="1639023780" sldId="593"/>
            <ac:spMk id="85" creationId="{5696D4C2-904B-4D7D-AAC8-FBA2416D5DC4}"/>
          </ac:spMkLst>
        </pc:spChg>
        <pc:grpChg chg="add del mod">
          <ac:chgData name="Renata Festa" userId="6f22df47-533b-4c2a-a3c1-7f9ad1d63e10" providerId="ADAL" clId="{7D997690-04A4-4675-83D7-2E1CC2ED1A4E}" dt="2020-03-23T21:21:05.558" v="262"/>
          <ac:grpSpMkLst>
            <pc:docMk/>
            <pc:sldMk cId="1639023780" sldId="593"/>
            <ac:grpSpMk id="6" creationId="{26DD26C3-2DEE-40D9-8784-2734A1A8B22C}"/>
          </ac:grpSpMkLst>
        </pc:grpChg>
        <pc:grpChg chg="add del mod">
          <ac:chgData name="Renata Festa" userId="6f22df47-533b-4c2a-a3c1-7f9ad1d63e10" providerId="ADAL" clId="{7D997690-04A4-4675-83D7-2E1CC2ED1A4E}" dt="2020-03-23T21:21:05.558" v="262"/>
          <ac:grpSpMkLst>
            <pc:docMk/>
            <pc:sldMk cId="1639023780" sldId="593"/>
            <ac:grpSpMk id="14" creationId="{9ED894DC-DC07-4F50-A7AA-3D05DE783581}"/>
          </ac:grpSpMkLst>
        </pc:grpChg>
        <pc:grpChg chg="add del mod">
          <ac:chgData name="Renata Festa" userId="6f22df47-533b-4c2a-a3c1-7f9ad1d63e10" providerId="ADAL" clId="{7D997690-04A4-4675-83D7-2E1CC2ED1A4E}" dt="2020-03-23T21:21:05.558" v="262"/>
          <ac:grpSpMkLst>
            <pc:docMk/>
            <pc:sldMk cId="1639023780" sldId="593"/>
            <ac:grpSpMk id="34" creationId="{83B345EC-24FD-4159-B49B-6D76F5CEF289}"/>
          </ac:grpSpMkLst>
        </pc:grpChg>
        <pc:grpChg chg="add mod">
          <ac:chgData name="Renata Festa" userId="6f22df47-533b-4c2a-a3c1-7f9ad1d63e10" providerId="ADAL" clId="{7D997690-04A4-4675-83D7-2E1CC2ED1A4E}" dt="2020-03-24T18:56:34.204" v="4934" actId="207"/>
          <ac:grpSpMkLst>
            <pc:docMk/>
            <pc:sldMk cId="1639023780" sldId="593"/>
            <ac:grpSpMk id="56" creationId="{BA407A25-461E-4AE4-96A4-99943EFFFCD9}"/>
          </ac:grpSpMkLst>
        </pc:grpChg>
        <pc:grpChg chg="add mod">
          <ac:chgData name="Renata Festa" userId="6f22df47-533b-4c2a-a3c1-7f9ad1d63e10" providerId="ADAL" clId="{7D997690-04A4-4675-83D7-2E1CC2ED1A4E}" dt="2020-03-23T21:25:12.680" v="351" actId="14100"/>
          <ac:grpSpMkLst>
            <pc:docMk/>
            <pc:sldMk cId="1639023780" sldId="593"/>
            <ac:grpSpMk id="64" creationId="{B60E1C67-7087-4C61-8B0D-8E06B4F2DE2C}"/>
          </ac:grpSpMkLst>
        </pc:grpChg>
        <pc:grpChg chg="add mod">
          <ac:chgData name="Renata Festa" userId="6f22df47-533b-4c2a-a3c1-7f9ad1d63e10" providerId="ADAL" clId="{7D997690-04A4-4675-83D7-2E1CC2ED1A4E}" dt="2020-03-23T21:25:41.931" v="362" actId="14100"/>
          <ac:grpSpMkLst>
            <pc:docMk/>
            <pc:sldMk cId="1639023780" sldId="593"/>
            <ac:grpSpMk id="84" creationId="{30FD832B-D7B2-4AD5-8E64-548D421FDC97}"/>
          </ac:grpSpMkLst>
        </pc:grpChg>
        <pc:graphicFrameChg chg="add del mod">
          <ac:chgData name="Renata Festa" userId="6f22df47-533b-4c2a-a3c1-7f9ad1d63e10" providerId="ADAL" clId="{7D997690-04A4-4675-83D7-2E1CC2ED1A4E}" dt="2020-03-23T21:21:04.523" v="260" actId="12084"/>
          <ac:graphicFrameMkLst>
            <pc:docMk/>
            <pc:sldMk cId="1639023780" sldId="593"/>
            <ac:graphicFrameMk id="53" creationId="{1515635D-45D5-4B87-A526-5FE676ABD351}"/>
          </ac:graphicFrameMkLst>
        </pc:graphicFrameChg>
        <pc:graphicFrameChg chg="add mod">
          <ac:chgData name="Renata Festa" userId="6f22df47-533b-4c2a-a3c1-7f9ad1d63e10" providerId="ADAL" clId="{7D997690-04A4-4675-83D7-2E1CC2ED1A4E}" dt="2020-03-24T18:46:01.135" v="4931" actId="962"/>
          <ac:graphicFrameMkLst>
            <pc:docMk/>
            <pc:sldMk cId="1639023780" sldId="593"/>
            <ac:graphicFrameMk id="54" creationId="{C48F65C3-D79D-423B-9670-51D674871622}"/>
          </ac:graphicFrameMkLst>
        </pc:graphicFrameChg>
      </pc:sldChg>
      <pc:sldChg chg="add del">
        <pc:chgData name="Renata Festa" userId="6f22df47-533b-4c2a-a3c1-7f9ad1d63e10" providerId="ADAL" clId="{7D997690-04A4-4675-83D7-2E1CC2ED1A4E}" dt="2020-03-20T18:51:09.016" v="4"/>
        <pc:sldMkLst>
          <pc:docMk/>
          <pc:sldMk cId="3374517310" sldId="594"/>
        </pc:sldMkLst>
      </pc:sldChg>
      <pc:sldChg chg="addSp delSp modSp add mod modAnim modShow">
        <pc:chgData name="Renata Festa" userId="6f22df47-533b-4c2a-a3c1-7f9ad1d63e10" providerId="ADAL" clId="{7D997690-04A4-4675-83D7-2E1CC2ED1A4E}" dt="2020-03-24T14:00:56.355" v="1636" actId="478"/>
        <pc:sldMkLst>
          <pc:docMk/>
          <pc:sldMk cId="3481897816" sldId="594"/>
        </pc:sldMkLst>
        <pc:spChg chg="mod">
          <ac:chgData name="Renata Festa" userId="6f22df47-533b-4c2a-a3c1-7f9ad1d63e10" providerId="ADAL" clId="{7D997690-04A4-4675-83D7-2E1CC2ED1A4E}" dt="2020-03-23T21:29:56.251" v="378"/>
          <ac:spMkLst>
            <pc:docMk/>
            <pc:sldMk cId="3481897816" sldId="594"/>
            <ac:spMk id="2" creationId="{EB67312A-9819-43C6-8D84-D9136E6CFFCC}"/>
          </ac:spMkLst>
        </pc:spChg>
        <pc:spChg chg="del">
          <ac:chgData name="Renata Festa" userId="6f22df47-533b-4c2a-a3c1-7f9ad1d63e10" providerId="ADAL" clId="{7D997690-04A4-4675-83D7-2E1CC2ED1A4E}" dt="2020-03-24T14:00:54.984" v="1635" actId="478"/>
          <ac:spMkLst>
            <pc:docMk/>
            <pc:sldMk cId="3481897816" sldId="594"/>
            <ac:spMk id="3" creationId="{F35E8CBB-5A7D-4DEF-BAF7-8DD5D042F9E0}"/>
          </ac:spMkLst>
        </pc:spChg>
        <pc:spChg chg="del">
          <ac:chgData name="Renata Festa" userId="6f22df47-533b-4c2a-a3c1-7f9ad1d63e10" providerId="ADAL" clId="{7D997690-04A4-4675-83D7-2E1CC2ED1A4E}" dt="2020-03-24T14:00:56.355" v="1636" actId="478"/>
          <ac:spMkLst>
            <pc:docMk/>
            <pc:sldMk cId="3481897816" sldId="594"/>
            <ac:spMk id="4" creationId="{F3616A99-090F-45E1-9334-58D58B148205}"/>
          </ac:spMkLst>
        </pc:spChg>
        <pc:spChg chg="add mod">
          <ac:chgData name="Renata Festa" userId="6f22df47-533b-4c2a-a3c1-7f9ad1d63e10" providerId="ADAL" clId="{7D997690-04A4-4675-83D7-2E1CC2ED1A4E}" dt="2020-03-23T21:32:48.514" v="412" actId="1076"/>
          <ac:spMkLst>
            <pc:docMk/>
            <pc:sldMk cId="3481897816" sldId="594"/>
            <ac:spMk id="6" creationId="{1AF5E657-AC2B-44CD-925E-A6EA7E5968B8}"/>
          </ac:spMkLst>
        </pc:spChg>
        <pc:spChg chg="add mod">
          <ac:chgData name="Renata Festa" userId="6f22df47-533b-4c2a-a3c1-7f9ad1d63e10" providerId="ADAL" clId="{7D997690-04A4-4675-83D7-2E1CC2ED1A4E}" dt="2020-03-23T21:33:16.266" v="421" actId="404"/>
          <ac:spMkLst>
            <pc:docMk/>
            <pc:sldMk cId="3481897816" sldId="594"/>
            <ac:spMk id="8" creationId="{689F82BB-E84A-4F5E-AF24-A6CE684E9074}"/>
          </ac:spMkLst>
        </pc:spChg>
        <pc:spChg chg="add mod">
          <ac:chgData name="Renata Festa" userId="6f22df47-533b-4c2a-a3c1-7f9ad1d63e10" providerId="ADAL" clId="{7D997690-04A4-4675-83D7-2E1CC2ED1A4E}" dt="2020-03-23T21:34:05.118" v="438" actId="1076"/>
          <ac:spMkLst>
            <pc:docMk/>
            <pc:sldMk cId="3481897816" sldId="594"/>
            <ac:spMk id="9" creationId="{9AFC518E-60CF-4D8E-91FE-258594A3C542}"/>
          </ac:spMkLst>
        </pc:spChg>
        <pc:spChg chg="add mod">
          <ac:chgData name="Renata Festa" userId="6f22df47-533b-4c2a-a3c1-7f9ad1d63e10" providerId="ADAL" clId="{7D997690-04A4-4675-83D7-2E1CC2ED1A4E}" dt="2020-03-23T21:34:02.503" v="437" actId="1076"/>
          <ac:spMkLst>
            <pc:docMk/>
            <pc:sldMk cId="3481897816" sldId="594"/>
            <ac:spMk id="10" creationId="{4DD1CE5F-C01C-47CC-A671-F6FA4B520FF3}"/>
          </ac:spMkLst>
        </pc:spChg>
        <pc:spChg chg="add mod">
          <ac:chgData name="Renata Festa" userId="6f22df47-533b-4c2a-a3c1-7f9ad1d63e10" providerId="ADAL" clId="{7D997690-04A4-4675-83D7-2E1CC2ED1A4E}" dt="2020-03-23T21:33:22.875" v="422" actId="1076"/>
          <ac:spMkLst>
            <pc:docMk/>
            <pc:sldMk cId="3481897816" sldId="594"/>
            <ac:spMk id="11" creationId="{4EFAE9D4-BF83-482E-855C-EE19328D38CB}"/>
          </ac:spMkLst>
        </pc:spChg>
        <pc:grpChg chg="add mod">
          <ac:chgData name="Renata Festa" userId="6f22df47-533b-4c2a-a3c1-7f9ad1d63e10" providerId="ADAL" clId="{7D997690-04A4-4675-83D7-2E1CC2ED1A4E}" dt="2020-03-23T21:31:42.972" v="393" actId="1076"/>
          <ac:grpSpMkLst>
            <pc:docMk/>
            <pc:sldMk cId="3481897816" sldId="594"/>
            <ac:grpSpMk id="14" creationId="{D9A8CAC2-97CF-4FD7-86BF-0C6BA8E69399}"/>
          </ac:grpSpMkLst>
        </pc:grpChg>
        <pc:grpChg chg="add mod">
          <ac:chgData name="Renata Festa" userId="6f22df47-533b-4c2a-a3c1-7f9ad1d63e10" providerId="ADAL" clId="{7D997690-04A4-4675-83D7-2E1CC2ED1A4E}" dt="2020-03-23T21:32:18.393" v="402" actId="1076"/>
          <ac:grpSpMkLst>
            <pc:docMk/>
            <pc:sldMk cId="3481897816" sldId="594"/>
            <ac:grpSpMk id="28" creationId="{7B45D292-41DF-4578-AF9C-69679CFFBBA2}"/>
          </ac:grpSpMkLst>
        </pc:grpChg>
        <pc:graphicFrameChg chg="add mod">
          <ac:chgData name="Renata Festa" userId="6f22df47-533b-4c2a-a3c1-7f9ad1d63e10" providerId="ADAL" clId="{7D997690-04A4-4675-83D7-2E1CC2ED1A4E}" dt="2020-03-23T21:35:10.888" v="454"/>
          <ac:graphicFrameMkLst>
            <pc:docMk/>
            <pc:sldMk cId="3481897816" sldId="594"/>
            <ac:graphicFrameMk id="5" creationId="{61082510-4C94-44B7-B8E2-D51744F02EFD}"/>
          </ac:graphicFrameMkLst>
        </pc:graphicFrameChg>
        <pc:picChg chg="add mod">
          <ac:chgData name="Renata Festa" userId="6f22df47-533b-4c2a-a3c1-7f9ad1d63e10" providerId="ADAL" clId="{7D997690-04A4-4675-83D7-2E1CC2ED1A4E}" dt="2020-03-23T21:33:29.060" v="424" actId="1076"/>
          <ac:picMkLst>
            <pc:docMk/>
            <pc:sldMk cId="3481897816" sldId="594"/>
            <ac:picMk id="7" creationId="{6C208237-F9E0-49B0-A71E-D97A528B3685}"/>
          </ac:picMkLst>
        </pc:picChg>
        <pc:picChg chg="add mod">
          <ac:chgData name="Renata Festa" userId="6f22df47-533b-4c2a-a3c1-7f9ad1d63e10" providerId="ADAL" clId="{7D997690-04A4-4675-83D7-2E1CC2ED1A4E}" dt="2020-03-23T21:32:31.532" v="404" actId="1076"/>
          <ac:picMkLst>
            <pc:docMk/>
            <pc:sldMk cId="3481897816" sldId="594"/>
            <ac:picMk id="12" creationId="{B04396BD-06B6-4C00-ADCF-3FC6F0F91AC0}"/>
          </ac:picMkLst>
        </pc:picChg>
        <pc:picChg chg="add mod">
          <ac:chgData name="Renata Festa" userId="6f22df47-533b-4c2a-a3c1-7f9ad1d63e10" providerId="ADAL" clId="{7D997690-04A4-4675-83D7-2E1CC2ED1A4E}" dt="2020-03-23T21:32:53.980" v="414" actId="1076"/>
          <ac:picMkLst>
            <pc:docMk/>
            <pc:sldMk cId="3481897816" sldId="594"/>
            <ac:picMk id="13" creationId="{AD7129D1-CE45-4CF1-8164-ED9E49AD1C55}"/>
          </ac:picMkLst>
        </pc:picChg>
      </pc:sldChg>
      <pc:sldChg chg="addSp delSp modSp add mod modAnim modShow modNotesTx">
        <pc:chgData name="Renata Festa" userId="6f22df47-533b-4c2a-a3c1-7f9ad1d63e10" providerId="ADAL" clId="{7D997690-04A4-4675-83D7-2E1CC2ED1A4E}" dt="2020-03-24T14:00:52.595" v="1634" actId="478"/>
        <pc:sldMkLst>
          <pc:docMk/>
          <pc:sldMk cId="3820441088" sldId="595"/>
        </pc:sldMkLst>
        <pc:spChg chg="mod">
          <ac:chgData name="Renata Festa" userId="6f22df47-533b-4c2a-a3c1-7f9ad1d63e10" providerId="ADAL" clId="{7D997690-04A4-4675-83D7-2E1CC2ED1A4E}" dt="2020-03-23T21:36:12" v="455"/>
          <ac:spMkLst>
            <pc:docMk/>
            <pc:sldMk cId="3820441088" sldId="595"/>
            <ac:spMk id="2" creationId="{EB67312A-9819-43C6-8D84-D9136E6CFFCC}"/>
          </ac:spMkLst>
        </pc:spChg>
        <pc:spChg chg="del">
          <ac:chgData name="Renata Festa" userId="6f22df47-533b-4c2a-a3c1-7f9ad1d63e10" providerId="ADAL" clId="{7D997690-04A4-4675-83D7-2E1CC2ED1A4E}" dt="2020-03-24T14:00:51.375" v="1633" actId="478"/>
          <ac:spMkLst>
            <pc:docMk/>
            <pc:sldMk cId="3820441088" sldId="595"/>
            <ac:spMk id="3" creationId="{F35E8CBB-5A7D-4DEF-BAF7-8DD5D042F9E0}"/>
          </ac:spMkLst>
        </pc:spChg>
        <pc:spChg chg="del">
          <ac:chgData name="Renata Festa" userId="6f22df47-533b-4c2a-a3c1-7f9ad1d63e10" providerId="ADAL" clId="{7D997690-04A4-4675-83D7-2E1CC2ED1A4E}" dt="2020-03-24T14:00:52.595" v="1634" actId="478"/>
          <ac:spMkLst>
            <pc:docMk/>
            <pc:sldMk cId="3820441088" sldId="595"/>
            <ac:spMk id="4" creationId="{F3616A99-090F-45E1-9334-58D58B148205}"/>
          </ac:spMkLst>
        </pc:spChg>
        <pc:spChg chg="add mod">
          <ac:chgData name="Renata Festa" userId="6f22df47-533b-4c2a-a3c1-7f9ad1d63e10" providerId="ADAL" clId="{7D997690-04A4-4675-83D7-2E1CC2ED1A4E}" dt="2020-03-23T23:40:16.031" v="484" actId="1076"/>
          <ac:spMkLst>
            <pc:docMk/>
            <pc:sldMk cId="3820441088" sldId="595"/>
            <ac:spMk id="5" creationId="{D281A222-A219-4BD9-A1C7-07F7ACF3BD86}"/>
          </ac:spMkLst>
        </pc:spChg>
        <pc:spChg chg="add mod">
          <ac:chgData name="Renata Festa" userId="6f22df47-533b-4c2a-a3c1-7f9ad1d63e10" providerId="ADAL" clId="{7D997690-04A4-4675-83D7-2E1CC2ED1A4E}" dt="2020-03-23T23:40:21.592" v="485" actId="1076"/>
          <ac:spMkLst>
            <pc:docMk/>
            <pc:sldMk cId="3820441088" sldId="595"/>
            <ac:spMk id="6" creationId="{4E505483-D087-444F-95D9-151531561476}"/>
          </ac:spMkLst>
        </pc:spChg>
        <pc:spChg chg="add mod">
          <ac:chgData name="Renata Festa" userId="6f22df47-533b-4c2a-a3c1-7f9ad1d63e10" providerId="ADAL" clId="{7D997690-04A4-4675-83D7-2E1CC2ED1A4E}" dt="2020-03-23T23:40:10.272" v="483" actId="1076"/>
          <ac:spMkLst>
            <pc:docMk/>
            <pc:sldMk cId="3820441088" sldId="595"/>
            <ac:spMk id="8" creationId="{9C1ACFE3-A04B-427C-A705-F797DB8305D7}"/>
          </ac:spMkLst>
        </pc:spChg>
        <pc:spChg chg="add mod">
          <ac:chgData name="Renata Festa" userId="6f22df47-533b-4c2a-a3c1-7f9ad1d63e10" providerId="ADAL" clId="{7D997690-04A4-4675-83D7-2E1CC2ED1A4E}" dt="2020-03-23T23:40:36.915" v="486" actId="1076"/>
          <ac:spMkLst>
            <pc:docMk/>
            <pc:sldMk cId="3820441088" sldId="595"/>
            <ac:spMk id="9" creationId="{86E903C0-A06B-4C17-8104-2F3CB137CA93}"/>
          </ac:spMkLst>
        </pc:spChg>
        <pc:spChg chg="add del mod">
          <ac:chgData name="Renata Festa" userId="6f22df47-533b-4c2a-a3c1-7f9ad1d63e10" providerId="ADAL" clId="{7D997690-04A4-4675-83D7-2E1CC2ED1A4E}" dt="2020-03-23T23:41:43.416" v="506" actId="478"/>
          <ac:spMkLst>
            <pc:docMk/>
            <pc:sldMk cId="3820441088" sldId="595"/>
            <ac:spMk id="10" creationId="{E57E3F18-92F2-4D99-8034-F2F774C42C64}"/>
          </ac:spMkLst>
        </pc:spChg>
        <pc:spChg chg="mod">
          <ac:chgData name="Renata Festa" userId="6f22df47-533b-4c2a-a3c1-7f9ad1d63e10" providerId="ADAL" clId="{7D997690-04A4-4675-83D7-2E1CC2ED1A4E}" dt="2020-03-23T23:39:29.576" v="476" actId="1076"/>
          <ac:spMkLst>
            <pc:docMk/>
            <pc:sldMk cId="3820441088" sldId="595"/>
            <ac:spMk id="28" creationId="{6DA82C20-8928-4A92-8991-2BD3530C0EDF}"/>
          </ac:spMkLst>
        </pc:spChg>
        <pc:spChg chg="mod">
          <ac:chgData name="Renata Festa" userId="6f22df47-533b-4c2a-a3c1-7f9ad1d63e10" providerId="ADAL" clId="{7D997690-04A4-4675-83D7-2E1CC2ED1A4E}" dt="2020-03-23T23:39:19.086" v="474" actId="1076"/>
          <ac:spMkLst>
            <pc:docMk/>
            <pc:sldMk cId="3820441088" sldId="595"/>
            <ac:spMk id="30" creationId="{091B2941-F117-4259-AA0D-D8CE2E930DC4}"/>
          </ac:spMkLst>
        </pc:spChg>
        <pc:spChg chg="mod">
          <ac:chgData name="Renata Festa" userId="6f22df47-533b-4c2a-a3c1-7f9ad1d63e10" providerId="ADAL" clId="{7D997690-04A4-4675-83D7-2E1CC2ED1A4E}" dt="2020-03-23T23:39:21.662" v="475" actId="1076"/>
          <ac:spMkLst>
            <pc:docMk/>
            <pc:sldMk cId="3820441088" sldId="595"/>
            <ac:spMk id="31" creationId="{869AE1E2-B68E-4F14-8F77-6640998DED71}"/>
          </ac:spMkLst>
        </pc:spChg>
        <pc:spChg chg="add mod">
          <ac:chgData name="Renata Festa" userId="6f22df47-533b-4c2a-a3c1-7f9ad1d63e10" providerId="ADAL" clId="{7D997690-04A4-4675-83D7-2E1CC2ED1A4E}" dt="2020-03-23T23:44:21.770" v="521" actId="1076"/>
          <ac:spMkLst>
            <pc:docMk/>
            <pc:sldMk cId="3820441088" sldId="595"/>
            <ac:spMk id="37" creationId="{B1882808-089E-4973-8E94-4F116B0A1650}"/>
          </ac:spMkLst>
        </pc:spChg>
        <pc:grpChg chg="add mod">
          <ac:chgData name="Renata Festa" userId="6f22df47-533b-4c2a-a3c1-7f9ad1d63e10" providerId="ADAL" clId="{7D997690-04A4-4675-83D7-2E1CC2ED1A4E}" dt="2020-03-23T23:42:26.809" v="510" actId="14100"/>
          <ac:grpSpMkLst>
            <pc:docMk/>
            <pc:sldMk cId="3820441088" sldId="595"/>
            <ac:grpSpMk id="11" creationId="{78D8672E-D3AB-407A-97F8-6DDDC2A569DE}"/>
          </ac:grpSpMkLst>
        </pc:grpChg>
        <pc:grpChg chg="add mod">
          <ac:chgData name="Renata Festa" userId="6f22df47-533b-4c2a-a3c1-7f9ad1d63e10" providerId="ADAL" clId="{7D997690-04A4-4675-83D7-2E1CC2ED1A4E}" dt="2020-03-23T23:42:22.010" v="509" actId="14100"/>
          <ac:grpSpMkLst>
            <pc:docMk/>
            <pc:sldMk cId="3820441088" sldId="595"/>
            <ac:grpSpMk id="14" creationId="{B9C7685D-45A8-496C-875C-5D940351E2B3}"/>
          </ac:grpSpMkLst>
        </pc:grpChg>
        <pc:grpChg chg="add mod">
          <ac:chgData name="Renata Festa" userId="6f22df47-533b-4c2a-a3c1-7f9ad1d63e10" providerId="ADAL" clId="{7D997690-04A4-4675-83D7-2E1CC2ED1A4E}" dt="2020-03-23T23:42:47.111" v="513" actId="14100"/>
          <ac:grpSpMkLst>
            <pc:docMk/>
            <pc:sldMk cId="3820441088" sldId="595"/>
            <ac:grpSpMk id="17" creationId="{6B98D94D-D20E-44C2-9609-466FDF9A4284}"/>
          </ac:grpSpMkLst>
        </pc:grpChg>
        <pc:grpChg chg="add mod">
          <ac:chgData name="Renata Festa" userId="6f22df47-533b-4c2a-a3c1-7f9ad1d63e10" providerId="ADAL" clId="{7D997690-04A4-4675-83D7-2E1CC2ED1A4E}" dt="2020-03-23T23:42:51.255" v="514" actId="14100"/>
          <ac:grpSpMkLst>
            <pc:docMk/>
            <pc:sldMk cId="3820441088" sldId="595"/>
            <ac:grpSpMk id="20" creationId="{032687F2-FC57-4D3A-A114-91EE0EA10E76}"/>
          </ac:grpSpMkLst>
        </pc:grpChg>
        <pc:grpChg chg="add mod">
          <ac:chgData name="Renata Festa" userId="6f22df47-533b-4c2a-a3c1-7f9ad1d63e10" providerId="ADAL" clId="{7D997690-04A4-4675-83D7-2E1CC2ED1A4E}" dt="2020-03-23T23:39:50.746" v="477" actId="1076"/>
          <ac:grpSpMkLst>
            <pc:docMk/>
            <pc:sldMk cId="3820441088" sldId="595"/>
            <ac:grpSpMk id="27" creationId="{B0F49286-4A10-4544-A327-ED26D1749B80}"/>
          </ac:grpSpMkLst>
        </pc:grpChg>
        <pc:grpChg chg="add mod">
          <ac:chgData name="Renata Festa" userId="6f22df47-533b-4c2a-a3c1-7f9ad1d63e10" providerId="ADAL" clId="{7D997690-04A4-4675-83D7-2E1CC2ED1A4E}" dt="2020-03-23T23:39:02.418" v="472" actId="1076"/>
          <ac:grpSpMkLst>
            <pc:docMk/>
            <pc:sldMk cId="3820441088" sldId="595"/>
            <ac:grpSpMk id="32" creationId="{E88A719D-3879-48F5-8A21-0D496DB33B56}"/>
          </ac:grpSpMkLst>
        </pc:grpChg>
        <pc:picChg chg="add mod">
          <ac:chgData name="Renata Festa" userId="6f22df47-533b-4c2a-a3c1-7f9ad1d63e10" providerId="ADAL" clId="{7D997690-04A4-4675-83D7-2E1CC2ED1A4E}" dt="2020-03-23T23:43:43.548" v="518" actId="1076"/>
          <ac:picMkLst>
            <pc:docMk/>
            <pc:sldMk cId="3820441088" sldId="595"/>
            <ac:picMk id="23" creationId="{DA7824CC-B5F4-4F19-A3D0-59D38BD3E73B}"/>
          </ac:picMkLst>
        </pc:picChg>
        <pc:picChg chg="add mod">
          <ac:chgData name="Renata Festa" userId="6f22df47-533b-4c2a-a3c1-7f9ad1d63e10" providerId="ADAL" clId="{7D997690-04A4-4675-83D7-2E1CC2ED1A4E}" dt="2020-03-23T23:43:20.834" v="517" actId="1076"/>
          <ac:picMkLst>
            <pc:docMk/>
            <pc:sldMk cId="3820441088" sldId="595"/>
            <ac:picMk id="24" creationId="{53651678-1A64-4A2F-BA26-45C229A39182}"/>
          </ac:picMkLst>
        </pc:picChg>
        <pc:picChg chg="add mod">
          <ac:chgData name="Renata Festa" userId="6f22df47-533b-4c2a-a3c1-7f9ad1d63e10" providerId="ADAL" clId="{7D997690-04A4-4675-83D7-2E1CC2ED1A4E}" dt="2020-03-23T23:43:14.202" v="515" actId="1076"/>
          <ac:picMkLst>
            <pc:docMk/>
            <pc:sldMk cId="3820441088" sldId="595"/>
            <ac:picMk id="25" creationId="{8EE2D6CF-7A4B-401E-ACDD-7B39133C7E72}"/>
          </ac:picMkLst>
        </pc:picChg>
        <pc:picChg chg="add mod">
          <ac:chgData name="Renata Festa" userId="6f22df47-533b-4c2a-a3c1-7f9ad1d63e10" providerId="ADAL" clId="{7D997690-04A4-4675-83D7-2E1CC2ED1A4E}" dt="2020-03-23T23:43:16.684" v="516" actId="1076"/>
          <ac:picMkLst>
            <pc:docMk/>
            <pc:sldMk cId="3820441088" sldId="595"/>
            <ac:picMk id="26" creationId="{996A1D72-E627-4513-BAB0-A60CF0DC58FF}"/>
          </ac:picMkLst>
        </pc:picChg>
        <pc:cxnChg chg="add del">
          <ac:chgData name="Renata Festa" userId="6f22df47-533b-4c2a-a3c1-7f9ad1d63e10" providerId="ADAL" clId="{7D997690-04A4-4675-83D7-2E1CC2ED1A4E}" dt="2020-03-23T21:36:43.082" v="464" actId="478"/>
          <ac:cxnSpMkLst>
            <pc:docMk/>
            <pc:sldMk cId="3820441088" sldId="595"/>
            <ac:cxnSpMk id="7" creationId="{A66DBDC6-C0CD-4F24-8F79-8745CF5848FA}"/>
          </ac:cxnSpMkLst>
        </pc:cxnChg>
      </pc:sldChg>
      <pc:sldChg chg="addSp delSp modSp add del mod">
        <pc:chgData name="Renata Festa" userId="6f22df47-533b-4c2a-a3c1-7f9ad1d63e10" providerId="ADAL" clId="{7D997690-04A4-4675-83D7-2E1CC2ED1A4E}" dt="2020-03-23T23:48:40.742" v="564" actId="47"/>
        <pc:sldMkLst>
          <pc:docMk/>
          <pc:sldMk cId="1256881275" sldId="596"/>
        </pc:sldMkLst>
        <pc:spChg chg="mod">
          <ac:chgData name="Renata Festa" userId="6f22df47-533b-4c2a-a3c1-7f9ad1d63e10" providerId="ADAL" clId="{7D997690-04A4-4675-83D7-2E1CC2ED1A4E}" dt="2020-03-23T23:44:56.892" v="527"/>
          <ac:spMkLst>
            <pc:docMk/>
            <pc:sldMk cId="1256881275" sldId="596"/>
            <ac:spMk id="2" creationId="{EB67312A-9819-43C6-8D84-D9136E6CFFCC}"/>
          </ac:spMkLst>
        </pc:spChg>
        <pc:spChg chg="mod">
          <ac:chgData name="Renata Festa" userId="6f22df47-533b-4c2a-a3c1-7f9ad1d63e10" providerId="ADAL" clId="{7D997690-04A4-4675-83D7-2E1CC2ED1A4E}" dt="2020-03-23T23:48:20.696" v="558" actId="207"/>
          <ac:spMkLst>
            <pc:docMk/>
            <pc:sldMk cId="1256881275" sldId="596"/>
            <ac:spMk id="4" creationId="{F3616A99-090F-45E1-9334-58D58B148205}"/>
          </ac:spMkLst>
        </pc:spChg>
        <pc:spChg chg="add del mod">
          <ac:chgData name="Renata Festa" userId="6f22df47-533b-4c2a-a3c1-7f9ad1d63e10" providerId="ADAL" clId="{7D997690-04A4-4675-83D7-2E1CC2ED1A4E}" dt="2020-03-23T23:46:22.447" v="534" actId="478"/>
          <ac:spMkLst>
            <pc:docMk/>
            <pc:sldMk cId="1256881275" sldId="596"/>
            <ac:spMk id="5" creationId="{87F525EC-7968-426C-A677-A6F89B4336CC}"/>
          </ac:spMkLst>
        </pc:spChg>
        <pc:spChg chg="add del mod">
          <ac:chgData name="Renata Festa" userId="6f22df47-533b-4c2a-a3c1-7f9ad1d63e10" providerId="ADAL" clId="{7D997690-04A4-4675-83D7-2E1CC2ED1A4E}" dt="2020-03-23T23:46:18.005" v="533" actId="478"/>
          <ac:spMkLst>
            <pc:docMk/>
            <pc:sldMk cId="1256881275" sldId="596"/>
            <ac:spMk id="6" creationId="{BDEF691A-9340-4C45-94EE-307AC1CD2852}"/>
          </ac:spMkLst>
        </pc:spChg>
        <pc:spChg chg="add del mod">
          <ac:chgData name="Renata Festa" userId="6f22df47-533b-4c2a-a3c1-7f9ad1d63e10" providerId="ADAL" clId="{7D997690-04A4-4675-83D7-2E1CC2ED1A4E}" dt="2020-03-23T23:47:46.026" v="547" actId="478"/>
          <ac:spMkLst>
            <pc:docMk/>
            <pc:sldMk cId="1256881275" sldId="596"/>
            <ac:spMk id="50" creationId="{AAF4B1F5-D30E-4056-BFEA-3C3B1AB11CCE}"/>
          </ac:spMkLst>
        </pc:spChg>
        <pc:spChg chg="add del mod">
          <ac:chgData name="Renata Festa" userId="6f22df47-533b-4c2a-a3c1-7f9ad1d63e10" providerId="ADAL" clId="{7D997690-04A4-4675-83D7-2E1CC2ED1A4E}" dt="2020-03-23T23:47:40.224" v="544" actId="478"/>
          <ac:spMkLst>
            <pc:docMk/>
            <pc:sldMk cId="1256881275" sldId="596"/>
            <ac:spMk id="51" creationId="{651AAEDC-A417-4A44-B197-F829C32A0E74}"/>
          </ac:spMkLst>
        </pc:spChg>
        <pc:grpChg chg="add mod">
          <ac:chgData name="Renata Festa" userId="6f22df47-533b-4c2a-a3c1-7f9ad1d63e10" providerId="ADAL" clId="{7D997690-04A4-4675-83D7-2E1CC2ED1A4E}" dt="2020-03-23T23:45:29.237" v="529" actId="1076"/>
          <ac:grpSpMkLst>
            <pc:docMk/>
            <pc:sldMk cId="1256881275" sldId="596"/>
            <ac:grpSpMk id="7" creationId="{1F272967-511A-4D64-B691-A3F6560E4EAD}"/>
          </ac:grpSpMkLst>
        </pc:grpChg>
      </pc:sldChg>
      <pc:sldChg chg="addSp delSp modSp add mod modNotesTx">
        <pc:chgData name="Renata Festa" userId="6f22df47-533b-4c2a-a3c1-7f9ad1d63e10" providerId="ADAL" clId="{7D997690-04A4-4675-83D7-2E1CC2ED1A4E}" dt="2020-03-27T17:18:58.476" v="4977" actId="20577"/>
        <pc:sldMkLst>
          <pc:docMk/>
          <pc:sldMk cId="129772539" sldId="597"/>
        </pc:sldMkLst>
        <pc:spChg chg="mod">
          <ac:chgData name="Renata Festa" userId="6f22df47-533b-4c2a-a3c1-7f9ad1d63e10" providerId="ADAL" clId="{7D997690-04A4-4675-83D7-2E1CC2ED1A4E}" dt="2020-03-23T23:48:32.964" v="561"/>
          <ac:spMkLst>
            <pc:docMk/>
            <pc:sldMk cId="129772539" sldId="597"/>
            <ac:spMk id="2" creationId="{EB67312A-9819-43C6-8D84-D9136E6CFFCC}"/>
          </ac:spMkLst>
        </pc:spChg>
        <pc:spChg chg="del">
          <ac:chgData name="Renata Festa" userId="6f22df47-533b-4c2a-a3c1-7f9ad1d63e10" providerId="ADAL" clId="{7D997690-04A4-4675-83D7-2E1CC2ED1A4E}" dt="2020-03-24T14:00:49.978" v="1632" actId="478"/>
          <ac:spMkLst>
            <pc:docMk/>
            <pc:sldMk cId="129772539" sldId="597"/>
            <ac:spMk id="3" creationId="{F35E8CBB-5A7D-4DEF-BAF7-8DD5D042F9E0}"/>
          </ac:spMkLst>
        </pc:spChg>
        <pc:spChg chg="del mod">
          <ac:chgData name="Renata Festa" userId="6f22df47-533b-4c2a-a3c1-7f9ad1d63e10" providerId="ADAL" clId="{7D997690-04A4-4675-83D7-2E1CC2ED1A4E}" dt="2020-03-23T23:49:17.099" v="586" actId="12084"/>
          <ac:spMkLst>
            <pc:docMk/>
            <pc:sldMk cId="129772539" sldId="597"/>
            <ac:spMk id="4" creationId="{F3616A99-090F-45E1-9334-58D58B148205}"/>
          </ac:spMkLst>
        </pc:spChg>
        <pc:spChg chg="mod">
          <ac:chgData name="Renata Festa" userId="6f22df47-533b-4c2a-a3c1-7f9ad1d63e10" providerId="ADAL" clId="{7D997690-04A4-4675-83D7-2E1CC2ED1A4E}" dt="2020-03-23T23:53:41.451" v="646" actId="14100"/>
          <ac:spMkLst>
            <pc:docMk/>
            <pc:sldMk cId="129772539" sldId="597"/>
            <ac:spMk id="7" creationId="{E6F4DF75-EE24-450B-8AD4-1D87A85E0C46}"/>
          </ac:spMkLst>
        </pc:spChg>
        <pc:spChg chg="add del mod">
          <ac:chgData name="Renata Festa" userId="6f22df47-533b-4c2a-a3c1-7f9ad1d63e10" providerId="ADAL" clId="{7D997690-04A4-4675-83D7-2E1CC2ED1A4E}" dt="2020-03-23T23:53:21.982" v="642" actId="12084"/>
          <ac:spMkLst>
            <pc:docMk/>
            <pc:sldMk cId="129772539" sldId="597"/>
            <ac:spMk id="49" creationId="{5C97046D-138A-4E61-9676-813F9EE15501}"/>
          </ac:spMkLst>
        </pc:spChg>
        <pc:grpChg chg="add mod">
          <ac:chgData name="Renata Festa" userId="6f22df47-533b-4c2a-a3c1-7f9ad1d63e10" providerId="ADAL" clId="{7D997690-04A4-4675-83D7-2E1CC2ED1A4E}" dt="2020-03-23T23:53:37.283" v="645" actId="14100"/>
          <ac:grpSpMkLst>
            <pc:docMk/>
            <pc:sldMk cId="129772539" sldId="597"/>
            <ac:grpSpMk id="6" creationId="{60B12E2B-40FE-49BA-AB6C-A51873E84AEE}"/>
          </ac:grpSpMkLst>
        </pc:grpChg>
        <pc:grpChg chg="mod">
          <ac:chgData name="Renata Festa" userId="6f22df47-533b-4c2a-a3c1-7f9ad1d63e10" providerId="ADAL" clId="{7D997690-04A4-4675-83D7-2E1CC2ED1A4E}" dt="2020-03-23T23:53:09.719" v="640" actId="18245"/>
          <ac:grpSpMkLst>
            <pc:docMk/>
            <pc:sldMk cId="129772539" sldId="597"/>
            <ac:grpSpMk id="51" creationId="{8D7DFDFB-E374-45A3-8D88-DADF3E429615}"/>
          </ac:grpSpMkLst>
        </pc:grpChg>
        <pc:graphicFrameChg chg="add del mod">
          <ac:chgData name="Renata Festa" userId="6f22df47-533b-4c2a-a3c1-7f9ad1d63e10" providerId="ADAL" clId="{7D997690-04A4-4675-83D7-2E1CC2ED1A4E}" dt="2020-03-23T23:50:53.901" v="632" actId="11529"/>
          <ac:graphicFrameMkLst>
            <pc:docMk/>
            <pc:sldMk cId="129772539" sldId="597"/>
            <ac:graphicFrameMk id="5" creationId="{1CA8A8F4-3335-49A7-8517-02410579318A}"/>
          </ac:graphicFrameMkLst>
        </pc:graphicFrameChg>
        <pc:graphicFrameChg chg="add del mod">
          <ac:chgData name="Renata Festa" userId="6f22df47-533b-4c2a-a3c1-7f9ad1d63e10" providerId="ADAL" clId="{7D997690-04A4-4675-83D7-2E1CC2ED1A4E}" dt="2020-03-23T23:53:14.009" v="641" actId="12084"/>
          <ac:graphicFrameMkLst>
            <pc:docMk/>
            <pc:sldMk cId="129772539" sldId="597"/>
            <ac:graphicFrameMk id="50" creationId="{644D3034-9348-4907-9C07-CEAF6C162F93}"/>
          </ac:graphicFrameMkLst>
        </pc:graphicFrameChg>
        <pc:graphicFrameChg chg="add mod">
          <ac:chgData name="Renata Festa" userId="6f22df47-533b-4c2a-a3c1-7f9ad1d63e10" providerId="ADAL" clId="{7D997690-04A4-4675-83D7-2E1CC2ED1A4E}" dt="2020-03-27T17:18:58.476" v="4977" actId="20577"/>
          <ac:graphicFrameMkLst>
            <pc:docMk/>
            <pc:sldMk cId="129772539" sldId="597"/>
            <ac:graphicFrameMk id="56" creationId="{AA37CBE4-8426-49ED-855E-F7D6AF9139AA}"/>
          </ac:graphicFrameMkLst>
        </pc:graphicFrameChg>
      </pc:sldChg>
      <pc:sldChg chg="modSp add del mod">
        <pc:chgData name="Renata Festa" userId="6f22df47-533b-4c2a-a3c1-7f9ad1d63e10" providerId="ADAL" clId="{7D997690-04A4-4675-83D7-2E1CC2ED1A4E}" dt="2020-03-23T23:56:13.639" v="671" actId="47"/>
        <pc:sldMkLst>
          <pc:docMk/>
          <pc:sldMk cId="2448810507" sldId="598"/>
        </pc:sldMkLst>
        <pc:spChg chg="mod">
          <ac:chgData name="Renata Festa" userId="6f22df47-533b-4c2a-a3c1-7f9ad1d63e10" providerId="ADAL" clId="{7D997690-04A4-4675-83D7-2E1CC2ED1A4E}" dt="2020-03-23T23:54:10.608" v="652"/>
          <ac:spMkLst>
            <pc:docMk/>
            <pc:sldMk cId="2448810507" sldId="598"/>
            <ac:spMk id="2" creationId="{EB67312A-9819-43C6-8D84-D9136E6CFFCC}"/>
          </ac:spMkLst>
        </pc:spChg>
        <pc:spChg chg="mod">
          <ac:chgData name="Renata Festa" userId="6f22df47-533b-4c2a-a3c1-7f9ad1d63e10" providerId="ADAL" clId="{7D997690-04A4-4675-83D7-2E1CC2ED1A4E}" dt="2020-03-23T23:54:25.187" v="656"/>
          <ac:spMkLst>
            <pc:docMk/>
            <pc:sldMk cId="2448810507" sldId="598"/>
            <ac:spMk id="4" creationId="{F3616A99-090F-45E1-9334-58D58B148205}"/>
          </ac:spMkLst>
        </pc:spChg>
      </pc:sldChg>
      <pc:sldChg chg="addSp delSp modSp add mod modAnim">
        <pc:chgData name="Renata Festa" userId="6f22df47-533b-4c2a-a3c1-7f9ad1d63e10" providerId="ADAL" clId="{7D997690-04A4-4675-83D7-2E1CC2ED1A4E}" dt="2020-03-24T14:00:48.031" v="1631" actId="478"/>
        <pc:sldMkLst>
          <pc:docMk/>
          <pc:sldMk cId="783530848" sldId="599"/>
        </pc:sldMkLst>
        <pc:spChg chg="mod">
          <ac:chgData name="Renata Festa" userId="6f22df47-533b-4c2a-a3c1-7f9ad1d63e10" providerId="ADAL" clId="{7D997690-04A4-4675-83D7-2E1CC2ED1A4E}" dt="2020-03-23T23:58:28.249" v="686"/>
          <ac:spMkLst>
            <pc:docMk/>
            <pc:sldMk cId="783530848" sldId="599"/>
            <ac:spMk id="2" creationId="{EB67312A-9819-43C6-8D84-D9136E6CFFCC}"/>
          </ac:spMkLst>
        </pc:spChg>
        <pc:spChg chg="del">
          <ac:chgData name="Renata Festa" userId="6f22df47-533b-4c2a-a3c1-7f9ad1d63e10" providerId="ADAL" clId="{7D997690-04A4-4675-83D7-2E1CC2ED1A4E}" dt="2020-03-24T14:00:48.031" v="1631" actId="478"/>
          <ac:spMkLst>
            <pc:docMk/>
            <pc:sldMk cId="783530848" sldId="599"/>
            <ac:spMk id="3" creationId="{F35E8CBB-5A7D-4DEF-BAF7-8DD5D042F9E0}"/>
          </ac:spMkLst>
        </pc:spChg>
        <pc:spChg chg="add del mod">
          <ac:chgData name="Renata Festa" userId="6f22df47-533b-4c2a-a3c1-7f9ad1d63e10" providerId="ADAL" clId="{7D997690-04A4-4675-83D7-2E1CC2ED1A4E}" dt="2020-03-23T23:59:29.040" v="693" actId="12084"/>
          <ac:spMkLst>
            <pc:docMk/>
            <pc:sldMk cId="783530848" sldId="599"/>
            <ac:spMk id="4" creationId="{F3616A99-090F-45E1-9334-58D58B148205}"/>
          </ac:spMkLst>
        </pc:spChg>
        <pc:spChg chg="add mod">
          <ac:chgData name="Renata Festa" userId="6f22df47-533b-4c2a-a3c1-7f9ad1d63e10" providerId="ADAL" clId="{7D997690-04A4-4675-83D7-2E1CC2ED1A4E}" dt="2020-03-24T00:06:29.899" v="892" actId="1076"/>
          <ac:spMkLst>
            <pc:docMk/>
            <pc:sldMk cId="783530848" sldId="599"/>
            <ac:spMk id="5" creationId="{E30EB0C8-F538-41BA-8473-010CA34DAA0D}"/>
          </ac:spMkLst>
        </pc:spChg>
        <pc:spChg chg="add del mod">
          <ac:chgData name="Renata Festa" userId="6f22df47-533b-4c2a-a3c1-7f9ad1d63e10" providerId="ADAL" clId="{7D997690-04A4-4675-83D7-2E1CC2ED1A4E}" dt="2020-03-24T00:03:08.985" v="752" actId="12084"/>
          <ac:spMkLst>
            <pc:docMk/>
            <pc:sldMk cId="783530848" sldId="599"/>
            <ac:spMk id="8" creationId="{E2572648-3CC3-4AE6-8A2F-59CB2894E2B8}"/>
          </ac:spMkLst>
        </pc:spChg>
        <pc:spChg chg="add mod">
          <ac:chgData name="Renata Festa" userId="6f22df47-533b-4c2a-a3c1-7f9ad1d63e10" providerId="ADAL" clId="{7D997690-04A4-4675-83D7-2E1CC2ED1A4E}" dt="2020-03-24T00:06:55.693" v="895" actId="1076"/>
          <ac:spMkLst>
            <pc:docMk/>
            <pc:sldMk cId="783530848" sldId="599"/>
            <ac:spMk id="10" creationId="{65CACE8B-44F7-491A-83A9-1D3DD248E43D}"/>
          </ac:spMkLst>
        </pc:spChg>
        <pc:graphicFrameChg chg="add del mod">
          <ac:chgData name="Renata Festa" userId="6f22df47-533b-4c2a-a3c1-7f9ad1d63e10" providerId="ADAL" clId="{7D997690-04A4-4675-83D7-2E1CC2ED1A4E}" dt="2020-03-23T23:59:11.330" v="692" actId="12084"/>
          <ac:graphicFrameMkLst>
            <pc:docMk/>
            <pc:sldMk cId="783530848" sldId="599"/>
            <ac:graphicFrameMk id="6" creationId="{1DDBED5B-C24F-4AE9-815D-EC2843BA6379}"/>
          </ac:graphicFrameMkLst>
        </pc:graphicFrameChg>
        <pc:graphicFrameChg chg="add del mod">
          <ac:chgData name="Renata Festa" userId="6f22df47-533b-4c2a-a3c1-7f9ad1d63e10" providerId="ADAL" clId="{7D997690-04A4-4675-83D7-2E1CC2ED1A4E}" dt="2020-03-24T00:01:59.730" v="730" actId="11529"/>
          <ac:graphicFrameMkLst>
            <pc:docMk/>
            <pc:sldMk cId="783530848" sldId="599"/>
            <ac:graphicFrameMk id="7" creationId="{C05DC927-1E86-4B85-A875-2B1D747FBF97}"/>
          </ac:graphicFrameMkLst>
        </pc:graphicFrameChg>
        <pc:graphicFrameChg chg="add mod">
          <ac:chgData name="Renata Festa" userId="6f22df47-533b-4c2a-a3c1-7f9ad1d63e10" providerId="ADAL" clId="{7D997690-04A4-4675-83D7-2E1CC2ED1A4E}" dt="2020-03-24T00:06:16.811" v="891"/>
          <ac:graphicFrameMkLst>
            <pc:docMk/>
            <pc:sldMk cId="783530848" sldId="599"/>
            <ac:graphicFrameMk id="9" creationId="{580710EA-282A-47EC-93C4-EC32C29CD39B}"/>
          </ac:graphicFrameMkLst>
        </pc:graphicFrameChg>
      </pc:sldChg>
      <pc:sldChg chg="addSp delSp modSp add mod modShow">
        <pc:chgData name="Renata Festa" userId="6f22df47-533b-4c2a-a3c1-7f9ad1d63e10" providerId="ADAL" clId="{7D997690-04A4-4675-83D7-2E1CC2ED1A4E}" dt="2020-03-26T23:17:15.905" v="4944" actId="729"/>
        <pc:sldMkLst>
          <pc:docMk/>
          <pc:sldMk cId="2369490167" sldId="600"/>
        </pc:sldMkLst>
        <pc:spChg chg="mod">
          <ac:chgData name="Renata Festa" userId="6f22df47-533b-4c2a-a3c1-7f9ad1d63e10" providerId="ADAL" clId="{7D997690-04A4-4675-83D7-2E1CC2ED1A4E}" dt="2020-03-24T00:12:22.613" v="919"/>
          <ac:spMkLst>
            <pc:docMk/>
            <pc:sldMk cId="2369490167" sldId="600"/>
            <ac:spMk id="2" creationId="{EB67312A-9819-43C6-8D84-D9136E6CFFCC}"/>
          </ac:spMkLst>
        </pc:spChg>
        <pc:spChg chg="del">
          <ac:chgData name="Renata Festa" userId="6f22df47-533b-4c2a-a3c1-7f9ad1d63e10" providerId="ADAL" clId="{7D997690-04A4-4675-83D7-2E1CC2ED1A4E}" dt="2020-03-24T14:00:45.853" v="1630" actId="478"/>
          <ac:spMkLst>
            <pc:docMk/>
            <pc:sldMk cId="2369490167" sldId="600"/>
            <ac:spMk id="3" creationId="{F35E8CBB-5A7D-4DEF-BAF7-8DD5D042F9E0}"/>
          </ac:spMkLst>
        </pc:spChg>
        <pc:spChg chg="del mod">
          <ac:chgData name="Renata Festa" userId="6f22df47-533b-4c2a-a3c1-7f9ad1d63e10" providerId="ADAL" clId="{7D997690-04A4-4675-83D7-2E1CC2ED1A4E}" dt="2020-03-24T00:13:33.198" v="930" actId="12084"/>
          <ac:spMkLst>
            <pc:docMk/>
            <pc:sldMk cId="2369490167" sldId="600"/>
            <ac:spMk id="4" creationId="{F3616A99-090F-45E1-9334-58D58B148205}"/>
          </ac:spMkLst>
        </pc:spChg>
        <pc:spChg chg="add del mod">
          <ac:chgData name="Renata Festa" userId="6f22df47-533b-4c2a-a3c1-7f9ad1d63e10" providerId="ADAL" clId="{7D997690-04A4-4675-83D7-2E1CC2ED1A4E}" dt="2020-03-24T00:14:27.435" v="934" actId="12084"/>
          <ac:spMkLst>
            <pc:docMk/>
            <pc:sldMk cId="2369490167" sldId="600"/>
            <ac:spMk id="7" creationId="{3CDBDF33-B98F-4B73-813B-9778A4109D99}"/>
          </ac:spMkLst>
        </pc:spChg>
        <pc:graphicFrameChg chg="add del mod">
          <ac:chgData name="Renata Festa" userId="6f22df47-533b-4c2a-a3c1-7f9ad1d63e10" providerId="ADAL" clId="{7D997690-04A4-4675-83D7-2E1CC2ED1A4E}" dt="2020-03-24T00:13:52.268" v="933" actId="11529"/>
          <ac:graphicFrameMkLst>
            <pc:docMk/>
            <pc:sldMk cId="2369490167" sldId="600"/>
            <ac:graphicFrameMk id="6" creationId="{4B63F676-7868-4ED1-9A7B-2B2F2F1B49F8}"/>
          </ac:graphicFrameMkLst>
        </pc:graphicFrameChg>
        <pc:graphicFrameChg chg="add mod">
          <ac:chgData name="Renata Festa" userId="6f22df47-533b-4c2a-a3c1-7f9ad1d63e10" providerId="ADAL" clId="{7D997690-04A4-4675-83D7-2E1CC2ED1A4E}" dt="2020-03-24T00:15:18.497" v="949"/>
          <ac:graphicFrameMkLst>
            <pc:docMk/>
            <pc:sldMk cId="2369490167" sldId="600"/>
            <ac:graphicFrameMk id="8" creationId="{BC89735D-35A1-4B37-9372-A27C46EE4072}"/>
          </ac:graphicFrameMkLst>
        </pc:graphicFrameChg>
        <pc:picChg chg="add mod">
          <ac:chgData name="Renata Festa" userId="6f22df47-533b-4c2a-a3c1-7f9ad1d63e10" providerId="ADAL" clId="{7D997690-04A4-4675-83D7-2E1CC2ED1A4E}" dt="2020-03-24T00:16:01.055" v="952" actId="14100"/>
          <ac:picMkLst>
            <pc:docMk/>
            <pc:sldMk cId="2369490167" sldId="600"/>
            <ac:picMk id="5" creationId="{7609996E-948E-4C18-A378-CD40E2BF93D8}"/>
          </ac:picMkLst>
        </pc:picChg>
      </pc:sldChg>
      <pc:sldChg chg="addSp delSp modSp add mod">
        <pc:chgData name="Renata Festa" userId="6f22df47-533b-4c2a-a3c1-7f9ad1d63e10" providerId="ADAL" clId="{7D997690-04A4-4675-83D7-2E1CC2ED1A4E}" dt="2020-03-24T17:31:46.263" v="2358" actId="1076"/>
        <pc:sldMkLst>
          <pc:docMk/>
          <pc:sldMk cId="636521655" sldId="601"/>
        </pc:sldMkLst>
        <pc:spChg chg="mod">
          <ac:chgData name="Renata Festa" userId="6f22df47-533b-4c2a-a3c1-7f9ad1d63e10" providerId="ADAL" clId="{7D997690-04A4-4675-83D7-2E1CC2ED1A4E}" dt="2020-03-24T00:16:17.447" v="957"/>
          <ac:spMkLst>
            <pc:docMk/>
            <pc:sldMk cId="636521655" sldId="601"/>
            <ac:spMk id="2" creationId="{EB67312A-9819-43C6-8D84-D9136E6CFFCC}"/>
          </ac:spMkLst>
        </pc:spChg>
        <pc:spChg chg="del">
          <ac:chgData name="Renata Festa" userId="6f22df47-533b-4c2a-a3c1-7f9ad1d63e10" providerId="ADAL" clId="{7D997690-04A4-4675-83D7-2E1CC2ED1A4E}" dt="2020-03-24T14:00:44.171" v="1629" actId="478"/>
          <ac:spMkLst>
            <pc:docMk/>
            <pc:sldMk cId="636521655" sldId="601"/>
            <ac:spMk id="3" creationId="{F35E8CBB-5A7D-4DEF-BAF7-8DD5D042F9E0}"/>
          </ac:spMkLst>
        </pc:spChg>
        <pc:spChg chg="del">
          <ac:chgData name="Renata Festa" userId="6f22df47-533b-4c2a-a3c1-7f9ad1d63e10" providerId="ADAL" clId="{7D997690-04A4-4675-83D7-2E1CC2ED1A4E}" dt="2020-03-24T00:16:24.461" v="958"/>
          <ac:spMkLst>
            <pc:docMk/>
            <pc:sldMk cId="636521655" sldId="601"/>
            <ac:spMk id="4" creationId="{F3616A99-090F-45E1-9334-58D58B148205}"/>
          </ac:spMkLst>
        </pc:spChg>
        <pc:spChg chg="add del mod">
          <ac:chgData name="Renata Festa" userId="6f22df47-533b-4c2a-a3c1-7f9ad1d63e10" providerId="ADAL" clId="{7D997690-04A4-4675-83D7-2E1CC2ED1A4E}" dt="2020-03-24T00:16:49.669" v="962"/>
          <ac:spMkLst>
            <pc:docMk/>
            <pc:sldMk cId="636521655" sldId="601"/>
            <ac:spMk id="6" creationId="{78E7DD1B-1784-407A-BE77-1C6DBBBB2406}"/>
          </ac:spMkLst>
        </pc:spChg>
        <pc:picChg chg="add del mod">
          <ac:chgData name="Renata Festa" userId="6f22df47-533b-4c2a-a3c1-7f9ad1d63e10" providerId="ADAL" clId="{7D997690-04A4-4675-83D7-2E1CC2ED1A4E}" dt="2020-03-24T00:16:45.952" v="960"/>
          <ac:picMkLst>
            <pc:docMk/>
            <pc:sldMk cId="636521655" sldId="601"/>
            <ac:picMk id="5" creationId="{DE89600D-C931-4375-91C6-3EE3CAA47E11}"/>
          </ac:picMkLst>
        </pc:picChg>
        <pc:picChg chg="add del">
          <ac:chgData name="Renata Festa" userId="6f22df47-533b-4c2a-a3c1-7f9ad1d63e10" providerId="ADAL" clId="{7D997690-04A4-4675-83D7-2E1CC2ED1A4E}" dt="2020-03-24T00:16:49.669" v="962"/>
          <ac:picMkLst>
            <pc:docMk/>
            <pc:sldMk cId="636521655" sldId="601"/>
            <ac:picMk id="7" creationId="{BA05BB68-2157-41F7-A1C9-553C3BB502EF}"/>
          </ac:picMkLst>
        </pc:picChg>
        <pc:picChg chg="add mod">
          <ac:chgData name="Renata Festa" userId="6f22df47-533b-4c2a-a3c1-7f9ad1d63e10" providerId="ADAL" clId="{7D997690-04A4-4675-83D7-2E1CC2ED1A4E}" dt="2020-03-24T17:31:46.263" v="2358" actId="1076"/>
          <ac:picMkLst>
            <pc:docMk/>
            <pc:sldMk cId="636521655" sldId="601"/>
            <ac:picMk id="8" creationId="{1833ADED-B442-4211-87BA-FD1A50B39175}"/>
          </ac:picMkLst>
        </pc:picChg>
      </pc:sldChg>
      <pc:sldChg chg="addSp delSp modSp add mod modAnim addCm modCm modNotesTx">
        <pc:chgData name="Renata Festa" userId="6f22df47-533b-4c2a-a3c1-7f9ad1d63e10" providerId="ADAL" clId="{7D997690-04A4-4675-83D7-2E1CC2ED1A4E}" dt="2020-03-24T13:59:32.968" v="1618" actId="478"/>
        <pc:sldMkLst>
          <pc:docMk/>
          <pc:sldMk cId="1398347698" sldId="602"/>
        </pc:sldMkLst>
        <pc:spChg chg="mod">
          <ac:chgData name="Renata Festa" userId="6f22df47-533b-4c2a-a3c1-7f9ad1d63e10" providerId="ADAL" clId="{7D997690-04A4-4675-83D7-2E1CC2ED1A4E}" dt="2020-03-24T13:00:19.589" v="1393"/>
          <ac:spMkLst>
            <pc:docMk/>
            <pc:sldMk cId="1398347698" sldId="602"/>
            <ac:spMk id="2" creationId="{EB67312A-9819-43C6-8D84-D9136E6CFFCC}"/>
          </ac:spMkLst>
        </pc:spChg>
        <pc:spChg chg="del">
          <ac:chgData name="Renata Festa" userId="6f22df47-533b-4c2a-a3c1-7f9ad1d63e10" providerId="ADAL" clId="{7D997690-04A4-4675-83D7-2E1CC2ED1A4E}" dt="2020-03-24T13:06:26.076" v="1438"/>
          <ac:spMkLst>
            <pc:docMk/>
            <pc:sldMk cId="1398347698" sldId="602"/>
            <ac:spMk id="3" creationId="{F35E8CBB-5A7D-4DEF-BAF7-8DD5D042F9E0}"/>
          </ac:spMkLst>
        </pc:spChg>
        <pc:spChg chg="del mod">
          <ac:chgData name="Renata Festa" userId="6f22df47-533b-4c2a-a3c1-7f9ad1d63e10" providerId="ADAL" clId="{7D997690-04A4-4675-83D7-2E1CC2ED1A4E}" dt="2020-03-24T13:05:27.619" v="1432" actId="12084"/>
          <ac:spMkLst>
            <pc:docMk/>
            <pc:sldMk cId="1398347698" sldId="602"/>
            <ac:spMk id="4" creationId="{F3616A99-090F-45E1-9334-58D58B148205}"/>
          </ac:spMkLst>
        </pc:spChg>
        <pc:spChg chg="add del mod">
          <ac:chgData name="Renata Festa" userId="6f22df47-533b-4c2a-a3c1-7f9ad1d63e10" providerId="ADAL" clId="{7D997690-04A4-4675-83D7-2E1CC2ED1A4E}" dt="2020-03-24T13:00:45.230" v="1402"/>
          <ac:spMkLst>
            <pc:docMk/>
            <pc:sldMk cId="1398347698" sldId="602"/>
            <ac:spMk id="11" creationId="{32399C3C-08D3-46AD-947B-5A09B9281DCF}"/>
          </ac:spMkLst>
        </pc:spChg>
        <pc:spChg chg="add del mod">
          <ac:chgData name="Renata Festa" userId="6f22df47-533b-4c2a-a3c1-7f9ad1d63e10" providerId="ADAL" clId="{7D997690-04A4-4675-83D7-2E1CC2ED1A4E}" dt="2020-03-24T13:00:45.230" v="1402"/>
          <ac:spMkLst>
            <pc:docMk/>
            <pc:sldMk cId="1398347698" sldId="602"/>
            <ac:spMk id="20" creationId="{E73880B1-3F79-4895-A39A-F802D0D719F0}"/>
          </ac:spMkLst>
        </pc:spChg>
        <pc:spChg chg="add del mod">
          <ac:chgData name="Renata Festa" userId="6f22df47-533b-4c2a-a3c1-7f9ad1d63e10" providerId="ADAL" clId="{7D997690-04A4-4675-83D7-2E1CC2ED1A4E}" dt="2020-03-24T13:00:45.230" v="1402"/>
          <ac:spMkLst>
            <pc:docMk/>
            <pc:sldMk cId="1398347698" sldId="602"/>
            <ac:spMk id="21" creationId="{6995F955-4B96-493B-8625-BE52313B7A83}"/>
          </ac:spMkLst>
        </pc:spChg>
        <pc:spChg chg="add del mod">
          <ac:chgData name="Renata Festa" userId="6f22df47-533b-4c2a-a3c1-7f9ad1d63e10" providerId="ADAL" clId="{7D997690-04A4-4675-83D7-2E1CC2ED1A4E}" dt="2020-03-24T13:00:45.230" v="1402"/>
          <ac:spMkLst>
            <pc:docMk/>
            <pc:sldMk cId="1398347698" sldId="602"/>
            <ac:spMk id="22" creationId="{BA408CF4-3B7D-46A0-838F-9B5DC3A81A82}"/>
          </ac:spMkLst>
        </pc:spChg>
        <pc:spChg chg="mod">
          <ac:chgData name="Renata Festa" userId="6f22df47-533b-4c2a-a3c1-7f9ad1d63e10" providerId="ADAL" clId="{7D997690-04A4-4675-83D7-2E1CC2ED1A4E}" dt="2020-03-24T13:03:49.706" v="1424" actId="14100"/>
          <ac:spMkLst>
            <pc:docMk/>
            <pc:sldMk cId="1398347698" sldId="602"/>
            <ac:spMk id="26" creationId="{83DD3DEC-98CD-447B-A753-87170B61CB5D}"/>
          </ac:spMkLst>
        </pc:spChg>
        <pc:spChg chg="add mod">
          <ac:chgData name="Renata Festa" userId="6f22df47-533b-4c2a-a3c1-7f9ad1d63e10" providerId="ADAL" clId="{7D997690-04A4-4675-83D7-2E1CC2ED1A4E}" dt="2020-03-24T13:01:28.262" v="1413" actId="1076"/>
          <ac:spMkLst>
            <pc:docMk/>
            <pc:sldMk cId="1398347698" sldId="602"/>
            <ac:spMk id="29" creationId="{D86657A4-22A1-43E0-B423-2123DB71C35F}"/>
          </ac:spMkLst>
        </pc:spChg>
        <pc:spChg chg="add del mod">
          <ac:chgData name="Renata Festa" userId="6f22df47-533b-4c2a-a3c1-7f9ad1d63e10" providerId="ADAL" clId="{7D997690-04A4-4675-83D7-2E1CC2ED1A4E}" dt="2020-03-24T13:03:37.550" v="1422" actId="14100"/>
          <ac:spMkLst>
            <pc:docMk/>
            <pc:sldMk cId="1398347698" sldId="602"/>
            <ac:spMk id="33" creationId="{32BBABB4-A648-4354-93D5-3C071EFA1DFE}"/>
          </ac:spMkLst>
        </pc:spChg>
        <pc:spChg chg="add mod">
          <ac:chgData name="Renata Festa" userId="6f22df47-533b-4c2a-a3c1-7f9ad1d63e10" providerId="ADAL" clId="{7D997690-04A4-4675-83D7-2E1CC2ED1A4E}" dt="2020-03-24T13:04:07.596" v="1425" actId="1076"/>
          <ac:spMkLst>
            <pc:docMk/>
            <pc:sldMk cId="1398347698" sldId="602"/>
            <ac:spMk id="38" creationId="{FC88A2F9-1CCD-4522-9BFF-2C42C69B2DAA}"/>
          </ac:spMkLst>
        </pc:spChg>
        <pc:spChg chg="add mod ord">
          <ac:chgData name="Renata Festa" userId="6f22df47-533b-4c2a-a3c1-7f9ad1d63e10" providerId="ADAL" clId="{7D997690-04A4-4675-83D7-2E1CC2ED1A4E}" dt="2020-03-24T13:04:23.693" v="1427" actId="1076"/>
          <ac:spMkLst>
            <pc:docMk/>
            <pc:sldMk cId="1398347698" sldId="602"/>
            <ac:spMk id="39" creationId="{8438C797-2065-43B6-A0B8-CD2408C251C4}"/>
          </ac:spMkLst>
        </pc:spChg>
        <pc:spChg chg="add mod ord">
          <ac:chgData name="Renata Festa" userId="6f22df47-533b-4c2a-a3c1-7f9ad1d63e10" providerId="ADAL" clId="{7D997690-04A4-4675-83D7-2E1CC2ED1A4E}" dt="2020-03-24T13:01:56.320" v="1415" actId="166"/>
          <ac:spMkLst>
            <pc:docMk/>
            <pc:sldMk cId="1398347698" sldId="602"/>
            <ac:spMk id="40" creationId="{BAECEEC1-4E09-478C-B42A-6733A78031DC}"/>
          </ac:spMkLst>
        </pc:spChg>
        <pc:spChg chg="add del mod">
          <ac:chgData name="Renata Festa" userId="6f22df47-533b-4c2a-a3c1-7f9ad1d63e10" providerId="ADAL" clId="{7D997690-04A4-4675-83D7-2E1CC2ED1A4E}" dt="2020-03-24T13:06:04.267" v="1434" actId="12084"/>
          <ac:spMkLst>
            <pc:docMk/>
            <pc:sldMk cId="1398347698" sldId="602"/>
            <ac:spMk id="42" creationId="{1582CDFE-E6DE-416B-BDF7-E492BECA2962}"/>
          </ac:spMkLst>
        </pc:spChg>
        <pc:spChg chg="add del mod">
          <ac:chgData name="Renata Festa" userId="6f22df47-533b-4c2a-a3c1-7f9ad1d63e10" providerId="ADAL" clId="{7D997690-04A4-4675-83D7-2E1CC2ED1A4E}" dt="2020-03-24T13:59:32.968" v="1618" actId="478"/>
          <ac:spMkLst>
            <pc:docMk/>
            <pc:sldMk cId="1398347698" sldId="602"/>
            <ac:spMk id="44" creationId="{B4A2CE83-93A8-40FF-ACA2-047CAA0CAAB0}"/>
          </ac:spMkLst>
        </pc:spChg>
        <pc:grpChg chg="add del mod">
          <ac:chgData name="Renata Festa" userId="6f22df47-533b-4c2a-a3c1-7f9ad1d63e10" providerId="ADAL" clId="{7D997690-04A4-4675-83D7-2E1CC2ED1A4E}" dt="2020-03-24T13:00:45.230" v="1402"/>
          <ac:grpSpMkLst>
            <pc:docMk/>
            <pc:sldMk cId="1398347698" sldId="602"/>
            <ac:grpSpMk id="5" creationId="{DACD1EBD-6CEB-458A-B922-80A988493830}"/>
          </ac:grpSpMkLst>
        </pc:grpChg>
        <pc:grpChg chg="add del mod">
          <ac:chgData name="Renata Festa" userId="6f22df47-533b-4c2a-a3c1-7f9ad1d63e10" providerId="ADAL" clId="{7D997690-04A4-4675-83D7-2E1CC2ED1A4E}" dt="2020-03-24T13:00:45.230" v="1402"/>
          <ac:grpSpMkLst>
            <pc:docMk/>
            <pc:sldMk cId="1398347698" sldId="602"/>
            <ac:grpSpMk id="12" creationId="{3CAC9F73-CF32-4240-9B04-B32EA87623DB}"/>
          </ac:grpSpMkLst>
        </pc:grpChg>
        <pc:grpChg chg="add mod">
          <ac:chgData name="Renata Festa" userId="6f22df47-533b-4c2a-a3c1-7f9ad1d63e10" providerId="ADAL" clId="{7D997690-04A4-4675-83D7-2E1CC2ED1A4E}" dt="2020-03-24T13:04:23.693" v="1427" actId="1076"/>
          <ac:grpSpMkLst>
            <pc:docMk/>
            <pc:sldMk cId="1398347698" sldId="602"/>
            <ac:grpSpMk id="23" creationId="{B3334694-5D18-441A-8B93-03A09026BDC5}"/>
          </ac:grpSpMkLst>
        </pc:grpChg>
        <pc:grpChg chg="add mod">
          <ac:chgData name="Renata Festa" userId="6f22df47-533b-4c2a-a3c1-7f9ad1d63e10" providerId="ADAL" clId="{7D997690-04A4-4675-83D7-2E1CC2ED1A4E}" dt="2020-03-24T13:03:37.550" v="1422" actId="14100"/>
          <ac:grpSpMkLst>
            <pc:docMk/>
            <pc:sldMk cId="1398347698" sldId="602"/>
            <ac:grpSpMk id="30" creationId="{20B5362A-ED69-4ED1-80EB-719B078B4A9D}"/>
          </ac:grpSpMkLst>
        </pc:grpChg>
        <pc:graphicFrameChg chg="add del mod">
          <ac:chgData name="Renata Festa" userId="6f22df47-533b-4c2a-a3c1-7f9ad1d63e10" providerId="ADAL" clId="{7D997690-04A4-4675-83D7-2E1CC2ED1A4E}" dt="2020-03-24T13:05:32.385" v="1433" actId="11529"/>
          <ac:graphicFrameMkLst>
            <pc:docMk/>
            <pc:sldMk cId="1398347698" sldId="602"/>
            <ac:graphicFrameMk id="41" creationId="{A1A4127E-2B0F-4501-BF90-FB3EEBF6E67F}"/>
          </ac:graphicFrameMkLst>
        </pc:graphicFrameChg>
        <pc:graphicFrameChg chg="add mod">
          <ac:chgData name="Renata Festa" userId="6f22df47-533b-4c2a-a3c1-7f9ad1d63e10" providerId="ADAL" clId="{7D997690-04A4-4675-83D7-2E1CC2ED1A4E}" dt="2020-03-24T13:07:12.262" v="1453"/>
          <ac:graphicFrameMkLst>
            <pc:docMk/>
            <pc:sldMk cId="1398347698" sldId="602"/>
            <ac:graphicFrameMk id="43" creationId="{FEF1F9D0-F334-4A9E-9AA9-4DBC8F03075C}"/>
          </ac:graphicFrameMkLst>
        </pc:graphicFrameChg>
      </pc:sldChg>
      <pc:sldChg chg="addSp delSp modSp add mod">
        <pc:chgData name="Renata Festa" userId="6f22df47-533b-4c2a-a3c1-7f9ad1d63e10" providerId="ADAL" clId="{7D997690-04A4-4675-83D7-2E1CC2ED1A4E}" dt="2020-03-24T13:59:30.028" v="1617" actId="478"/>
        <pc:sldMkLst>
          <pc:docMk/>
          <pc:sldMk cId="1325401877" sldId="603"/>
        </pc:sldMkLst>
        <pc:spChg chg="mod">
          <ac:chgData name="Renata Festa" userId="6f22df47-533b-4c2a-a3c1-7f9ad1d63e10" providerId="ADAL" clId="{7D997690-04A4-4675-83D7-2E1CC2ED1A4E}" dt="2020-03-24T13:07:48.281" v="1454"/>
          <ac:spMkLst>
            <pc:docMk/>
            <pc:sldMk cId="1325401877" sldId="603"/>
            <ac:spMk id="2" creationId="{EB67312A-9819-43C6-8D84-D9136E6CFFCC}"/>
          </ac:spMkLst>
        </pc:spChg>
        <pc:spChg chg="del">
          <ac:chgData name="Renata Festa" userId="6f22df47-533b-4c2a-a3c1-7f9ad1d63e10" providerId="ADAL" clId="{7D997690-04A4-4675-83D7-2E1CC2ED1A4E}" dt="2020-03-24T13:59:28.591" v="1616" actId="478"/>
          <ac:spMkLst>
            <pc:docMk/>
            <pc:sldMk cId="1325401877" sldId="603"/>
            <ac:spMk id="3" creationId="{F35E8CBB-5A7D-4DEF-BAF7-8DD5D042F9E0}"/>
          </ac:spMkLst>
        </pc:spChg>
        <pc:spChg chg="del">
          <ac:chgData name="Renata Festa" userId="6f22df47-533b-4c2a-a3c1-7f9ad1d63e10" providerId="ADAL" clId="{7D997690-04A4-4675-83D7-2E1CC2ED1A4E}" dt="2020-03-24T13:59:30.028" v="1617" actId="478"/>
          <ac:spMkLst>
            <pc:docMk/>
            <pc:sldMk cId="1325401877" sldId="603"/>
            <ac:spMk id="4" creationId="{F3616A99-090F-45E1-9334-58D58B148205}"/>
          </ac:spMkLst>
        </pc:spChg>
        <pc:spChg chg="add mod">
          <ac:chgData name="Renata Festa" userId="6f22df47-533b-4c2a-a3c1-7f9ad1d63e10" providerId="ADAL" clId="{7D997690-04A4-4675-83D7-2E1CC2ED1A4E}" dt="2020-03-24T13:54:28.962" v="1481" actId="1076"/>
          <ac:spMkLst>
            <pc:docMk/>
            <pc:sldMk cId="1325401877" sldId="603"/>
            <ac:spMk id="5" creationId="{5C7E8F88-0C3F-495B-A2D7-0AE5A8ABFCC3}"/>
          </ac:spMkLst>
        </pc:spChg>
        <pc:spChg chg="add mod">
          <ac:chgData name="Renata Festa" userId="6f22df47-533b-4c2a-a3c1-7f9ad1d63e10" providerId="ADAL" clId="{7D997690-04A4-4675-83D7-2E1CC2ED1A4E}" dt="2020-03-24T13:54:28.962" v="1481" actId="1076"/>
          <ac:spMkLst>
            <pc:docMk/>
            <pc:sldMk cId="1325401877" sldId="603"/>
            <ac:spMk id="6" creationId="{721CC463-198C-4BBE-A594-C429D26A30A3}"/>
          </ac:spMkLst>
        </pc:spChg>
        <pc:spChg chg="add mod">
          <ac:chgData name="Renata Festa" userId="6f22df47-533b-4c2a-a3c1-7f9ad1d63e10" providerId="ADAL" clId="{7D997690-04A4-4675-83D7-2E1CC2ED1A4E}" dt="2020-03-24T13:54:28.962" v="1481" actId="1076"/>
          <ac:spMkLst>
            <pc:docMk/>
            <pc:sldMk cId="1325401877" sldId="603"/>
            <ac:spMk id="7" creationId="{B84A75F2-8186-4FD3-B9F1-5C5FB0E4CBB8}"/>
          </ac:spMkLst>
        </pc:spChg>
        <pc:spChg chg="add mod">
          <ac:chgData name="Renata Festa" userId="6f22df47-533b-4c2a-a3c1-7f9ad1d63e10" providerId="ADAL" clId="{7D997690-04A4-4675-83D7-2E1CC2ED1A4E}" dt="2020-03-24T13:54:28.962" v="1481" actId="1076"/>
          <ac:spMkLst>
            <pc:docMk/>
            <pc:sldMk cId="1325401877" sldId="603"/>
            <ac:spMk id="8" creationId="{4FE52663-4C14-4E7A-BD07-40135962EB86}"/>
          </ac:spMkLst>
        </pc:spChg>
        <pc:spChg chg="add mod">
          <ac:chgData name="Renata Festa" userId="6f22df47-533b-4c2a-a3c1-7f9ad1d63e10" providerId="ADAL" clId="{7D997690-04A4-4675-83D7-2E1CC2ED1A4E}" dt="2020-03-24T13:54:28.962" v="1481" actId="1076"/>
          <ac:spMkLst>
            <pc:docMk/>
            <pc:sldMk cId="1325401877" sldId="603"/>
            <ac:spMk id="9" creationId="{627F367E-5D97-4726-9EB8-99422F965D0D}"/>
          </ac:spMkLst>
        </pc:spChg>
        <pc:spChg chg="add mod">
          <ac:chgData name="Renata Festa" userId="6f22df47-533b-4c2a-a3c1-7f9ad1d63e10" providerId="ADAL" clId="{7D997690-04A4-4675-83D7-2E1CC2ED1A4E}" dt="2020-03-24T13:54:28.962" v="1481" actId="1076"/>
          <ac:spMkLst>
            <pc:docMk/>
            <pc:sldMk cId="1325401877" sldId="603"/>
            <ac:spMk id="10" creationId="{46A9DA82-07AE-4A25-BE68-A8DDD90BC3B1}"/>
          </ac:spMkLst>
        </pc:spChg>
        <pc:spChg chg="add mod">
          <ac:chgData name="Renata Festa" userId="6f22df47-533b-4c2a-a3c1-7f9ad1d63e10" providerId="ADAL" clId="{7D997690-04A4-4675-83D7-2E1CC2ED1A4E}" dt="2020-03-24T13:54:28.962" v="1481" actId="1076"/>
          <ac:spMkLst>
            <pc:docMk/>
            <pc:sldMk cId="1325401877" sldId="603"/>
            <ac:spMk id="11" creationId="{723EDF50-9204-4DF4-AF4A-CE974781AB57}"/>
          </ac:spMkLst>
        </pc:spChg>
        <pc:spChg chg="add mod">
          <ac:chgData name="Renata Festa" userId="6f22df47-533b-4c2a-a3c1-7f9ad1d63e10" providerId="ADAL" clId="{7D997690-04A4-4675-83D7-2E1CC2ED1A4E}" dt="2020-03-24T13:54:28.962" v="1481" actId="1076"/>
          <ac:spMkLst>
            <pc:docMk/>
            <pc:sldMk cId="1325401877" sldId="603"/>
            <ac:spMk id="12" creationId="{28988D79-3448-4092-B109-38ABA3F2CD21}"/>
          </ac:spMkLst>
        </pc:spChg>
        <pc:spChg chg="add mod">
          <ac:chgData name="Renata Festa" userId="6f22df47-533b-4c2a-a3c1-7f9ad1d63e10" providerId="ADAL" clId="{7D997690-04A4-4675-83D7-2E1CC2ED1A4E}" dt="2020-03-24T13:54:28.962" v="1481" actId="1076"/>
          <ac:spMkLst>
            <pc:docMk/>
            <pc:sldMk cId="1325401877" sldId="603"/>
            <ac:spMk id="13" creationId="{F265C43E-8E67-4E5B-927D-CDFB01B4FBBF}"/>
          </ac:spMkLst>
        </pc:spChg>
        <pc:spChg chg="add mod">
          <ac:chgData name="Renata Festa" userId="6f22df47-533b-4c2a-a3c1-7f9ad1d63e10" providerId="ADAL" clId="{7D997690-04A4-4675-83D7-2E1CC2ED1A4E}" dt="2020-03-24T13:54:28.962" v="1481" actId="1076"/>
          <ac:spMkLst>
            <pc:docMk/>
            <pc:sldMk cId="1325401877" sldId="603"/>
            <ac:spMk id="14" creationId="{38E70360-3435-4A07-AD6C-936C92DBB366}"/>
          </ac:spMkLst>
        </pc:spChg>
        <pc:spChg chg="add mod">
          <ac:chgData name="Renata Festa" userId="6f22df47-533b-4c2a-a3c1-7f9ad1d63e10" providerId="ADAL" clId="{7D997690-04A4-4675-83D7-2E1CC2ED1A4E}" dt="2020-03-24T13:54:28.962" v="1481" actId="1076"/>
          <ac:spMkLst>
            <pc:docMk/>
            <pc:sldMk cId="1325401877" sldId="603"/>
            <ac:spMk id="15" creationId="{65710656-D84B-4956-9016-EE85A13DDA01}"/>
          </ac:spMkLst>
        </pc:spChg>
        <pc:spChg chg="add mod">
          <ac:chgData name="Renata Festa" userId="6f22df47-533b-4c2a-a3c1-7f9ad1d63e10" providerId="ADAL" clId="{7D997690-04A4-4675-83D7-2E1CC2ED1A4E}" dt="2020-03-24T13:54:28.962" v="1481" actId="1076"/>
          <ac:spMkLst>
            <pc:docMk/>
            <pc:sldMk cId="1325401877" sldId="603"/>
            <ac:spMk id="16" creationId="{AB4B5C52-7EBD-4717-85B2-8268C06F2F36}"/>
          </ac:spMkLst>
        </pc:spChg>
        <pc:spChg chg="add mod">
          <ac:chgData name="Renata Festa" userId="6f22df47-533b-4c2a-a3c1-7f9ad1d63e10" providerId="ADAL" clId="{7D997690-04A4-4675-83D7-2E1CC2ED1A4E}" dt="2020-03-24T13:54:28.962" v="1481" actId="1076"/>
          <ac:spMkLst>
            <pc:docMk/>
            <pc:sldMk cId="1325401877" sldId="603"/>
            <ac:spMk id="17" creationId="{2F81B880-90D0-4DA4-8B02-92EC7143C668}"/>
          </ac:spMkLst>
        </pc:spChg>
        <pc:spChg chg="add mod">
          <ac:chgData name="Renata Festa" userId="6f22df47-533b-4c2a-a3c1-7f9ad1d63e10" providerId="ADAL" clId="{7D997690-04A4-4675-83D7-2E1CC2ED1A4E}" dt="2020-03-24T13:54:28.962" v="1481" actId="1076"/>
          <ac:spMkLst>
            <pc:docMk/>
            <pc:sldMk cId="1325401877" sldId="603"/>
            <ac:spMk id="18" creationId="{0F41DD3E-B765-4334-8B83-80D73D62527A}"/>
          </ac:spMkLst>
        </pc:spChg>
        <pc:spChg chg="add mod">
          <ac:chgData name="Renata Festa" userId="6f22df47-533b-4c2a-a3c1-7f9ad1d63e10" providerId="ADAL" clId="{7D997690-04A4-4675-83D7-2E1CC2ED1A4E}" dt="2020-03-24T13:54:28.962" v="1481" actId="1076"/>
          <ac:spMkLst>
            <pc:docMk/>
            <pc:sldMk cId="1325401877" sldId="603"/>
            <ac:spMk id="19" creationId="{5135456C-4B9F-4E02-89E5-8ABF1E939262}"/>
          </ac:spMkLst>
        </pc:spChg>
        <pc:spChg chg="add mod">
          <ac:chgData name="Renata Festa" userId="6f22df47-533b-4c2a-a3c1-7f9ad1d63e10" providerId="ADAL" clId="{7D997690-04A4-4675-83D7-2E1CC2ED1A4E}" dt="2020-03-24T13:54:28.962" v="1481" actId="1076"/>
          <ac:spMkLst>
            <pc:docMk/>
            <pc:sldMk cId="1325401877" sldId="603"/>
            <ac:spMk id="20" creationId="{23256AD9-0422-47B7-87B6-92233EAABAFE}"/>
          </ac:spMkLst>
        </pc:spChg>
        <pc:spChg chg="add mod">
          <ac:chgData name="Renata Festa" userId="6f22df47-533b-4c2a-a3c1-7f9ad1d63e10" providerId="ADAL" clId="{7D997690-04A4-4675-83D7-2E1CC2ED1A4E}" dt="2020-03-24T13:54:28.962" v="1481" actId="1076"/>
          <ac:spMkLst>
            <pc:docMk/>
            <pc:sldMk cId="1325401877" sldId="603"/>
            <ac:spMk id="21" creationId="{3D215608-93D4-44AE-9817-84F53984A3DA}"/>
          </ac:spMkLst>
        </pc:spChg>
        <pc:spChg chg="add mod">
          <ac:chgData name="Renata Festa" userId="6f22df47-533b-4c2a-a3c1-7f9ad1d63e10" providerId="ADAL" clId="{7D997690-04A4-4675-83D7-2E1CC2ED1A4E}" dt="2020-03-24T13:54:28.962" v="1481" actId="1076"/>
          <ac:spMkLst>
            <pc:docMk/>
            <pc:sldMk cId="1325401877" sldId="603"/>
            <ac:spMk id="22" creationId="{059184EC-D08A-42A2-AF36-79E0340C4201}"/>
          </ac:spMkLst>
        </pc:spChg>
        <pc:spChg chg="add mod">
          <ac:chgData name="Renata Festa" userId="6f22df47-533b-4c2a-a3c1-7f9ad1d63e10" providerId="ADAL" clId="{7D997690-04A4-4675-83D7-2E1CC2ED1A4E}" dt="2020-03-24T13:54:28.962" v="1481" actId="1076"/>
          <ac:spMkLst>
            <pc:docMk/>
            <pc:sldMk cId="1325401877" sldId="603"/>
            <ac:spMk id="23" creationId="{9EE4358B-605E-480C-8B13-621A70F3BACD}"/>
          </ac:spMkLst>
        </pc:spChg>
        <pc:spChg chg="add mod">
          <ac:chgData name="Renata Festa" userId="6f22df47-533b-4c2a-a3c1-7f9ad1d63e10" providerId="ADAL" clId="{7D997690-04A4-4675-83D7-2E1CC2ED1A4E}" dt="2020-03-24T13:54:28.962" v="1481" actId="1076"/>
          <ac:spMkLst>
            <pc:docMk/>
            <pc:sldMk cId="1325401877" sldId="603"/>
            <ac:spMk id="24" creationId="{7E90B0C9-403E-43F4-8F3A-795773250F8F}"/>
          </ac:spMkLst>
        </pc:spChg>
        <pc:spChg chg="add mod">
          <ac:chgData name="Renata Festa" userId="6f22df47-533b-4c2a-a3c1-7f9ad1d63e10" providerId="ADAL" clId="{7D997690-04A4-4675-83D7-2E1CC2ED1A4E}" dt="2020-03-24T13:54:28.962" v="1481" actId="1076"/>
          <ac:spMkLst>
            <pc:docMk/>
            <pc:sldMk cId="1325401877" sldId="603"/>
            <ac:spMk id="25" creationId="{77436987-59A7-4993-AC58-3BF070284454}"/>
          </ac:spMkLst>
        </pc:spChg>
        <pc:spChg chg="add mod">
          <ac:chgData name="Renata Festa" userId="6f22df47-533b-4c2a-a3c1-7f9ad1d63e10" providerId="ADAL" clId="{7D997690-04A4-4675-83D7-2E1CC2ED1A4E}" dt="2020-03-24T13:54:28.962" v="1481" actId="1076"/>
          <ac:spMkLst>
            <pc:docMk/>
            <pc:sldMk cId="1325401877" sldId="603"/>
            <ac:spMk id="26" creationId="{0B1B027D-F48D-4A71-9111-BF5C0382E5D1}"/>
          </ac:spMkLst>
        </pc:spChg>
        <pc:spChg chg="add mod">
          <ac:chgData name="Renata Festa" userId="6f22df47-533b-4c2a-a3c1-7f9ad1d63e10" providerId="ADAL" clId="{7D997690-04A4-4675-83D7-2E1CC2ED1A4E}" dt="2020-03-24T13:54:28.962" v="1481" actId="1076"/>
          <ac:spMkLst>
            <pc:docMk/>
            <pc:sldMk cId="1325401877" sldId="603"/>
            <ac:spMk id="27" creationId="{9845EA75-EF1E-4F47-9676-1EB006D7C685}"/>
          </ac:spMkLst>
        </pc:spChg>
        <pc:spChg chg="add mod">
          <ac:chgData name="Renata Festa" userId="6f22df47-533b-4c2a-a3c1-7f9ad1d63e10" providerId="ADAL" clId="{7D997690-04A4-4675-83D7-2E1CC2ED1A4E}" dt="2020-03-24T13:54:28.962" v="1481" actId="1076"/>
          <ac:spMkLst>
            <pc:docMk/>
            <pc:sldMk cId="1325401877" sldId="603"/>
            <ac:spMk id="28" creationId="{C12963C0-78B5-426C-B874-04A975F057F5}"/>
          </ac:spMkLst>
        </pc:spChg>
        <pc:spChg chg="add mod">
          <ac:chgData name="Renata Festa" userId="6f22df47-533b-4c2a-a3c1-7f9ad1d63e10" providerId="ADAL" clId="{7D997690-04A4-4675-83D7-2E1CC2ED1A4E}" dt="2020-03-24T13:54:28.962" v="1481" actId="1076"/>
          <ac:spMkLst>
            <pc:docMk/>
            <pc:sldMk cId="1325401877" sldId="603"/>
            <ac:spMk id="30" creationId="{62A0DFEF-CAF5-4B69-91A7-0C9F36F10C72}"/>
          </ac:spMkLst>
        </pc:spChg>
        <pc:spChg chg="add mod">
          <ac:chgData name="Renata Festa" userId="6f22df47-533b-4c2a-a3c1-7f9ad1d63e10" providerId="ADAL" clId="{7D997690-04A4-4675-83D7-2E1CC2ED1A4E}" dt="2020-03-24T13:54:28.962" v="1481" actId="1076"/>
          <ac:spMkLst>
            <pc:docMk/>
            <pc:sldMk cId="1325401877" sldId="603"/>
            <ac:spMk id="31" creationId="{9F8FF885-2B21-4F38-A46B-68717D9E9133}"/>
          </ac:spMkLst>
        </pc:spChg>
        <pc:spChg chg="add mod">
          <ac:chgData name="Renata Festa" userId="6f22df47-533b-4c2a-a3c1-7f9ad1d63e10" providerId="ADAL" clId="{7D997690-04A4-4675-83D7-2E1CC2ED1A4E}" dt="2020-03-24T13:54:28.962" v="1481" actId="1076"/>
          <ac:spMkLst>
            <pc:docMk/>
            <pc:sldMk cId="1325401877" sldId="603"/>
            <ac:spMk id="34" creationId="{4A3BB3B3-CE1F-40CD-853C-9D9E2600A4CF}"/>
          </ac:spMkLst>
        </pc:spChg>
        <pc:spChg chg="add mod">
          <ac:chgData name="Renata Festa" userId="6f22df47-533b-4c2a-a3c1-7f9ad1d63e10" providerId="ADAL" clId="{7D997690-04A4-4675-83D7-2E1CC2ED1A4E}" dt="2020-03-24T13:54:28.962" v="1481" actId="1076"/>
          <ac:spMkLst>
            <pc:docMk/>
            <pc:sldMk cId="1325401877" sldId="603"/>
            <ac:spMk id="35" creationId="{E041EB62-7084-4E93-B344-EB0F263D9907}"/>
          </ac:spMkLst>
        </pc:spChg>
        <pc:spChg chg="add mod">
          <ac:chgData name="Renata Festa" userId="6f22df47-533b-4c2a-a3c1-7f9ad1d63e10" providerId="ADAL" clId="{7D997690-04A4-4675-83D7-2E1CC2ED1A4E}" dt="2020-03-24T13:54:28.962" v="1481" actId="1076"/>
          <ac:spMkLst>
            <pc:docMk/>
            <pc:sldMk cId="1325401877" sldId="603"/>
            <ac:spMk id="37" creationId="{E84307DB-671B-4DE9-BB82-C1C6D95E3270}"/>
          </ac:spMkLst>
        </pc:spChg>
        <pc:spChg chg="add mod">
          <ac:chgData name="Renata Festa" userId="6f22df47-533b-4c2a-a3c1-7f9ad1d63e10" providerId="ADAL" clId="{7D997690-04A4-4675-83D7-2E1CC2ED1A4E}" dt="2020-03-24T13:54:28.962" v="1481" actId="1076"/>
          <ac:spMkLst>
            <pc:docMk/>
            <pc:sldMk cId="1325401877" sldId="603"/>
            <ac:spMk id="47" creationId="{A05E5924-F8EF-4B2C-A81D-7A361C9BB2EF}"/>
          </ac:spMkLst>
        </pc:spChg>
        <pc:spChg chg="add mod">
          <ac:chgData name="Renata Festa" userId="6f22df47-533b-4c2a-a3c1-7f9ad1d63e10" providerId="ADAL" clId="{7D997690-04A4-4675-83D7-2E1CC2ED1A4E}" dt="2020-03-24T13:54:28.962" v="1481" actId="1076"/>
          <ac:spMkLst>
            <pc:docMk/>
            <pc:sldMk cId="1325401877" sldId="603"/>
            <ac:spMk id="57" creationId="{5E757F12-C3E6-4C80-9095-9D3EBCDE9C74}"/>
          </ac:spMkLst>
        </pc:spChg>
        <pc:spChg chg="add mod">
          <ac:chgData name="Renata Festa" userId="6f22df47-533b-4c2a-a3c1-7f9ad1d63e10" providerId="ADAL" clId="{7D997690-04A4-4675-83D7-2E1CC2ED1A4E}" dt="2020-03-24T13:54:28.962" v="1481" actId="1076"/>
          <ac:spMkLst>
            <pc:docMk/>
            <pc:sldMk cId="1325401877" sldId="603"/>
            <ac:spMk id="67" creationId="{CF26A772-FFAD-4BD7-844A-B869D22538F0}"/>
          </ac:spMkLst>
        </pc:spChg>
        <pc:spChg chg="add mod">
          <ac:chgData name="Renata Festa" userId="6f22df47-533b-4c2a-a3c1-7f9ad1d63e10" providerId="ADAL" clId="{7D997690-04A4-4675-83D7-2E1CC2ED1A4E}" dt="2020-03-24T13:54:28.962" v="1481" actId="1076"/>
          <ac:spMkLst>
            <pc:docMk/>
            <pc:sldMk cId="1325401877" sldId="603"/>
            <ac:spMk id="68" creationId="{37DCD2CC-5D89-45F2-9108-726F0FADD435}"/>
          </ac:spMkLst>
        </pc:spChg>
        <pc:spChg chg="add mod">
          <ac:chgData name="Renata Festa" userId="6f22df47-533b-4c2a-a3c1-7f9ad1d63e10" providerId="ADAL" clId="{7D997690-04A4-4675-83D7-2E1CC2ED1A4E}" dt="2020-03-24T13:54:28.962" v="1481" actId="1076"/>
          <ac:spMkLst>
            <pc:docMk/>
            <pc:sldMk cId="1325401877" sldId="603"/>
            <ac:spMk id="69" creationId="{056E70A1-2695-4F83-A987-C7B972345B32}"/>
          </ac:spMkLst>
        </pc:spChg>
        <pc:spChg chg="add mod">
          <ac:chgData name="Renata Festa" userId="6f22df47-533b-4c2a-a3c1-7f9ad1d63e10" providerId="ADAL" clId="{7D997690-04A4-4675-83D7-2E1CC2ED1A4E}" dt="2020-03-24T13:54:28.962" v="1481" actId="1076"/>
          <ac:spMkLst>
            <pc:docMk/>
            <pc:sldMk cId="1325401877" sldId="603"/>
            <ac:spMk id="70" creationId="{91E846CC-E6ED-4E0C-9872-C71610541356}"/>
          </ac:spMkLst>
        </pc:spChg>
        <pc:spChg chg="add mod">
          <ac:chgData name="Renata Festa" userId="6f22df47-533b-4c2a-a3c1-7f9ad1d63e10" providerId="ADAL" clId="{7D997690-04A4-4675-83D7-2E1CC2ED1A4E}" dt="2020-03-24T13:54:28.962" v="1481" actId="1076"/>
          <ac:spMkLst>
            <pc:docMk/>
            <pc:sldMk cId="1325401877" sldId="603"/>
            <ac:spMk id="71" creationId="{45C7C50E-9BA0-46D8-B75A-A1F0F554DCCB}"/>
          </ac:spMkLst>
        </pc:spChg>
        <pc:spChg chg="add mod">
          <ac:chgData name="Renata Festa" userId="6f22df47-533b-4c2a-a3c1-7f9ad1d63e10" providerId="ADAL" clId="{7D997690-04A4-4675-83D7-2E1CC2ED1A4E}" dt="2020-03-24T13:54:28.962" v="1481" actId="1076"/>
          <ac:spMkLst>
            <pc:docMk/>
            <pc:sldMk cId="1325401877" sldId="603"/>
            <ac:spMk id="72" creationId="{CEC63C2C-8040-498D-B9DF-1CD346262708}"/>
          </ac:spMkLst>
        </pc:spChg>
        <pc:spChg chg="add mod">
          <ac:chgData name="Renata Festa" userId="6f22df47-533b-4c2a-a3c1-7f9ad1d63e10" providerId="ADAL" clId="{7D997690-04A4-4675-83D7-2E1CC2ED1A4E}" dt="2020-03-24T13:54:28.962" v="1481" actId="1076"/>
          <ac:spMkLst>
            <pc:docMk/>
            <pc:sldMk cId="1325401877" sldId="603"/>
            <ac:spMk id="73" creationId="{C978C4C3-4D58-4D54-9F28-A5DC55595774}"/>
          </ac:spMkLst>
        </pc:spChg>
        <pc:spChg chg="add mod">
          <ac:chgData name="Renata Festa" userId="6f22df47-533b-4c2a-a3c1-7f9ad1d63e10" providerId="ADAL" clId="{7D997690-04A4-4675-83D7-2E1CC2ED1A4E}" dt="2020-03-24T13:54:28.962" v="1481" actId="1076"/>
          <ac:spMkLst>
            <pc:docMk/>
            <pc:sldMk cId="1325401877" sldId="603"/>
            <ac:spMk id="74" creationId="{B3EA0F3B-DF42-4EDB-A33A-8B5A7A0533F1}"/>
          </ac:spMkLst>
        </pc:spChg>
        <pc:spChg chg="add mod">
          <ac:chgData name="Renata Festa" userId="6f22df47-533b-4c2a-a3c1-7f9ad1d63e10" providerId="ADAL" clId="{7D997690-04A4-4675-83D7-2E1CC2ED1A4E}" dt="2020-03-24T13:54:28.962" v="1481" actId="1076"/>
          <ac:spMkLst>
            <pc:docMk/>
            <pc:sldMk cId="1325401877" sldId="603"/>
            <ac:spMk id="75" creationId="{44C2E8F4-BBE9-43F9-A355-3DD61E1FD52B}"/>
          </ac:spMkLst>
        </pc:spChg>
        <pc:spChg chg="add mod">
          <ac:chgData name="Renata Festa" userId="6f22df47-533b-4c2a-a3c1-7f9ad1d63e10" providerId="ADAL" clId="{7D997690-04A4-4675-83D7-2E1CC2ED1A4E}" dt="2020-03-24T13:54:28.962" v="1481" actId="1076"/>
          <ac:spMkLst>
            <pc:docMk/>
            <pc:sldMk cId="1325401877" sldId="603"/>
            <ac:spMk id="81" creationId="{8C93C9FE-FC56-4241-83A5-F71588EBD60E}"/>
          </ac:spMkLst>
        </pc:spChg>
        <pc:spChg chg="add mod">
          <ac:chgData name="Renata Festa" userId="6f22df47-533b-4c2a-a3c1-7f9ad1d63e10" providerId="ADAL" clId="{7D997690-04A4-4675-83D7-2E1CC2ED1A4E}" dt="2020-03-24T13:54:28.962" v="1481" actId="1076"/>
          <ac:spMkLst>
            <pc:docMk/>
            <pc:sldMk cId="1325401877" sldId="603"/>
            <ac:spMk id="82" creationId="{93B2F1C1-3919-4A29-96C0-865A78EBF178}"/>
          </ac:spMkLst>
        </pc:spChg>
        <pc:spChg chg="add mod">
          <ac:chgData name="Renata Festa" userId="6f22df47-533b-4c2a-a3c1-7f9ad1d63e10" providerId="ADAL" clId="{7D997690-04A4-4675-83D7-2E1CC2ED1A4E}" dt="2020-03-24T13:54:28.962" v="1481" actId="1076"/>
          <ac:spMkLst>
            <pc:docMk/>
            <pc:sldMk cId="1325401877" sldId="603"/>
            <ac:spMk id="83" creationId="{39B43086-3427-411A-9151-1637F38AE0CD}"/>
          </ac:spMkLst>
        </pc:spChg>
        <pc:grpChg chg="add mod">
          <ac:chgData name="Renata Festa" userId="6f22df47-533b-4c2a-a3c1-7f9ad1d63e10" providerId="ADAL" clId="{7D997690-04A4-4675-83D7-2E1CC2ED1A4E}" dt="2020-03-24T13:54:28.962" v="1481" actId="1076"/>
          <ac:grpSpMkLst>
            <pc:docMk/>
            <pc:sldMk cId="1325401877" sldId="603"/>
            <ac:grpSpMk id="38" creationId="{B368C9CE-9D64-4789-8ED9-1206AEA6B4E6}"/>
          </ac:grpSpMkLst>
        </pc:grpChg>
        <pc:grpChg chg="mod">
          <ac:chgData name="Renata Festa" userId="6f22df47-533b-4c2a-a3c1-7f9ad1d63e10" providerId="ADAL" clId="{7D997690-04A4-4675-83D7-2E1CC2ED1A4E}" dt="2020-03-24T13:54:28.962" v="1481" actId="1076"/>
          <ac:grpSpMkLst>
            <pc:docMk/>
            <pc:sldMk cId="1325401877" sldId="603"/>
            <ac:grpSpMk id="39" creationId="{22A9F43A-EB52-486E-9115-DDCE1CA45208}"/>
          </ac:grpSpMkLst>
        </pc:grpChg>
        <pc:grpChg chg="mod">
          <ac:chgData name="Renata Festa" userId="6f22df47-533b-4c2a-a3c1-7f9ad1d63e10" providerId="ADAL" clId="{7D997690-04A4-4675-83D7-2E1CC2ED1A4E}" dt="2020-03-24T13:54:28.962" v="1481" actId="1076"/>
          <ac:grpSpMkLst>
            <pc:docMk/>
            <pc:sldMk cId="1325401877" sldId="603"/>
            <ac:grpSpMk id="40" creationId="{B98EE018-46C2-481C-887B-538FFB89EA3C}"/>
          </ac:grpSpMkLst>
        </pc:grpChg>
        <pc:grpChg chg="add mod">
          <ac:chgData name="Renata Festa" userId="6f22df47-533b-4c2a-a3c1-7f9ad1d63e10" providerId="ADAL" clId="{7D997690-04A4-4675-83D7-2E1CC2ED1A4E}" dt="2020-03-24T13:54:28.962" v="1481" actId="1076"/>
          <ac:grpSpMkLst>
            <pc:docMk/>
            <pc:sldMk cId="1325401877" sldId="603"/>
            <ac:grpSpMk id="48" creationId="{6E222174-A13F-406B-8AA7-99C2082896D4}"/>
          </ac:grpSpMkLst>
        </pc:grpChg>
        <pc:grpChg chg="mod">
          <ac:chgData name="Renata Festa" userId="6f22df47-533b-4c2a-a3c1-7f9ad1d63e10" providerId="ADAL" clId="{7D997690-04A4-4675-83D7-2E1CC2ED1A4E}" dt="2020-03-24T13:54:28.962" v="1481" actId="1076"/>
          <ac:grpSpMkLst>
            <pc:docMk/>
            <pc:sldMk cId="1325401877" sldId="603"/>
            <ac:grpSpMk id="49" creationId="{0E6BBB07-4367-4378-B615-7B7E7CA7B2FE}"/>
          </ac:grpSpMkLst>
        </pc:grpChg>
        <pc:grpChg chg="mod">
          <ac:chgData name="Renata Festa" userId="6f22df47-533b-4c2a-a3c1-7f9ad1d63e10" providerId="ADAL" clId="{7D997690-04A4-4675-83D7-2E1CC2ED1A4E}" dt="2020-03-24T13:54:28.962" v="1481" actId="1076"/>
          <ac:grpSpMkLst>
            <pc:docMk/>
            <pc:sldMk cId="1325401877" sldId="603"/>
            <ac:grpSpMk id="50" creationId="{3FD75DA6-5774-4B9A-9245-C1BB2BFE41FB}"/>
          </ac:grpSpMkLst>
        </pc:grpChg>
        <pc:grpChg chg="add mod">
          <ac:chgData name="Renata Festa" userId="6f22df47-533b-4c2a-a3c1-7f9ad1d63e10" providerId="ADAL" clId="{7D997690-04A4-4675-83D7-2E1CC2ED1A4E}" dt="2020-03-24T13:54:28.962" v="1481" actId="1076"/>
          <ac:grpSpMkLst>
            <pc:docMk/>
            <pc:sldMk cId="1325401877" sldId="603"/>
            <ac:grpSpMk id="58" creationId="{D20FC170-BB39-462C-9ECF-9E094BFA2DBB}"/>
          </ac:grpSpMkLst>
        </pc:grpChg>
        <pc:grpChg chg="mod">
          <ac:chgData name="Renata Festa" userId="6f22df47-533b-4c2a-a3c1-7f9ad1d63e10" providerId="ADAL" clId="{7D997690-04A4-4675-83D7-2E1CC2ED1A4E}" dt="2020-03-24T13:54:28.962" v="1481" actId="1076"/>
          <ac:grpSpMkLst>
            <pc:docMk/>
            <pc:sldMk cId="1325401877" sldId="603"/>
            <ac:grpSpMk id="59" creationId="{6C03D694-FE50-43BF-B6A9-C69C71D5E14E}"/>
          </ac:grpSpMkLst>
        </pc:grpChg>
        <pc:grpChg chg="mod">
          <ac:chgData name="Renata Festa" userId="6f22df47-533b-4c2a-a3c1-7f9ad1d63e10" providerId="ADAL" clId="{7D997690-04A4-4675-83D7-2E1CC2ED1A4E}" dt="2020-03-24T13:54:28.962" v="1481" actId="1076"/>
          <ac:grpSpMkLst>
            <pc:docMk/>
            <pc:sldMk cId="1325401877" sldId="603"/>
            <ac:grpSpMk id="60" creationId="{E605FFCD-7E29-4C27-BE55-79B05F7FAB57}"/>
          </ac:grpSpMkLst>
        </pc:grpChg>
        <pc:cxnChg chg="add mod">
          <ac:chgData name="Renata Festa" userId="6f22df47-533b-4c2a-a3c1-7f9ad1d63e10" providerId="ADAL" clId="{7D997690-04A4-4675-83D7-2E1CC2ED1A4E}" dt="2020-03-24T13:54:28.962" v="1481" actId="1076"/>
          <ac:cxnSpMkLst>
            <pc:docMk/>
            <pc:sldMk cId="1325401877" sldId="603"/>
            <ac:cxnSpMk id="29" creationId="{9B08B1BD-6E02-4DB9-8112-AFC0DA204567}"/>
          </ac:cxnSpMkLst>
        </pc:cxnChg>
        <pc:cxnChg chg="add mod">
          <ac:chgData name="Renata Festa" userId="6f22df47-533b-4c2a-a3c1-7f9ad1d63e10" providerId="ADAL" clId="{7D997690-04A4-4675-83D7-2E1CC2ED1A4E}" dt="2020-03-24T13:54:28.962" v="1481" actId="1076"/>
          <ac:cxnSpMkLst>
            <pc:docMk/>
            <pc:sldMk cId="1325401877" sldId="603"/>
            <ac:cxnSpMk id="32" creationId="{29241FB1-0BD4-45C3-9A56-28C56934D62A}"/>
          </ac:cxnSpMkLst>
        </pc:cxnChg>
        <pc:cxnChg chg="add mod">
          <ac:chgData name="Renata Festa" userId="6f22df47-533b-4c2a-a3c1-7f9ad1d63e10" providerId="ADAL" clId="{7D997690-04A4-4675-83D7-2E1CC2ED1A4E}" dt="2020-03-24T13:54:28.962" v="1481" actId="1076"/>
          <ac:cxnSpMkLst>
            <pc:docMk/>
            <pc:sldMk cId="1325401877" sldId="603"/>
            <ac:cxnSpMk id="33" creationId="{53430CC1-FFDD-49FB-87F1-26ABC3FA002C}"/>
          </ac:cxnSpMkLst>
        </pc:cxnChg>
        <pc:cxnChg chg="add mod">
          <ac:chgData name="Renata Festa" userId="6f22df47-533b-4c2a-a3c1-7f9ad1d63e10" providerId="ADAL" clId="{7D997690-04A4-4675-83D7-2E1CC2ED1A4E}" dt="2020-03-24T13:54:28.962" v="1481" actId="1076"/>
          <ac:cxnSpMkLst>
            <pc:docMk/>
            <pc:sldMk cId="1325401877" sldId="603"/>
            <ac:cxnSpMk id="36" creationId="{5188E421-087D-45EB-983A-87D5BA1952F1}"/>
          </ac:cxnSpMkLst>
        </pc:cxnChg>
        <pc:cxnChg chg="add mod">
          <ac:chgData name="Renata Festa" userId="6f22df47-533b-4c2a-a3c1-7f9ad1d63e10" providerId="ADAL" clId="{7D997690-04A4-4675-83D7-2E1CC2ED1A4E}" dt="2020-03-24T13:54:28.962" v="1481" actId="1076"/>
          <ac:cxnSpMkLst>
            <pc:docMk/>
            <pc:sldMk cId="1325401877" sldId="603"/>
            <ac:cxnSpMk id="76" creationId="{AE84E1C4-EFD2-482C-B9DC-A8CDA5FC7E4D}"/>
          </ac:cxnSpMkLst>
        </pc:cxnChg>
        <pc:cxnChg chg="add mod">
          <ac:chgData name="Renata Festa" userId="6f22df47-533b-4c2a-a3c1-7f9ad1d63e10" providerId="ADAL" clId="{7D997690-04A4-4675-83D7-2E1CC2ED1A4E}" dt="2020-03-24T13:54:28.962" v="1481" actId="1076"/>
          <ac:cxnSpMkLst>
            <pc:docMk/>
            <pc:sldMk cId="1325401877" sldId="603"/>
            <ac:cxnSpMk id="77" creationId="{16306304-5F17-40F7-AAC3-FACE9DED54F5}"/>
          </ac:cxnSpMkLst>
        </pc:cxnChg>
        <pc:cxnChg chg="add mod">
          <ac:chgData name="Renata Festa" userId="6f22df47-533b-4c2a-a3c1-7f9ad1d63e10" providerId="ADAL" clId="{7D997690-04A4-4675-83D7-2E1CC2ED1A4E}" dt="2020-03-24T13:54:28.962" v="1481" actId="1076"/>
          <ac:cxnSpMkLst>
            <pc:docMk/>
            <pc:sldMk cId="1325401877" sldId="603"/>
            <ac:cxnSpMk id="78" creationId="{EE2738B9-4D21-402E-9EC4-EC3EBE58595D}"/>
          </ac:cxnSpMkLst>
        </pc:cxnChg>
        <pc:cxnChg chg="add mod">
          <ac:chgData name="Renata Festa" userId="6f22df47-533b-4c2a-a3c1-7f9ad1d63e10" providerId="ADAL" clId="{7D997690-04A4-4675-83D7-2E1CC2ED1A4E}" dt="2020-03-24T13:54:28.962" v="1481" actId="1076"/>
          <ac:cxnSpMkLst>
            <pc:docMk/>
            <pc:sldMk cId="1325401877" sldId="603"/>
            <ac:cxnSpMk id="79" creationId="{99CC4B54-12AC-4936-9D19-68D93A6300A6}"/>
          </ac:cxnSpMkLst>
        </pc:cxnChg>
        <pc:cxnChg chg="add mod">
          <ac:chgData name="Renata Festa" userId="6f22df47-533b-4c2a-a3c1-7f9ad1d63e10" providerId="ADAL" clId="{7D997690-04A4-4675-83D7-2E1CC2ED1A4E}" dt="2020-03-24T13:54:28.962" v="1481" actId="1076"/>
          <ac:cxnSpMkLst>
            <pc:docMk/>
            <pc:sldMk cId="1325401877" sldId="603"/>
            <ac:cxnSpMk id="80" creationId="{18843C6E-1EC5-4EBE-969D-9945A41D0548}"/>
          </ac:cxnSpMkLst>
        </pc:cxnChg>
        <pc:cxnChg chg="add mod">
          <ac:chgData name="Renata Festa" userId="6f22df47-533b-4c2a-a3c1-7f9ad1d63e10" providerId="ADAL" clId="{7D997690-04A4-4675-83D7-2E1CC2ED1A4E}" dt="2020-03-24T13:54:28.962" v="1481" actId="1076"/>
          <ac:cxnSpMkLst>
            <pc:docMk/>
            <pc:sldMk cId="1325401877" sldId="603"/>
            <ac:cxnSpMk id="84" creationId="{973DF5BF-73D8-456A-A83D-A979DCEFF1B0}"/>
          </ac:cxnSpMkLst>
        </pc:cxnChg>
        <pc:cxnChg chg="add mod">
          <ac:chgData name="Renata Festa" userId="6f22df47-533b-4c2a-a3c1-7f9ad1d63e10" providerId="ADAL" clId="{7D997690-04A4-4675-83D7-2E1CC2ED1A4E}" dt="2020-03-24T13:54:28.962" v="1481" actId="1076"/>
          <ac:cxnSpMkLst>
            <pc:docMk/>
            <pc:sldMk cId="1325401877" sldId="603"/>
            <ac:cxnSpMk id="85" creationId="{FAB4B12F-C24D-48D6-8BD5-93153B75DB1E}"/>
          </ac:cxnSpMkLst>
        </pc:cxnChg>
        <pc:cxnChg chg="add mod">
          <ac:chgData name="Renata Festa" userId="6f22df47-533b-4c2a-a3c1-7f9ad1d63e10" providerId="ADAL" clId="{7D997690-04A4-4675-83D7-2E1CC2ED1A4E}" dt="2020-03-24T13:54:28.962" v="1481" actId="1076"/>
          <ac:cxnSpMkLst>
            <pc:docMk/>
            <pc:sldMk cId="1325401877" sldId="603"/>
            <ac:cxnSpMk id="86" creationId="{FCD68758-DF9A-4AF7-AF46-5460794AC0F0}"/>
          </ac:cxnSpMkLst>
        </pc:cxnChg>
      </pc:sldChg>
      <pc:sldChg chg="modSp add del mod">
        <pc:chgData name="Renata Festa" userId="6f22df47-533b-4c2a-a3c1-7f9ad1d63e10" providerId="ADAL" clId="{7D997690-04A4-4675-83D7-2E1CC2ED1A4E}" dt="2020-03-24T12:55:12.998" v="1301" actId="47"/>
        <pc:sldMkLst>
          <pc:docMk/>
          <pc:sldMk cId="4006458607" sldId="4402"/>
        </pc:sldMkLst>
        <pc:graphicFrameChg chg="modGraphic">
          <ac:chgData name="Renata Festa" userId="6f22df47-533b-4c2a-a3c1-7f9ad1d63e10" providerId="ADAL" clId="{7D997690-04A4-4675-83D7-2E1CC2ED1A4E}" dt="2020-03-24T12:52:43.006" v="1277" actId="14734"/>
          <ac:graphicFrameMkLst>
            <pc:docMk/>
            <pc:sldMk cId="4006458607" sldId="4402"/>
            <ac:graphicFrameMk id="3" creationId="{F7E4DCAE-91A3-4F8C-89B4-D34A195D4CC4}"/>
          </ac:graphicFrameMkLst>
        </pc:graphicFrameChg>
      </pc:sldChg>
      <pc:sldChg chg="addSp delSp modSp add del">
        <pc:chgData name="Renata Festa" userId="6f22df47-533b-4c2a-a3c1-7f9ad1d63e10" providerId="ADAL" clId="{7D997690-04A4-4675-83D7-2E1CC2ED1A4E}" dt="2020-03-24T12:48:02.544" v="1213" actId="47"/>
        <pc:sldMkLst>
          <pc:docMk/>
          <pc:sldMk cId="907845345" sldId="4404"/>
        </pc:sldMkLst>
        <pc:spChg chg="add del mod">
          <ac:chgData name="Renata Festa" userId="6f22df47-533b-4c2a-a3c1-7f9ad1d63e10" providerId="ADAL" clId="{7D997690-04A4-4675-83D7-2E1CC2ED1A4E}" dt="2020-03-24T12:43:41.469" v="1161"/>
          <ac:spMkLst>
            <pc:docMk/>
            <pc:sldMk cId="907845345" sldId="4404"/>
            <ac:spMk id="4" creationId="{C825D92A-845A-4D2A-ABD0-7825948E8895}"/>
          </ac:spMkLst>
        </pc:spChg>
        <pc:spChg chg="add del mod">
          <ac:chgData name="Renata Festa" userId="6f22df47-533b-4c2a-a3c1-7f9ad1d63e10" providerId="ADAL" clId="{7D997690-04A4-4675-83D7-2E1CC2ED1A4E}" dt="2020-03-24T12:43:41.469" v="1161"/>
          <ac:spMkLst>
            <pc:docMk/>
            <pc:sldMk cId="907845345" sldId="4404"/>
            <ac:spMk id="5" creationId="{1679DC30-384D-4A3C-8A40-D7D956979E44}"/>
          </ac:spMkLst>
        </pc:spChg>
        <pc:graphicFrameChg chg="del">
          <ac:chgData name="Renata Festa" userId="6f22df47-533b-4c2a-a3c1-7f9ad1d63e10" providerId="ADAL" clId="{7D997690-04A4-4675-83D7-2E1CC2ED1A4E}" dt="2020-03-24T12:45:22.197" v="1188"/>
          <ac:graphicFrameMkLst>
            <pc:docMk/>
            <pc:sldMk cId="907845345" sldId="4404"/>
            <ac:graphicFrameMk id="3" creationId="{F7E4DCAE-91A3-4F8C-89B4-D34A195D4CC4}"/>
          </ac:graphicFrameMkLst>
        </pc:graphicFrameChg>
      </pc:sldChg>
      <pc:sldChg chg="addSp delSp modSp add mod modTransition">
        <pc:chgData name="Renata Festa" userId="6f22df47-533b-4c2a-a3c1-7f9ad1d63e10" providerId="ADAL" clId="{7D997690-04A4-4675-83D7-2E1CC2ED1A4E}" dt="2020-03-27T17:19:31.183" v="4980" actId="20577"/>
        <pc:sldMkLst>
          <pc:docMk/>
          <pc:sldMk cId="428745910" sldId="2076136571"/>
        </pc:sldMkLst>
        <pc:spChg chg="mod">
          <ac:chgData name="Renata Festa" userId="6f22df47-533b-4c2a-a3c1-7f9ad1d63e10" providerId="ADAL" clId="{7D997690-04A4-4675-83D7-2E1CC2ED1A4E}" dt="2020-03-24T12:36:36.870" v="1065" actId="108"/>
          <ac:spMkLst>
            <pc:docMk/>
            <pc:sldMk cId="428745910" sldId="2076136571"/>
            <ac:spMk id="2" creationId="{277EC0F6-B31A-411D-BBA7-EF213F312CBB}"/>
          </ac:spMkLst>
        </pc:spChg>
        <pc:spChg chg="del mod">
          <ac:chgData name="Renata Festa" userId="6f22df47-533b-4c2a-a3c1-7f9ad1d63e10" providerId="ADAL" clId="{7D997690-04A4-4675-83D7-2E1CC2ED1A4E}" dt="2020-03-24T12:36:46.766" v="1066" actId="478"/>
          <ac:spMkLst>
            <pc:docMk/>
            <pc:sldMk cId="428745910" sldId="2076136571"/>
            <ac:spMk id="3" creationId="{F2BFFA7A-008F-4085-88AE-E1D7EBCB4679}"/>
          </ac:spMkLst>
        </pc:spChg>
        <pc:spChg chg="add del mod">
          <ac:chgData name="Renata Festa" userId="6f22df47-533b-4c2a-a3c1-7f9ad1d63e10" providerId="ADAL" clId="{7D997690-04A4-4675-83D7-2E1CC2ED1A4E}" dt="2020-03-24T12:36:48.168" v="1067" actId="478"/>
          <ac:spMkLst>
            <pc:docMk/>
            <pc:sldMk cId="428745910" sldId="2076136571"/>
            <ac:spMk id="6" creationId="{C21DD54D-4277-45BE-8F14-E953689B44D1}"/>
          </ac:spMkLst>
        </pc:spChg>
        <pc:spChg chg="del">
          <ac:chgData name="Renata Festa" userId="6f22df47-533b-4c2a-a3c1-7f9ad1d63e10" providerId="ADAL" clId="{7D997690-04A4-4675-83D7-2E1CC2ED1A4E}" dt="2020-03-24T12:38:23.055" v="1074" actId="478"/>
          <ac:spMkLst>
            <pc:docMk/>
            <pc:sldMk cId="428745910" sldId="2076136571"/>
            <ac:spMk id="13" creationId="{30810C71-C65E-415A-9FE2-C0BB608D51C6}"/>
          </ac:spMkLst>
        </pc:spChg>
        <pc:spChg chg="add del">
          <ac:chgData name="Renata Festa" userId="6f22df47-533b-4c2a-a3c1-7f9ad1d63e10" providerId="ADAL" clId="{7D997690-04A4-4675-83D7-2E1CC2ED1A4E}" dt="2020-03-24T12:38:38.267" v="1075" actId="12084"/>
          <ac:spMkLst>
            <pc:docMk/>
            <pc:sldMk cId="428745910" sldId="2076136571"/>
            <ac:spMk id="15" creationId="{DF87D991-EDC5-44DD-807A-6825A4B5AE94}"/>
          </ac:spMkLst>
        </pc:spChg>
        <pc:spChg chg="del">
          <ac:chgData name="Renata Festa" userId="6f22df47-533b-4c2a-a3c1-7f9ad1d63e10" providerId="ADAL" clId="{7D997690-04A4-4675-83D7-2E1CC2ED1A4E}" dt="2020-03-24T12:38:04.375" v="1071" actId="478"/>
          <ac:spMkLst>
            <pc:docMk/>
            <pc:sldMk cId="428745910" sldId="2076136571"/>
            <ac:spMk id="18" creationId="{8CE34CF4-C4B4-4A18-88EB-8C1C9AD175BD}"/>
          </ac:spMkLst>
        </pc:spChg>
        <pc:grpChg chg="del">
          <ac:chgData name="Renata Festa" userId="6f22df47-533b-4c2a-a3c1-7f9ad1d63e10" providerId="ADAL" clId="{7D997690-04A4-4675-83D7-2E1CC2ED1A4E}" dt="2020-03-24T12:38:21.561" v="1073" actId="478"/>
          <ac:grpSpMkLst>
            <pc:docMk/>
            <pc:sldMk cId="428745910" sldId="2076136571"/>
            <ac:grpSpMk id="19" creationId="{85AC5BB8-000D-4371-A92D-2217B5C4FDDA}"/>
          </ac:grpSpMkLst>
        </pc:grpChg>
        <pc:grpChg chg="del">
          <ac:chgData name="Renata Festa" userId="6f22df47-533b-4c2a-a3c1-7f9ad1d63e10" providerId="ADAL" clId="{7D997690-04A4-4675-83D7-2E1CC2ED1A4E}" dt="2020-03-24T12:38:07.712" v="1072" actId="478"/>
          <ac:grpSpMkLst>
            <pc:docMk/>
            <pc:sldMk cId="428745910" sldId="2076136571"/>
            <ac:grpSpMk id="22" creationId="{DCA2A26E-1F83-4CFA-AE0C-32AAB76AAF14}"/>
          </ac:grpSpMkLst>
        </pc:grpChg>
        <pc:graphicFrameChg chg="del">
          <ac:chgData name="Renata Festa" userId="6f22df47-533b-4c2a-a3c1-7f9ad1d63e10" providerId="ADAL" clId="{7D997690-04A4-4675-83D7-2E1CC2ED1A4E}" dt="2020-03-24T12:38:02.248" v="1070" actId="478"/>
          <ac:graphicFrameMkLst>
            <pc:docMk/>
            <pc:sldMk cId="428745910" sldId="2076136571"/>
            <ac:graphicFrameMk id="5" creationId="{1118B543-8A76-41B7-96E3-4FB4D3F747C3}"/>
          </ac:graphicFrameMkLst>
        </pc:graphicFrameChg>
        <pc:graphicFrameChg chg="add mod">
          <ac:chgData name="Renata Festa" userId="6f22df47-533b-4c2a-a3c1-7f9ad1d63e10" providerId="ADAL" clId="{7D997690-04A4-4675-83D7-2E1CC2ED1A4E}" dt="2020-03-27T17:19:31.183" v="4980" actId="20577"/>
          <ac:graphicFrameMkLst>
            <pc:docMk/>
            <pc:sldMk cId="428745910" sldId="2076136571"/>
            <ac:graphicFrameMk id="7" creationId="{06FC3312-3751-49D5-9529-688AF08D3398}"/>
          </ac:graphicFrameMkLst>
        </pc:graphicFrameChg>
      </pc:sldChg>
      <pc:sldChg chg="add del">
        <pc:chgData name="Renata Festa" userId="6f22df47-533b-4c2a-a3c1-7f9ad1d63e10" providerId="ADAL" clId="{7D997690-04A4-4675-83D7-2E1CC2ED1A4E}" dt="2020-03-24T12:57:38.212" v="1331" actId="47"/>
        <pc:sldMkLst>
          <pc:docMk/>
          <pc:sldMk cId="3419317640" sldId="2076136583"/>
        </pc:sldMkLst>
      </pc:sldChg>
      <pc:sldChg chg="addSp delSp modSp add mod">
        <pc:chgData name="Renata Festa" userId="6f22df47-533b-4c2a-a3c1-7f9ad1d63e10" providerId="ADAL" clId="{7D997690-04A4-4675-83D7-2E1CC2ED1A4E}" dt="2020-03-23T23:58:07.427" v="685" actId="1076"/>
        <pc:sldMkLst>
          <pc:docMk/>
          <pc:sldMk cId="4139485802" sldId="2076136636"/>
        </pc:sldMkLst>
        <pc:spChg chg="del">
          <ac:chgData name="Renata Festa" userId="6f22df47-533b-4c2a-a3c1-7f9ad1d63e10" providerId="ADAL" clId="{7D997690-04A4-4675-83D7-2E1CC2ED1A4E}" dt="2020-03-23T23:54:50.139" v="660" actId="478"/>
          <ac:spMkLst>
            <pc:docMk/>
            <pc:sldMk cId="4139485802" sldId="2076136636"/>
            <ac:spMk id="3" creationId="{DF0E8C89-EF85-403D-B0E5-C582519FD913}"/>
          </ac:spMkLst>
        </pc:spChg>
        <pc:spChg chg="add del mod">
          <ac:chgData name="Renata Festa" userId="6f22df47-533b-4c2a-a3c1-7f9ad1d63e10" providerId="ADAL" clId="{7D997690-04A4-4675-83D7-2E1CC2ED1A4E}" dt="2020-03-23T23:54:54.906" v="663"/>
          <ac:spMkLst>
            <pc:docMk/>
            <pc:sldMk cId="4139485802" sldId="2076136636"/>
            <ac:spMk id="4" creationId="{7AB83B0A-7D85-454B-B74A-2E23003F7159}"/>
          </ac:spMkLst>
        </pc:spChg>
        <pc:spChg chg="mod">
          <ac:chgData name="Renata Festa" userId="6f22df47-533b-4c2a-a3c1-7f9ad1d63e10" providerId="ADAL" clId="{7D997690-04A4-4675-83D7-2E1CC2ED1A4E}" dt="2020-03-23T23:57:04.105" v="677" actId="1076"/>
          <ac:spMkLst>
            <pc:docMk/>
            <pc:sldMk cId="4139485802" sldId="2076136636"/>
            <ac:spMk id="5" creationId="{A04AAEE3-EE01-4B1C-8DD8-2A42A55D7AC3}"/>
          </ac:spMkLst>
        </pc:spChg>
        <pc:spChg chg="mod">
          <ac:chgData name="Renata Festa" userId="6f22df47-533b-4c2a-a3c1-7f9ad1d63e10" providerId="ADAL" clId="{7D997690-04A4-4675-83D7-2E1CC2ED1A4E}" dt="2020-03-23T23:56:07.911" v="669" actId="1076"/>
          <ac:spMkLst>
            <pc:docMk/>
            <pc:sldMk cId="4139485802" sldId="2076136636"/>
            <ac:spMk id="6" creationId="{72FD3F85-2A87-42EA-BBFF-490B0EAA2DDF}"/>
          </ac:spMkLst>
        </pc:spChg>
        <pc:spChg chg="mod">
          <ac:chgData name="Renata Festa" userId="6f22df47-533b-4c2a-a3c1-7f9ad1d63e10" providerId="ADAL" clId="{7D997690-04A4-4675-83D7-2E1CC2ED1A4E}" dt="2020-03-23T23:57:21.412" v="679" actId="1076"/>
          <ac:spMkLst>
            <pc:docMk/>
            <pc:sldMk cId="4139485802" sldId="2076136636"/>
            <ac:spMk id="7" creationId="{8C977923-9A27-4145-AAD7-63FC82BE4CB4}"/>
          </ac:spMkLst>
        </pc:spChg>
        <pc:spChg chg="mod">
          <ac:chgData name="Renata Festa" userId="6f22df47-533b-4c2a-a3c1-7f9ad1d63e10" providerId="ADAL" clId="{7D997690-04A4-4675-83D7-2E1CC2ED1A4E}" dt="2020-03-23T23:57:09.305" v="678" actId="1076"/>
          <ac:spMkLst>
            <pc:docMk/>
            <pc:sldMk cId="4139485802" sldId="2076136636"/>
            <ac:spMk id="8" creationId="{1937399E-F9E4-4E56-9FBE-F7893D87D795}"/>
          </ac:spMkLst>
        </pc:spChg>
        <pc:spChg chg="mod">
          <ac:chgData name="Renata Festa" userId="6f22df47-533b-4c2a-a3c1-7f9ad1d63e10" providerId="ADAL" clId="{7D997690-04A4-4675-83D7-2E1CC2ED1A4E}" dt="2020-03-23T23:57:58.850" v="683" actId="1076"/>
          <ac:spMkLst>
            <pc:docMk/>
            <pc:sldMk cId="4139485802" sldId="2076136636"/>
            <ac:spMk id="9" creationId="{36E3E0F1-2F90-46BC-BF70-0E7231B44F7C}"/>
          </ac:spMkLst>
        </pc:spChg>
        <pc:spChg chg="mod">
          <ac:chgData name="Renata Festa" userId="6f22df47-533b-4c2a-a3c1-7f9ad1d63e10" providerId="ADAL" clId="{7D997690-04A4-4675-83D7-2E1CC2ED1A4E}" dt="2020-03-23T23:57:49.070" v="682" actId="1076"/>
          <ac:spMkLst>
            <pc:docMk/>
            <pc:sldMk cId="4139485802" sldId="2076136636"/>
            <ac:spMk id="10" creationId="{F4D73C3E-7D8A-4657-94AB-BACB4944E095}"/>
          </ac:spMkLst>
        </pc:spChg>
        <pc:spChg chg="mod">
          <ac:chgData name="Renata Festa" userId="6f22df47-533b-4c2a-a3c1-7f9ad1d63e10" providerId="ADAL" clId="{7D997690-04A4-4675-83D7-2E1CC2ED1A4E}" dt="2020-03-23T23:58:01.898" v="684" actId="1076"/>
          <ac:spMkLst>
            <pc:docMk/>
            <pc:sldMk cId="4139485802" sldId="2076136636"/>
            <ac:spMk id="11" creationId="{360C4140-7975-4122-B566-D31439099E4F}"/>
          </ac:spMkLst>
        </pc:spChg>
        <pc:spChg chg="add del">
          <ac:chgData name="Renata Festa" userId="6f22df47-533b-4c2a-a3c1-7f9ad1d63e10" providerId="ADAL" clId="{7D997690-04A4-4675-83D7-2E1CC2ED1A4E}" dt="2020-03-23T23:54:48.253" v="659"/>
          <ac:spMkLst>
            <pc:docMk/>
            <pc:sldMk cId="4139485802" sldId="2076136636"/>
            <ac:spMk id="12" creationId="{5E81AD8E-B8B3-4183-BCA7-392ADA0C2330}"/>
          </ac:spMkLst>
        </pc:spChg>
        <pc:spChg chg="mod">
          <ac:chgData name="Renata Festa" userId="6f22df47-533b-4c2a-a3c1-7f9ad1d63e10" providerId="ADAL" clId="{7D997690-04A4-4675-83D7-2E1CC2ED1A4E}" dt="2020-03-23T23:58:07.427" v="685" actId="1076"/>
          <ac:spMkLst>
            <pc:docMk/>
            <pc:sldMk cId="4139485802" sldId="2076136636"/>
            <ac:spMk id="13" creationId="{561B424C-EADA-4732-981C-47623685A634}"/>
          </ac:spMkLst>
        </pc:spChg>
        <pc:spChg chg="add del">
          <ac:chgData name="Renata Festa" userId="6f22df47-533b-4c2a-a3c1-7f9ad1d63e10" providerId="ADAL" clId="{7D997690-04A4-4675-83D7-2E1CC2ED1A4E}" dt="2020-03-23T23:54:51.593" v="662"/>
          <ac:spMkLst>
            <pc:docMk/>
            <pc:sldMk cId="4139485802" sldId="2076136636"/>
            <ac:spMk id="15" creationId="{E360FB81-BE2F-4568-8795-EB92304BBA35}"/>
          </ac:spMkLst>
        </pc:spChg>
        <pc:spChg chg="add mod">
          <ac:chgData name="Renata Festa" userId="6f22df47-533b-4c2a-a3c1-7f9ad1d63e10" providerId="ADAL" clId="{7D997690-04A4-4675-83D7-2E1CC2ED1A4E}" dt="2020-03-23T23:56:10.073" v="670" actId="404"/>
          <ac:spMkLst>
            <pc:docMk/>
            <pc:sldMk cId="4139485802" sldId="2076136636"/>
            <ac:spMk id="16" creationId="{4B7B82A7-A77E-4CD4-BCDA-38DF1AC60F9C}"/>
          </ac:spMkLst>
        </pc:spChg>
        <pc:graphicFrameChg chg="mod">
          <ac:chgData name="Renata Festa" userId="6f22df47-533b-4c2a-a3c1-7f9ad1d63e10" providerId="ADAL" clId="{7D997690-04A4-4675-83D7-2E1CC2ED1A4E}" dt="2020-03-23T23:56:07.911" v="669" actId="1076"/>
          <ac:graphicFrameMkLst>
            <pc:docMk/>
            <pc:sldMk cId="4139485802" sldId="2076136636"/>
            <ac:graphicFrameMk id="23" creationId="{B0DE46E9-B9D5-4510-A31A-1FBA0F0F23A2}"/>
          </ac:graphicFrameMkLst>
        </pc:graphicFrameChg>
        <pc:picChg chg="del mod">
          <ac:chgData name="Renata Festa" userId="6f22df47-533b-4c2a-a3c1-7f9ad1d63e10" providerId="ADAL" clId="{7D997690-04A4-4675-83D7-2E1CC2ED1A4E}" dt="2020-03-23T23:55:47.955" v="668" actId="27803"/>
          <ac:picMkLst>
            <pc:docMk/>
            <pc:sldMk cId="4139485802" sldId="2076136636"/>
            <ac:picMk id="26" creationId="{A04AAEE3-EE01-4B1C-8DD8-2A42A55D7AC3}"/>
          </ac:picMkLst>
        </pc:picChg>
        <pc:picChg chg="del mod">
          <ac:chgData name="Renata Festa" userId="6f22df47-533b-4c2a-a3c1-7f9ad1d63e10" providerId="ADAL" clId="{7D997690-04A4-4675-83D7-2E1CC2ED1A4E}" dt="2020-03-23T23:55:47.955" v="668" actId="27803"/>
          <ac:picMkLst>
            <pc:docMk/>
            <pc:sldMk cId="4139485802" sldId="2076136636"/>
            <ac:picMk id="28" creationId="{72FD3F85-2A87-42EA-BBFF-490B0EAA2DDF}"/>
          </ac:picMkLst>
        </pc:picChg>
        <pc:picChg chg="del mod">
          <ac:chgData name="Renata Festa" userId="6f22df47-533b-4c2a-a3c1-7f9ad1d63e10" providerId="ADAL" clId="{7D997690-04A4-4675-83D7-2E1CC2ED1A4E}" dt="2020-03-23T23:55:47.955" v="668" actId="27803"/>
          <ac:picMkLst>
            <pc:docMk/>
            <pc:sldMk cId="4139485802" sldId="2076136636"/>
            <ac:picMk id="29" creationId="{8C977923-9A27-4145-AAD7-63FC82BE4CB4}"/>
          </ac:picMkLst>
        </pc:picChg>
        <pc:picChg chg="del mod">
          <ac:chgData name="Renata Festa" userId="6f22df47-533b-4c2a-a3c1-7f9ad1d63e10" providerId="ADAL" clId="{7D997690-04A4-4675-83D7-2E1CC2ED1A4E}" dt="2020-03-23T23:55:47.955" v="668" actId="27803"/>
          <ac:picMkLst>
            <pc:docMk/>
            <pc:sldMk cId="4139485802" sldId="2076136636"/>
            <ac:picMk id="30" creationId="{1937399E-F9E4-4E56-9FBE-F7893D87D795}"/>
          </ac:picMkLst>
        </pc:picChg>
        <pc:picChg chg="del mod">
          <ac:chgData name="Renata Festa" userId="6f22df47-533b-4c2a-a3c1-7f9ad1d63e10" providerId="ADAL" clId="{7D997690-04A4-4675-83D7-2E1CC2ED1A4E}" dt="2020-03-23T23:55:47.955" v="668" actId="27803"/>
          <ac:picMkLst>
            <pc:docMk/>
            <pc:sldMk cId="4139485802" sldId="2076136636"/>
            <ac:picMk id="31" creationId="{36E3E0F1-2F90-46BC-BF70-0E7231B44F7C}"/>
          </ac:picMkLst>
        </pc:picChg>
        <pc:picChg chg="del mod">
          <ac:chgData name="Renata Festa" userId="6f22df47-533b-4c2a-a3c1-7f9ad1d63e10" providerId="ADAL" clId="{7D997690-04A4-4675-83D7-2E1CC2ED1A4E}" dt="2020-03-23T23:55:47.955" v="668" actId="27803"/>
          <ac:picMkLst>
            <pc:docMk/>
            <pc:sldMk cId="4139485802" sldId="2076136636"/>
            <ac:picMk id="32" creationId="{F4D73C3E-7D8A-4657-94AB-BACB4944E095}"/>
          </ac:picMkLst>
        </pc:picChg>
        <pc:picChg chg="del mod">
          <ac:chgData name="Renata Festa" userId="6f22df47-533b-4c2a-a3c1-7f9ad1d63e10" providerId="ADAL" clId="{7D997690-04A4-4675-83D7-2E1CC2ED1A4E}" dt="2020-03-23T23:55:47.955" v="668" actId="27803"/>
          <ac:picMkLst>
            <pc:docMk/>
            <pc:sldMk cId="4139485802" sldId="2076136636"/>
            <ac:picMk id="33" creationId="{360C4140-7975-4122-B566-D31439099E4F}"/>
          </ac:picMkLst>
        </pc:picChg>
        <pc:picChg chg="del mod">
          <ac:chgData name="Renata Festa" userId="6f22df47-533b-4c2a-a3c1-7f9ad1d63e10" providerId="ADAL" clId="{7D997690-04A4-4675-83D7-2E1CC2ED1A4E}" dt="2020-03-23T23:55:47.955" v="668" actId="27803"/>
          <ac:picMkLst>
            <pc:docMk/>
            <pc:sldMk cId="4139485802" sldId="2076136636"/>
            <ac:picMk id="34" creationId="{561B424C-EADA-4732-981C-47623685A634}"/>
          </ac:picMkLst>
        </pc:picChg>
      </pc:sldChg>
      <pc:sldChg chg="modSp add mod modShow modNotesTx">
        <pc:chgData name="Renata Festa" userId="6f22df47-533b-4c2a-a3c1-7f9ad1d63e10" providerId="ADAL" clId="{7D997690-04A4-4675-83D7-2E1CC2ED1A4E}" dt="2020-03-24T00:12:00.057" v="918" actId="207"/>
        <pc:sldMkLst>
          <pc:docMk/>
          <pc:sldMk cId="3163075682" sldId="2076136637"/>
        </pc:sldMkLst>
        <pc:spChg chg="mod">
          <ac:chgData name="Renata Festa" userId="6f22df47-533b-4c2a-a3c1-7f9ad1d63e10" providerId="ADAL" clId="{7D997690-04A4-4675-83D7-2E1CC2ED1A4E}" dt="2020-03-24T00:12:00.057" v="918" actId="207"/>
          <ac:spMkLst>
            <pc:docMk/>
            <pc:sldMk cId="3163075682" sldId="2076136637"/>
            <ac:spMk id="3" creationId="{8F64A22E-2B43-4FC6-AF08-0CDB3F9E9269}"/>
          </ac:spMkLst>
        </pc:spChg>
        <pc:spChg chg="mod">
          <ac:chgData name="Renata Festa" userId="6f22df47-533b-4c2a-a3c1-7f9ad1d63e10" providerId="ADAL" clId="{7D997690-04A4-4675-83D7-2E1CC2ED1A4E}" dt="2020-03-24T00:11:32.259" v="914"/>
          <ac:spMkLst>
            <pc:docMk/>
            <pc:sldMk cId="3163075682" sldId="2076136637"/>
            <ac:spMk id="6" creationId="{637E159C-9ACF-48AE-927A-D5FB13695C7F}"/>
          </ac:spMkLst>
        </pc:spChg>
      </pc:sldChg>
      <pc:sldChg chg="addSp delSp modSp add mod modNotesTx">
        <pc:chgData name="Renata Festa" userId="6f22df47-533b-4c2a-a3c1-7f9ad1d63e10" providerId="ADAL" clId="{7D997690-04A4-4675-83D7-2E1CC2ED1A4E}" dt="2020-03-24T17:32:10.315" v="2361"/>
        <pc:sldMkLst>
          <pc:docMk/>
          <pc:sldMk cId="2276845176" sldId="2076136638"/>
        </pc:sldMkLst>
        <pc:spChg chg="mod">
          <ac:chgData name="Renata Festa" userId="6f22df47-533b-4c2a-a3c1-7f9ad1d63e10" providerId="ADAL" clId="{7D997690-04A4-4675-83D7-2E1CC2ED1A4E}" dt="2020-03-24T00:17:17.508" v="967"/>
          <ac:spMkLst>
            <pc:docMk/>
            <pc:sldMk cId="2276845176" sldId="2076136638"/>
            <ac:spMk id="2" creationId="{EB67312A-9819-43C6-8D84-D9136E6CFFCC}"/>
          </ac:spMkLst>
        </pc:spChg>
        <pc:spChg chg="del">
          <ac:chgData name="Renata Festa" userId="6f22df47-533b-4c2a-a3c1-7f9ad1d63e10" providerId="ADAL" clId="{7D997690-04A4-4675-83D7-2E1CC2ED1A4E}" dt="2020-03-24T14:00:41.885" v="1628" actId="478"/>
          <ac:spMkLst>
            <pc:docMk/>
            <pc:sldMk cId="2276845176" sldId="2076136638"/>
            <ac:spMk id="3" creationId="{F35E8CBB-5A7D-4DEF-BAF7-8DD5D042F9E0}"/>
          </ac:spMkLst>
        </pc:spChg>
        <pc:spChg chg="add del">
          <ac:chgData name="Renata Festa" userId="6f22df47-533b-4c2a-a3c1-7f9ad1d63e10" providerId="ADAL" clId="{7D997690-04A4-4675-83D7-2E1CC2ED1A4E}" dt="2020-03-24T00:17:46.724" v="973"/>
          <ac:spMkLst>
            <pc:docMk/>
            <pc:sldMk cId="2276845176" sldId="2076136638"/>
            <ac:spMk id="5" creationId="{B20D3EE4-0F7A-464B-B75B-33E4D092D402}"/>
          </ac:spMkLst>
        </pc:spChg>
        <pc:spChg chg="add del">
          <ac:chgData name="Renata Festa" userId="6f22df47-533b-4c2a-a3c1-7f9ad1d63e10" providerId="ADAL" clId="{7D997690-04A4-4675-83D7-2E1CC2ED1A4E}" dt="2020-03-24T00:17:46.724" v="973"/>
          <ac:spMkLst>
            <pc:docMk/>
            <pc:sldMk cId="2276845176" sldId="2076136638"/>
            <ac:spMk id="6" creationId="{7A710421-7567-42C0-89E2-06B97832C710}"/>
          </ac:spMkLst>
        </pc:spChg>
        <pc:spChg chg="add del">
          <ac:chgData name="Renata Festa" userId="6f22df47-533b-4c2a-a3c1-7f9ad1d63e10" providerId="ADAL" clId="{7D997690-04A4-4675-83D7-2E1CC2ED1A4E}" dt="2020-03-24T00:17:46.724" v="973"/>
          <ac:spMkLst>
            <pc:docMk/>
            <pc:sldMk cId="2276845176" sldId="2076136638"/>
            <ac:spMk id="9" creationId="{D942EFC3-9D84-45C5-B1F5-81331F296907}"/>
          </ac:spMkLst>
        </pc:spChg>
        <pc:spChg chg="add del">
          <ac:chgData name="Renata Festa" userId="6f22df47-533b-4c2a-a3c1-7f9ad1d63e10" providerId="ADAL" clId="{7D997690-04A4-4675-83D7-2E1CC2ED1A4E}" dt="2020-03-24T00:17:46.724" v="973"/>
          <ac:spMkLst>
            <pc:docMk/>
            <pc:sldMk cId="2276845176" sldId="2076136638"/>
            <ac:spMk id="10" creationId="{04F4022A-8E1C-45B1-BD87-3478DC839484}"/>
          </ac:spMkLst>
        </pc:spChg>
        <pc:spChg chg="add del">
          <ac:chgData name="Renata Festa" userId="6f22df47-533b-4c2a-a3c1-7f9ad1d63e10" providerId="ADAL" clId="{7D997690-04A4-4675-83D7-2E1CC2ED1A4E}" dt="2020-03-24T00:17:54.998" v="975"/>
          <ac:spMkLst>
            <pc:docMk/>
            <pc:sldMk cId="2276845176" sldId="2076136638"/>
            <ac:spMk id="11" creationId="{C956DD38-C47E-4192-B1A2-6358C0A7CB9E}"/>
          </ac:spMkLst>
        </pc:spChg>
        <pc:spChg chg="add del">
          <ac:chgData name="Renata Festa" userId="6f22df47-533b-4c2a-a3c1-7f9ad1d63e10" providerId="ADAL" clId="{7D997690-04A4-4675-83D7-2E1CC2ED1A4E}" dt="2020-03-24T00:17:54.998" v="975"/>
          <ac:spMkLst>
            <pc:docMk/>
            <pc:sldMk cId="2276845176" sldId="2076136638"/>
            <ac:spMk id="12" creationId="{73792AA2-49D9-4EB1-8B38-60E38DBE976D}"/>
          </ac:spMkLst>
        </pc:spChg>
        <pc:spChg chg="add del">
          <ac:chgData name="Renata Festa" userId="6f22df47-533b-4c2a-a3c1-7f9ad1d63e10" providerId="ADAL" clId="{7D997690-04A4-4675-83D7-2E1CC2ED1A4E}" dt="2020-03-24T00:17:54.998" v="975"/>
          <ac:spMkLst>
            <pc:docMk/>
            <pc:sldMk cId="2276845176" sldId="2076136638"/>
            <ac:spMk id="15" creationId="{C58F510E-1239-4A13-A718-A51B51029E78}"/>
          </ac:spMkLst>
        </pc:spChg>
        <pc:spChg chg="add del">
          <ac:chgData name="Renata Festa" userId="6f22df47-533b-4c2a-a3c1-7f9ad1d63e10" providerId="ADAL" clId="{7D997690-04A4-4675-83D7-2E1CC2ED1A4E}" dt="2020-03-24T00:17:54.998" v="975"/>
          <ac:spMkLst>
            <pc:docMk/>
            <pc:sldMk cId="2276845176" sldId="2076136638"/>
            <ac:spMk id="16" creationId="{42B7C181-9D33-4141-BCAC-3547EAE698B6}"/>
          </ac:spMkLst>
        </pc:spChg>
        <pc:spChg chg="add mod">
          <ac:chgData name="Renata Festa" userId="6f22df47-533b-4c2a-a3c1-7f9ad1d63e10" providerId="ADAL" clId="{7D997690-04A4-4675-83D7-2E1CC2ED1A4E}" dt="2020-03-24T12:34:16.753" v="1042" actId="1076"/>
          <ac:spMkLst>
            <pc:docMk/>
            <pc:sldMk cId="2276845176" sldId="2076136638"/>
            <ac:spMk id="17" creationId="{0A585082-47F3-47F5-A911-31E2E02C9261}"/>
          </ac:spMkLst>
        </pc:spChg>
        <pc:spChg chg="add mod">
          <ac:chgData name="Renata Festa" userId="6f22df47-533b-4c2a-a3c1-7f9ad1d63e10" providerId="ADAL" clId="{7D997690-04A4-4675-83D7-2E1CC2ED1A4E}" dt="2020-03-24T12:33:33.425" v="1038" actId="1076"/>
          <ac:spMkLst>
            <pc:docMk/>
            <pc:sldMk cId="2276845176" sldId="2076136638"/>
            <ac:spMk id="18" creationId="{6D7C4E30-6111-4271-BC05-25E67C4EE2DB}"/>
          </ac:spMkLst>
        </pc:spChg>
        <pc:spChg chg="add del mod">
          <ac:chgData name="Renata Festa" userId="6f22df47-533b-4c2a-a3c1-7f9ad1d63e10" providerId="ADAL" clId="{7D997690-04A4-4675-83D7-2E1CC2ED1A4E}" dt="2020-03-24T00:18:12.148" v="978" actId="478"/>
          <ac:spMkLst>
            <pc:docMk/>
            <pc:sldMk cId="2276845176" sldId="2076136638"/>
            <ac:spMk id="21" creationId="{FAD33DE4-376B-4220-83D6-254BC24EE3A7}"/>
          </ac:spMkLst>
        </pc:spChg>
        <pc:spChg chg="add mod">
          <ac:chgData name="Renata Festa" userId="6f22df47-533b-4c2a-a3c1-7f9ad1d63e10" providerId="ADAL" clId="{7D997690-04A4-4675-83D7-2E1CC2ED1A4E}" dt="2020-03-24T00:27:00.536" v="1036" actId="1035"/>
          <ac:spMkLst>
            <pc:docMk/>
            <pc:sldMk cId="2276845176" sldId="2076136638"/>
            <ac:spMk id="22" creationId="{B7311D23-B138-44D3-954D-14C71307B8D4}"/>
          </ac:spMkLst>
        </pc:spChg>
        <pc:graphicFrameChg chg="add del">
          <ac:chgData name="Renata Festa" userId="6f22df47-533b-4c2a-a3c1-7f9ad1d63e10" providerId="ADAL" clId="{7D997690-04A4-4675-83D7-2E1CC2ED1A4E}" dt="2020-03-24T00:17:46.724" v="973"/>
          <ac:graphicFrameMkLst>
            <pc:docMk/>
            <pc:sldMk cId="2276845176" sldId="2076136638"/>
            <ac:graphicFrameMk id="8" creationId="{5EEBEDD1-A606-4283-B187-B7A8EEC8B0CD}"/>
          </ac:graphicFrameMkLst>
        </pc:graphicFrameChg>
        <pc:graphicFrameChg chg="add del">
          <ac:chgData name="Renata Festa" userId="6f22df47-533b-4c2a-a3c1-7f9ad1d63e10" providerId="ADAL" clId="{7D997690-04A4-4675-83D7-2E1CC2ED1A4E}" dt="2020-03-24T00:17:54.998" v="975"/>
          <ac:graphicFrameMkLst>
            <pc:docMk/>
            <pc:sldMk cId="2276845176" sldId="2076136638"/>
            <ac:graphicFrameMk id="14" creationId="{64A8DEAD-DCED-44D2-AB90-8992D8944A29}"/>
          </ac:graphicFrameMkLst>
        </pc:graphicFrameChg>
        <pc:graphicFrameChg chg="add mod modGraphic">
          <ac:chgData name="Renata Festa" userId="6f22df47-533b-4c2a-a3c1-7f9ad1d63e10" providerId="ADAL" clId="{7D997690-04A4-4675-83D7-2E1CC2ED1A4E}" dt="2020-03-24T17:32:10.315" v="2361"/>
          <ac:graphicFrameMkLst>
            <pc:docMk/>
            <pc:sldMk cId="2276845176" sldId="2076136638"/>
            <ac:graphicFrameMk id="20" creationId="{2A52DC15-A65C-4604-8292-93B527600C4A}"/>
          </ac:graphicFrameMkLst>
        </pc:graphicFrameChg>
        <pc:cxnChg chg="add del">
          <ac:chgData name="Renata Festa" userId="6f22df47-533b-4c2a-a3c1-7f9ad1d63e10" providerId="ADAL" clId="{7D997690-04A4-4675-83D7-2E1CC2ED1A4E}" dt="2020-03-24T00:17:46.724" v="973"/>
          <ac:cxnSpMkLst>
            <pc:docMk/>
            <pc:sldMk cId="2276845176" sldId="2076136638"/>
            <ac:cxnSpMk id="7" creationId="{0AC8F703-6F3A-4E99-A70A-8236DB80AE81}"/>
          </ac:cxnSpMkLst>
        </pc:cxnChg>
        <pc:cxnChg chg="add del">
          <ac:chgData name="Renata Festa" userId="6f22df47-533b-4c2a-a3c1-7f9ad1d63e10" providerId="ADAL" clId="{7D997690-04A4-4675-83D7-2E1CC2ED1A4E}" dt="2020-03-24T00:17:54.998" v="975"/>
          <ac:cxnSpMkLst>
            <pc:docMk/>
            <pc:sldMk cId="2276845176" sldId="2076136638"/>
            <ac:cxnSpMk id="13" creationId="{BCB700D6-EB90-40B6-AD87-DA1825B6A44F}"/>
          </ac:cxnSpMkLst>
        </pc:cxnChg>
        <pc:cxnChg chg="add mod">
          <ac:chgData name="Renata Festa" userId="6f22df47-533b-4c2a-a3c1-7f9ad1d63e10" providerId="ADAL" clId="{7D997690-04A4-4675-83D7-2E1CC2ED1A4E}" dt="2020-03-24T12:34:12.906" v="1041" actId="14100"/>
          <ac:cxnSpMkLst>
            <pc:docMk/>
            <pc:sldMk cId="2276845176" sldId="2076136638"/>
            <ac:cxnSpMk id="19" creationId="{599E692F-A61C-4F2D-BE95-7150B40A8E5F}"/>
          </ac:cxnSpMkLst>
        </pc:cxnChg>
      </pc:sldChg>
      <pc:sldChg chg="delSp modSp add del mod">
        <pc:chgData name="Renata Festa" userId="6f22df47-533b-4c2a-a3c1-7f9ad1d63e10" providerId="ADAL" clId="{7D997690-04A4-4675-83D7-2E1CC2ED1A4E}" dt="2020-03-26T23:21:01.251" v="4953" actId="47"/>
        <pc:sldMkLst>
          <pc:docMk/>
          <pc:sldMk cId="1545590404" sldId="2076136639"/>
        </pc:sldMkLst>
        <pc:spChg chg="mod">
          <ac:chgData name="Renata Festa" userId="6f22df47-533b-4c2a-a3c1-7f9ad1d63e10" providerId="ADAL" clId="{7D997690-04A4-4675-83D7-2E1CC2ED1A4E}" dt="2020-03-24T12:34:45.170" v="1044" actId="20577"/>
          <ac:spMkLst>
            <pc:docMk/>
            <pc:sldMk cId="1545590404" sldId="2076136639"/>
            <ac:spMk id="2" creationId="{EB67312A-9819-43C6-8D84-D9136E6CFFCC}"/>
          </ac:spMkLst>
        </pc:spChg>
        <pc:spChg chg="del">
          <ac:chgData name="Renata Festa" userId="6f22df47-533b-4c2a-a3c1-7f9ad1d63e10" providerId="ADAL" clId="{7D997690-04A4-4675-83D7-2E1CC2ED1A4E}" dt="2020-03-24T14:00:38.667" v="1627" actId="478"/>
          <ac:spMkLst>
            <pc:docMk/>
            <pc:sldMk cId="1545590404" sldId="2076136639"/>
            <ac:spMk id="3" creationId="{F35E8CBB-5A7D-4DEF-BAF7-8DD5D042F9E0}"/>
          </ac:spMkLst>
        </pc:spChg>
        <pc:spChg chg="mod">
          <ac:chgData name="Renata Festa" userId="6f22df47-533b-4c2a-a3c1-7f9ad1d63e10" providerId="ADAL" clId="{7D997690-04A4-4675-83D7-2E1CC2ED1A4E}" dt="2020-03-24T12:35:53.498" v="1061"/>
          <ac:spMkLst>
            <pc:docMk/>
            <pc:sldMk cId="1545590404" sldId="2076136639"/>
            <ac:spMk id="4" creationId="{F3616A99-090F-45E1-9334-58D58B148205}"/>
          </ac:spMkLst>
        </pc:spChg>
      </pc:sldChg>
      <pc:sldChg chg="addSp delSp modSp add mod ord modShow">
        <pc:chgData name="Renata Festa" userId="6f22df47-533b-4c2a-a3c1-7f9ad1d63e10" providerId="ADAL" clId="{7D997690-04A4-4675-83D7-2E1CC2ED1A4E}" dt="2020-03-24T13:59:52.433" v="1625" actId="478"/>
        <pc:sldMkLst>
          <pc:docMk/>
          <pc:sldMk cId="1015519254" sldId="2076136640"/>
        </pc:sldMkLst>
        <pc:spChg chg="add del mod">
          <ac:chgData name="Renata Festa" userId="6f22df47-533b-4c2a-a3c1-7f9ad1d63e10" providerId="ADAL" clId="{7D997690-04A4-4675-83D7-2E1CC2ED1A4E}" dt="2020-03-24T13:59:50.836" v="1624" actId="478"/>
          <ac:spMkLst>
            <pc:docMk/>
            <pc:sldMk cId="1015519254" sldId="2076136640"/>
            <ac:spMk id="2" creationId="{EB67312A-9819-43C6-8D84-D9136E6CFFCC}"/>
          </ac:spMkLst>
        </pc:spChg>
        <pc:spChg chg="del">
          <ac:chgData name="Renata Festa" userId="6f22df47-533b-4c2a-a3c1-7f9ad1d63e10" providerId="ADAL" clId="{7D997690-04A4-4675-83D7-2E1CC2ED1A4E}" dt="2020-03-24T12:48:58.976" v="1231"/>
          <ac:spMkLst>
            <pc:docMk/>
            <pc:sldMk cId="1015519254" sldId="2076136640"/>
            <ac:spMk id="3" creationId="{F35E8CBB-5A7D-4DEF-BAF7-8DD5D042F9E0}"/>
          </ac:spMkLst>
        </pc:spChg>
        <pc:spChg chg="del">
          <ac:chgData name="Renata Festa" userId="6f22df47-533b-4c2a-a3c1-7f9ad1d63e10" providerId="ADAL" clId="{7D997690-04A4-4675-83D7-2E1CC2ED1A4E}" dt="2020-03-24T12:48:43.968" v="1227"/>
          <ac:spMkLst>
            <pc:docMk/>
            <pc:sldMk cId="1015519254" sldId="2076136640"/>
            <ac:spMk id="4" creationId="{F3616A99-090F-45E1-9334-58D58B148205}"/>
          </ac:spMkLst>
        </pc:spChg>
        <pc:spChg chg="add del mod">
          <ac:chgData name="Renata Festa" userId="6f22df47-533b-4c2a-a3c1-7f9ad1d63e10" providerId="ADAL" clId="{7D997690-04A4-4675-83D7-2E1CC2ED1A4E}" dt="2020-03-24T13:59:52.433" v="1625" actId="478"/>
          <ac:spMkLst>
            <pc:docMk/>
            <pc:sldMk cId="1015519254" sldId="2076136640"/>
            <ac:spMk id="9" creationId="{1F6E770C-8DBF-46BA-91D2-21F8F8410D1A}"/>
          </ac:spMkLst>
        </pc:spChg>
        <pc:spChg chg="add mod">
          <ac:chgData name="Renata Festa" userId="6f22df47-533b-4c2a-a3c1-7f9ad1d63e10" providerId="ADAL" clId="{7D997690-04A4-4675-83D7-2E1CC2ED1A4E}" dt="2020-03-24T12:51:37.507" v="1267" actId="1038"/>
          <ac:spMkLst>
            <pc:docMk/>
            <pc:sldMk cId="1015519254" sldId="2076136640"/>
            <ac:spMk id="10" creationId="{0380E9C7-5CE5-4819-92D1-4AC17221379C}"/>
          </ac:spMkLst>
        </pc:spChg>
        <pc:spChg chg="add mod">
          <ac:chgData name="Renata Festa" userId="6f22df47-533b-4c2a-a3c1-7f9ad1d63e10" providerId="ADAL" clId="{7D997690-04A4-4675-83D7-2E1CC2ED1A4E}" dt="2020-03-24T12:51:41.444" v="1274" actId="1036"/>
          <ac:spMkLst>
            <pc:docMk/>
            <pc:sldMk cId="1015519254" sldId="2076136640"/>
            <ac:spMk id="11" creationId="{DC8A9DD2-E5FA-4467-8DD2-6474AAD1F77C}"/>
          </ac:spMkLst>
        </pc:spChg>
        <pc:spChg chg="add mod">
          <ac:chgData name="Renata Festa" userId="6f22df47-533b-4c2a-a3c1-7f9ad1d63e10" providerId="ADAL" clId="{7D997690-04A4-4675-83D7-2E1CC2ED1A4E}" dt="2020-03-24T12:51:37.507" v="1267" actId="1038"/>
          <ac:spMkLst>
            <pc:docMk/>
            <pc:sldMk cId="1015519254" sldId="2076136640"/>
            <ac:spMk id="12" creationId="{B3206252-431B-453D-9991-4631A172520A}"/>
          </ac:spMkLst>
        </pc:spChg>
        <pc:spChg chg="add mod">
          <ac:chgData name="Renata Festa" userId="6f22df47-533b-4c2a-a3c1-7f9ad1d63e10" providerId="ADAL" clId="{7D997690-04A4-4675-83D7-2E1CC2ED1A4E}" dt="2020-03-24T12:51:37.507" v="1267" actId="1038"/>
          <ac:spMkLst>
            <pc:docMk/>
            <pc:sldMk cId="1015519254" sldId="2076136640"/>
            <ac:spMk id="13" creationId="{FAEA30B0-BC74-43E8-9540-FD3C6FBAEE6B}"/>
          </ac:spMkLst>
        </pc:spChg>
        <pc:spChg chg="add mod">
          <ac:chgData name="Renata Festa" userId="6f22df47-533b-4c2a-a3c1-7f9ad1d63e10" providerId="ADAL" clId="{7D997690-04A4-4675-83D7-2E1CC2ED1A4E}" dt="2020-03-24T12:51:37.507" v="1267" actId="1038"/>
          <ac:spMkLst>
            <pc:docMk/>
            <pc:sldMk cId="1015519254" sldId="2076136640"/>
            <ac:spMk id="16" creationId="{F1947A04-C1F6-43AC-9273-2090A9A2624C}"/>
          </ac:spMkLst>
        </pc:spChg>
        <pc:spChg chg="add mod">
          <ac:chgData name="Renata Festa" userId="6f22df47-533b-4c2a-a3c1-7f9ad1d63e10" providerId="ADAL" clId="{7D997690-04A4-4675-83D7-2E1CC2ED1A4E}" dt="2020-03-24T12:51:37.507" v="1267" actId="1038"/>
          <ac:spMkLst>
            <pc:docMk/>
            <pc:sldMk cId="1015519254" sldId="2076136640"/>
            <ac:spMk id="81" creationId="{6B1B062D-6075-4C53-9FAF-443E1BAD5E6E}"/>
          </ac:spMkLst>
        </pc:spChg>
        <pc:spChg chg="add mod">
          <ac:chgData name="Renata Festa" userId="6f22df47-533b-4c2a-a3c1-7f9ad1d63e10" providerId="ADAL" clId="{7D997690-04A4-4675-83D7-2E1CC2ED1A4E}" dt="2020-03-24T12:51:37.507" v="1267" actId="1038"/>
          <ac:spMkLst>
            <pc:docMk/>
            <pc:sldMk cId="1015519254" sldId="2076136640"/>
            <ac:spMk id="82" creationId="{FD0EB85E-A118-46A0-AD1B-48B898A96C8D}"/>
          </ac:spMkLst>
        </pc:spChg>
        <pc:spChg chg="add mod">
          <ac:chgData name="Renata Festa" userId="6f22df47-533b-4c2a-a3c1-7f9ad1d63e10" providerId="ADAL" clId="{7D997690-04A4-4675-83D7-2E1CC2ED1A4E}" dt="2020-03-24T12:51:37.507" v="1267" actId="1038"/>
          <ac:spMkLst>
            <pc:docMk/>
            <pc:sldMk cId="1015519254" sldId="2076136640"/>
            <ac:spMk id="83" creationId="{F1B68ECC-ABB5-41A2-9B62-A7D689628577}"/>
          </ac:spMkLst>
        </pc:spChg>
        <pc:spChg chg="add mod">
          <ac:chgData name="Renata Festa" userId="6f22df47-533b-4c2a-a3c1-7f9ad1d63e10" providerId="ADAL" clId="{7D997690-04A4-4675-83D7-2E1CC2ED1A4E}" dt="2020-03-24T12:51:37.507" v="1267" actId="1038"/>
          <ac:spMkLst>
            <pc:docMk/>
            <pc:sldMk cId="1015519254" sldId="2076136640"/>
            <ac:spMk id="84" creationId="{79760D8B-72F7-4C5C-8215-72F93D3D38C2}"/>
          </ac:spMkLst>
        </pc:spChg>
        <pc:spChg chg="add mod">
          <ac:chgData name="Renata Festa" userId="6f22df47-533b-4c2a-a3c1-7f9ad1d63e10" providerId="ADAL" clId="{7D997690-04A4-4675-83D7-2E1CC2ED1A4E}" dt="2020-03-24T12:51:37.507" v="1267" actId="1038"/>
          <ac:spMkLst>
            <pc:docMk/>
            <pc:sldMk cId="1015519254" sldId="2076136640"/>
            <ac:spMk id="85" creationId="{FE7B9824-7D21-4B6B-9E93-7DA22B9EAAFC}"/>
          </ac:spMkLst>
        </pc:spChg>
        <pc:spChg chg="add del mod">
          <ac:chgData name="Renata Festa" userId="6f22df47-533b-4c2a-a3c1-7f9ad1d63e10" providerId="ADAL" clId="{7D997690-04A4-4675-83D7-2E1CC2ED1A4E}" dt="2020-03-24T12:52:43.748" v="1278" actId="478"/>
          <ac:spMkLst>
            <pc:docMk/>
            <pc:sldMk cId="1015519254" sldId="2076136640"/>
            <ac:spMk id="87" creationId="{7F4EB0E1-061F-4337-9A09-ABB99CD57E4F}"/>
          </ac:spMkLst>
        </pc:spChg>
        <pc:spChg chg="add del mod">
          <ac:chgData name="Renata Festa" userId="6f22df47-533b-4c2a-a3c1-7f9ad1d63e10" providerId="ADAL" clId="{7D997690-04A4-4675-83D7-2E1CC2ED1A4E}" dt="2020-03-24T12:53:19.128" v="1285"/>
          <ac:spMkLst>
            <pc:docMk/>
            <pc:sldMk cId="1015519254" sldId="2076136640"/>
            <ac:spMk id="89" creationId="{7B398A43-E8F8-4022-83B3-D24225D03924}"/>
          </ac:spMkLst>
        </pc:spChg>
        <pc:spChg chg="add del mod">
          <ac:chgData name="Renata Festa" userId="6f22df47-533b-4c2a-a3c1-7f9ad1d63e10" providerId="ADAL" clId="{7D997690-04A4-4675-83D7-2E1CC2ED1A4E}" dt="2020-03-24T12:53:43.480" v="1288"/>
          <ac:spMkLst>
            <pc:docMk/>
            <pc:sldMk cId="1015519254" sldId="2076136640"/>
            <ac:spMk id="93" creationId="{2FB516ED-64D4-40BC-A012-207D74F3CBFD}"/>
          </ac:spMkLst>
        </pc:spChg>
        <pc:spChg chg="add del mod">
          <ac:chgData name="Renata Festa" userId="6f22df47-533b-4c2a-a3c1-7f9ad1d63e10" providerId="ADAL" clId="{7D997690-04A4-4675-83D7-2E1CC2ED1A4E}" dt="2020-03-24T13:59:50.836" v="1624" actId="478"/>
          <ac:spMkLst>
            <pc:docMk/>
            <pc:sldMk cId="1015519254" sldId="2076136640"/>
            <ac:spMk id="95" creationId="{F0B38EBC-FBE0-4374-8A4B-1190B603A42C}"/>
          </ac:spMkLst>
        </pc:spChg>
        <pc:grpChg chg="add mod">
          <ac:chgData name="Renata Festa" userId="6f22df47-533b-4c2a-a3c1-7f9ad1d63e10" providerId="ADAL" clId="{7D997690-04A4-4675-83D7-2E1CC2ED1A4E}" dt="2020-03-24T12:48:22.313" v="1222" actId="1076"/>
          <ac:grpSpMkLst>
            <pc:docMk/>
            <pc:sldMk cId="1015519254" sldId="2076136640"/>
            <ac:grpSpMk id="5" creationId="{9FE57B5C-127F-4256-9B0A-27DF2022ECC8}"/>
          </ac:grpSpMkLst>
        </pc:grpChg>
        <pc:grpChg chg="add mod">
          <ac:chgData name="Renata Festa" userId="6f22df47-533b-4c2a-a3c1-7f9ad1d63e10" providerId="ADAL" clId="{7D997690-04A4-4675-83D7-2E1CC2ED1A4E}" dt="2020-03-24T12:51:37.507" v="1267" actId="1038"/>
          <ac:grpSpMkLst>
            <pc:docMk/>
            <pc:sldMk cId="1015519254" sldId="2076136640"/>
            <ac:grpSpMk id="17" creationId="{9B3C532A-27A1-47BC-97A3-2F42EA094F8C}"/>
          </ac:grpSpMkLst>
        </pc:grpChg>
        <pc:grpChg chg="add mod">
          <ac:chgData name="Renata Festa" userId="6f22df47-533b-4c2a-a3c1-7f9ad1d63e10" providerId="ADAL" clId="{7D997690-04A4-4675-83D7-2E1CC2ED1A4E}" dt="2020-03-24T12:51:37.507" v="1267" actId="1038"/>
          <ac:grpSpMkLst>
            <pc:docMk/>
            <pc:sldMk cId="1015519254" sldId="2076136640"/>
            <ac:grpSpMk id="33" creationId="{71F58C6E-B40C-423B-82A2-6833DFD6F55E}"/>
          </ac:grpSpMkLst>
        </pc:grpChg>
        <pc:grpChg chg="add mod">
          <ac:chgData name="Renata Festa" userId="6f22df47-533b-4c2a-a3c1-7f9ad1d63e10" providerId="ADAL" clId="{7D997690-04A4-4675-83D7-2E1CC2ED1A4E}" dt="2020-03-24T12:51:37.507" v="1267" actId="1038"/>
          <ac:grpSpMkLst>
            <pc:docMk/>
            <pc:sldMk cId="1015519254" sldId="2076136640"/>
            <ac:grpSpMk id="49" creationId="{29714D62-13B6-4299-865E-3DF4067B2FBC}"/>
          </ac:grpSpMkLst>
        </pc:grpChg>
        <pc:grpChg chg="add mod">
          <ac:chgData name="Renata Festa" userId="6f22df47-533b-4c2a-a3c1-7f9ad1d63e10" providerId="ADAL" clId="{7D997690-04A4-4675-83D7-2E1CC2ED1A4E}" dt="2020-03-24T12:51:37.507" v="1267" actId="1038"/>
          <ac:grpSpMkLst>
            <pc:docMk/>
            <pc:sldMk cId="1015519254" sldId="2076136640"/>
            <ac:grpSpMk id="65" creationId="{81D64A12-2FF9-4753-99C4-0697BC47A03B}"/>
          </ac:grpSpMkLst>
        </pc:grpChg>
        <pc:graphicFrameChg chg="add del mod modGraphic">
          <ac:chgData name="Renata Festa" userId="6f22df47-533b-4c2a-a3c1-7f9ad1d63e10" providerId="ADAL" clId="{7D997690-04A4-4675-83D7-2E1CC2ED1A4E}" dt="2020-03-24T12:52:54.323" v="1280" actId="478"/>
          <ac:graphicFrameMkLst>
            <pc:docMk/>
            <pc:sldMk cId="1015519254" sldId="2076136640"/>
            <ac:graphicFrameMk id="8" creationId="{92742565-A5A6-416E-910C-F429763F3CA8}"/>
          </ac:graphicFrameMkLst>
        </pc:graphicFrameChg>
        <pc:graphicFrameChg chg="add del mod">
          <ac:chgData name="Renata Festa" userId="6f22df47-533b-4c2a-a3c1-7f9ad1d63e10" providerId="ADAL" clId="{7D997690-04A4-4675-83D7-2E1CC2ED1A4E}" dt="2020-03-24T12:53:10.820" v="1282"/>
          <ac:graphicFrameMkLst>
            <pc:docMk/>
            <pc:sldMk cId="1015519254" sldId="2076136640"/>
            <ac:graphicFrameMk id="90" creationId="{5E1C382C-28AF-4804-B375-0DBA238266B0}"/>
          </ac:graphicFrameMkLst>
        </pc:graphicFrameChg>
        <pc:graphicFrameChg chg="add del mod">
          <ac:chgData name="Renata Festa" userId="6f22df47-533b-4c2a-a3c1-7f9ad1d63e10" providerId="ADAL" clId="{7D997690-04A4-4675-83D7-2E1CC2ED1A4E}" dt="2020-03-24T12:53:13.763" v="1284"/>
          <ac:graphicFrameMkLst>
            <pc:docMk/>
            <pc:sldMk cId="1015519254" sldId="2076136640"/>
            <ac:graphicFrameMk id="91" creationId="{C771FAF8-9EE7-44F9-80C1-125364F198A5}"/>
          </ac:graphicFrameMkLst>
        </pc:graphicFrameChg>
        <pc:graphicFrameChg chg="add mod modGraphic">
          <ac:chgData name="Renata Festa" userId="6f22df47-533b-4c2a-a3c1-7f9ad1d63e10" providerId="ADAL" clId="{7D997690-04A4-4675-83D7-2E1CC2ED1A4E}" dt="2020-03-24T12:54:09.319" v="1297" actId="14734"/>
          <ac:graphicFrameMkLst>
            <pc:docMk/>
            <pc:sldMk cId="1015519254" sldId="2076136640"/>
            <ac:graphicFrameMk id="92" creationId="{81F30FB2-0620-4461-9753-54435887FC54}"/>
          </ac:graphicFrameMkLst>
        </pc:graphicFrameChg>
        <pc:cxnChg chg="add mod">
          <ac:chgData name="Renata Festa" userId="6f22df47-533b-4c2a-a3c1-7f9ad1d63e10" providerId="ADAL" clId="{7D997690-04A4-4675-83D7-2E1CC2ED1A4E}" dt="2020-03-24T12:51:37.507" v="1267" actId="1038"/>
          <ac:cxnSpMkLst>
            <pc:docMk/>
            <pc:sldMk cId="1015519254" sldId="2076136640"/>
            <ac:cxnSpMk id="14" creationId="{4F8E2269-EAD6-4134-88F0-E9850E22354B}"/>
          </ac:cxnSpMkLst>
        </pc:cxnChg>
        <pc:cxnChg chg="add mod">
          <ac:chgData name="Renata Festa" userId="6f22df47-533b-4c2a-a3c1-7f9ad1d63e10" providerId="ADAL" clId="{7D997690-04A4-4675-83D7-2E1CC2ED1A4E}" dt="2020-03-24T12:51:37.507" v="1267" actId="1038"/>
          <ac:cxnSpMkLst>
            <pc:docMk/>
            <pc:sldMk cId="1015519254" sldId="2076136640"/>
            <ac:cxnSpMk id="15" creationId="{1BD164A7-0A3C-4724-AACD-E360B53BA7D0}"/>
          </ac:cxnSpMkLst>
        </pc:cxnChg>
      </pc:sldChg>
      <pc:sldChg chg="addSp delSp modSp add mod modAnim">
        <pc:chgData name="Renata Festa" userId="6f22df47-533b-4c2a-a3c1-7f9ad1d63e10" providerId="ADAL" clId="{7D997690-04A4-4675-83D7-2E1CC2ED1A4E}" dt="2020-03-24T13:59:37.310" v="1620" actId="478"/>
        <pc:sldMkLst>
          <pc:docMk/>
          <pc:sldMk cId="4115785853" sldId="2076136641"/>
        </pc:sldMkLst>
        <pc:spChg chg="mod">
          <ac:chgData name="Renata Festa" userId="6f22df47-533b-4c2a-a3c1-7f9ad1d63e10" providerId="ADAL" clId="{7D997690-04A4-4675-83D7-2E1CC2ED1A4E}" dt="2020-03-24T12:59:49.760" v="1390"/>
          <ac:spMkLst>
            <pc:docMk/>
            <pc:sldMk cId="4115785853" sldId="2076136641"/>
            <ac:spMk id="2" creationId="{EB67312A-9819-43C6-8D84-D9136E6CFFCC}"/>
          </ac:spMkLst>
        </pc:spChg>
        <pc:spChg chg="del">
          <ac:chgData name="Renata Festa" userId="6f22df47-533b-4c2a-a3c1-7f9ad1d63e10" providerId="ADAL" clId="{7D997690-04A4-4675-83D7-2E1CC2ED1A4E}" dt="2020-03-24T13:59:37.310" v="1620" actId="478"/>
          <ac:spMkLst>
            <pc:docMk/>
            <pc:sldMk cId="4115785853" sldId="2076136641"/>
            <ac:spMk id="3" creationId="{F35E8CBB-5A7D-4DEF-BAF7-8DD5D042F9E0}"/>
          </ac:spMkLst>
        </pc:spChg>
        <pc:spChg chg="del">
          <ac:chgData name="Renata Festa" userId="6f22df47-533b-4c2a-a3c1-7f9ad1d63e10" providerId="ADAL" clId="{7D997690-04A4-4675-83D7-2E1CC2ED1A4E}" dt="2020-03-24T13:59:35.864" v="1619" actId="478"/>
          <ac:spMkLst>
            <pc:docMk/>
            <pc:sldMk cId="4115785853" sldId="2076136641"/>
            <ac:spMk id="4" creationId="{F3616A99-090F-45E1-9334-58D58B148205}"/>
          </ac:spMkLst>
        </pc:spChg>
        <pc:spChg chg="add mod">
          <ac:chgData name="Renata Festa" userId="6f22df47-533b-4c2a-a3c1-7f9ad1d63e10" providerId="ADAL" clId="{7D997690-04A4-4675-83D7-2E1CC2ED1A4E}" dt="2020-03-24T13:00:05.312" v="1392" actId="1076"/>
          <ac:spMkLst>
            <pc:docMk/>
            <pc:sldMk cId="4115785853" sldId="2076136641"/>
            <ac:spMk id="5" creationId="{28168D1B-0486-4D7F-BFF3-95CCB252D2FC}"/>
          </ac:spMkLst>
        </pc:spChg>
        <pc:spChg chg="add mod">
          <ac:chgData name="Renata Festa" userId="6f22df47-533b-4c2a-a3c1-7f9ad1d63e10" providerId="ADAL" clId="{7D997690-04A4-4675-83D7-2E1CC2ED1A4E}" dt="2020-03-24T13:00:05.312" v="1392" actId="1076"/>
          <ac:spMkLst>
            <pc:docMk/>
            <pc:sldMk cId="4115785853" sldId="2076136641"/>
            <ac:spMk id="6" creationId="{A515A7B5-87CD-40C2-9629-BE570B4EF8A5}"/>
          </ac:spMkLst>
        </pc:spChg>
        <pc:spChg chg="add mod">
          <ac:chgData name="Renata Festa" userId="6f22df47-533b-4c2a-a3c1-7f9ad1d63e10" providerId="ADAL" clId="{7D997690-04A4-4675-83D7-2E1CC2ED1A4E}" dt="2020-03-24T13:00:05.312" v="1392" actId="1076"/>
          <ac:spMkLst>
            <pc:docMk/>
            <pc:sldMk cId="4115785853" sldId="2076136641"/>
            <ac:spMk id="7" creationId="{406C42C0-9CAC-479B-848D-72C6DC9CA695}"/>
          </ac:spMkLst>
        </pc:spChg>
        <pc:spChg chg="add mod">
          <ac:chgData name="Renata Festa" userId="6f22df47-533b-4c2a-a3c1-7f9ad1d63e10" providerId="ADAL" clId="{7D997690-04A4-4675-83D7-2E1CC2ED1A4E}" dt="2020-03-24T13:00:05.312" v="1392" actId="1076"/>
          <ac:spMkLst>
            <pc:docMk/>
            <pc:sldMk cId="4115785853" sldId="2076136641"/>
            <ac:spMk id="13" creationId="{DE526217-B739-4BC2-96AA-F0767CC22C47}"/>
          </ac:spMkLst>
        </pc:spChg>
        <pc:spChg chg="add mod">
          <ac:chgData name="Renata Festa" userId="6f22df47-533b-4c2a-a3c1-7f9ad1d63e10" providerId="ADAL" clId="{7D997690-04A4-4675-83D7-2E1CC2ED1A4E}" dt="2020-03-24T13:00:05.312" v="1392" actId="1076"/>
          <ac:spMkLst>
            <pc:docMk/>
            <pc:sldMk cId="4115785853" sldId="2076136641"/>
            <ac:spMk id="14" creationId="{52EAC3EF-A883-4483-B2B2-0FAD88FE8AE5}"/>
          </ac:spMkLst>
        </pc:spChg>
        <pc:spChg chg="add mod">
          <ac:chgData name="Renata Festa" userId="6f22df47-533b-4c2a-a3c1-7f9ad1d63e10" providerId="ADAL" clId="{7D997690-04A4-4675-83D7-2E1CC2ED1A4E}" dt="2020-03-24T13:00:05.312" v="1392" actId="1076"/>
          <ac:spMkLst>
            <pc:docMk/>
            <pc:sldMk cId="4115785853" sldId="2076136641"/>
            <ac:spMk id="27" creationId="{0AAA5BF5-6B8A-40C8-9738-A754320F9FB6}"/>
          </ac:spMkLst>
        </pc:spChg>
        <pc:spChg chg="add mod">
          <ac:chgData name="Renata Festa" userId="6f22df47-533b-4c2a-a3c1-7f9ad1d63e10" providerId="ADAL" clId="{7D997690-04A4-4675-83D7-2E1CC2ED1A4E}" dt="2020-03-24T13:00:05.312" v="1392" actId="1076"/>
          <ac:spMkLst>
            <pc:docMk/>
            <pc:sldMk cId="4115785853" sldId="2076136641"/>
            <ac:spMk id="28" creationId="{FEFBAB62-6D95-462F-853A-10C822DEB182}"/>
          </ac:spMkLst>
        </pc:spChg>
        <pc:spChg chg="add mod">
          <ac:chgData name="Renata Festa" userId="6f22df47-533b-4c2a-a3c1-7f9ad1d63e10" providerId="ADAL" clId="{7D997690-04A4-4675-83D7-2E1CC2ED1A4E}" dt="2020-03-24T13:00:05.312" v="1392" actId="1076"/>
          <ac:spMkLst>
            <pc:docMk/>
            <pc:sldMk cId="4115785853" sldId="2076136641"/>
            <ac:spMk id="29" creationId="{3E17EE59-D5FA-4D84-A8DE-55F0BBE97C04}"/>
          </ac:spMkLst>
        </pc:spChg>
        <pc:spChg chg="add mod">
          <ac:chgData name="Renata Festa" userId="6f22df47-533b-4c2a-a3c1-7f9ad1d63e10" providerId="ADAL" clId="{7D997690-04A4-4675-83D7-2E1CC2ED1A4E}" dt="2020-03-24T13:00:05.312" v="1392" actId="1076"/>
          <ac:spMkLst>
            <pc:docMk/>
            <pc:sldMk cId="4115785853" sldId="2076136641"/>
            <ac:spMk id="37" creationId="{6E0C95DB-6819-43CF-9AE3-554CA2269CC8}"/>
          </ac:spMkLst>
        </pc:spChg>
        <pc:spChg chg="add mod">
          <ac:chgData name="Renata Festa" userId="6f22df47-533b-4c2a-a3c1-7f9ad1d63e10" providerId="ADAL" clId="{7D997690-04A4-4675-83D7-2E1CC2ED1A4E}" dt="2020-03-24T13:00:05.312" v="1392" actId="1076"/>
          <ac:spMkLst>
            <pc:docMk/>
            <pc:sldMk cId="4115785853" sldId="2076136641"/>
            <ac:spMk id="38" creationId="{98FDF0D7-75F8-4376-B440-FC45E8D69407}"/>
          </ac:spMkLst>
        </pc:spChg>
        <pc:spChg chg="add mod">
          <ac:chgData name="Renata Festa" userId="6f22df47-533b-4c2a-a3c1-7f9ad1d63e10" providerId="ADAL" clId="{7D997690-04A4-4675-83D7-2E1CC2ED1A4E}" dt="2020-03-24T13:00:05.312" v="1392" actId="1076"/>
          <ac:spMkLst>
            <pc:docMk/>
            <pc:sldMk cId="4115785853" sldId="2076136641"/>
            <ac:spMk id="48" creationId="{EB36BD39-8C76-48D2-8826-B72334CBE47E}"/>
          </ac:spMkLst>
        </pc:spChg>
        <pc:spChg chg="add mod">
          <ac:chgData name="Renata Festa" userId="6f22df47-533b-4c2a-a3c1-7f9ad1d63e10" providerId="ADAL" clId="{7D997690-04A4-4675-83D7-2E1CC2ED1A4E}" dt="2020-03-24T13:00:05.312" v="1392" actId="1076"/>
          <ac:spMkLst>
            <pc:docMk/>
            <pc:sldMk cId="4115785853" sldId="2076136641"/>
            <ac:spMk id="49" creationId="{FD988B30-3F50-4127-8708-3CDD953C68BE}"/>
          </ac:spMkLst>
        </pc:spChg>
        <pc:grpChg chg="add mod">
          <ac:chgData name="Renata Festa" userId="6f22df47-533b-4c2a-a3c1-7f9ad1d63e10" providerId="ADAL" clId="{7D997690-04A4-4675-83D7-2E1CC2ED1A4E}" dt="2020-03-24T13:00:05.312" v="1392" actId="1076"/>
          <ac:grpSpMkLst>
            <pc:docMk/>
            <pc:sldMk cId="4115785853" sldId="2076136641"/>
            <ac:grpSpMk id="8" creationId="{4BBE4334-DFDE-448D-8520-8EBDE60CE47A}"/>
          </ac:grpSpMkLst>
        </pc:grpChg>
        <pc:grpChg chg="add mod">
          <ac:chgData name="Renata Festa" userId="6f22df47-533b-4c2a-a3c1-7f9ad1d63e10" providerId="ADAL" clId="{7D997690-04A4-4675-83D7-2E1CC2ED1A4E}" dt="2020-03-24T13:00:05.312" v="1392" actId="1076"/>
          <ac:grpSpMkLst>
            <pc:docMk/>
            <pc:sldMk cId="4115785853" sldId="2076136641"/>
            <ac:grpSpMk id="15" creationId="{1BFB73AD-F5D2-4745-AA4F-CA43CADD4E29}"/>
          </ac:grpSpMkLst>
        </pc:grpChg>
        <pc:grpChg chg="add mod">
          <ac:chgData name="Renata Festa" userId="6f22df47-533b-4c2a-a3c1-7f9ad1d63e10" providerId="ADAL" clId="{7D997690-04A4-4675-83D7-2E1CC2ED1A4E}" dt="2020-03-24T13:00:05.312" v="1392" actId="1076"/>
          <ac:grpSpMkLst>
            <pc:docMk/>
            <pc:sldMk cId="4115785853" sldId="2076136641"/>
            <ac:grpSpMk id="18" creationId="{FD2FA145-9B88-490A-968D-220FACC454EA}"/>
          </ac:grpSpMkLst>
        </pc:grpChg>
        <pc:grpChg chg="add mod">
          <ac:chgData name="Renata Festa" userId="6f22df47-533b-4c2a-a3c1-7f9ad1d63e10" providerId="ADAL" clId="{7D997690-04A4-4675-83D7-2E1CC2ED1A4E}" dt="2020-03-24T13:00:05.312" v="1392" actId="1076"/>
          <ac:grpSpMkLst>
            <pc:docMk/>
            <pc:sldMk cId="4115785853" sldId="2076136641"/>
            <ac:grpSpMk id="30" creationId="{D9DE7FA9-D7B9-4EA3-A33E-B0CF1A3A6DB2}"/>
          </ac:grpSpMkLst>
        </pc:grpChg>
        <pc:grpChg chg="add mod">
          <ac:chgData name="Renata Festa" userId="6f22df47-533b-4c2a-a3c1-7f9ad1d63e10" providerId="ADAL" clId="{7D997690-04A4-4675-83D7-2E1CC2ED1A4E}" dt="2020-03-24T13:00:05.312" v="1392" actId="1076"/>
          <ac:grpSpMkLst>
            <pc:docMk/>
            <pc:sldMk cId="4115785853" sldId="2076136641"/>
            <ac:grpSpMk id="39" creationId="{91DE356A-EF6F-4A94-B356-9E76224F6D9A}"/>
          </ac:grpSpMkLst>
        </pc:grpChg>
        <pc:grpChg chg="add mod">
          <ac:chgData name="Renata Festa" userId="6f22df47-533b-4c2a-a3c1-7f9ad1d63e10" providerId="ADAL" clId="{7D997690-04A4-4675-83D7-2E1CC2ED1A4E}" dt="2020-03-24T13:00:05.312" v="1392" actId="1076"/>
          <ac:grpSpMkLst>
            <pc:docMk/>
            <pc:sldMk cId="4115785853" sldId="2076136641"/>
            <ac:grpSpMk id="44" creationId="{6988DD09-9F30-4D0E-B94B-057DE23496D2}"/>
          </ac:grpSpMkLst>
        </pc:grpChg>
      </pc:sldChg>
      <pc:sldChg chg="addSp delSp modSp add mod">
        <pc:chgData name="Renata Festa" userId="6f22df47-533b-4c2a-a3c1-7f9ad1d63e10" providerId="ADAL" clId="{7D997690-04A4-4675-83D7-2E1CC2ED1A4E}" dt="2020-03-27T17:20:48.551" v="4992" actId="1038"/>
        <pc:sldMkLst>
          <pc:docMk/>
          <pc:sldMk cId="1168460214" sldId="2076136642"/>
        </pc:sldMkLst>
        <pc:spChg chg="add mod">
          <ac:chgData name="Renata Festa" userId="6f22df47-533b-4c2a-a3c1-7f9ad1d63e10" providerId="ADAL" clId="{7D997690-04A4-4675-83D7-2E1CC2ED1A4E}" dt="2020-03-27T17:20:09.491" v="4982"/>
          <ac:spMkLst>
            <pc:docMk/>
            <pc:sldMk cId="1168460214" sldId="2076136642"/>
            <ac:spMk id="3" creationId="{2E04DBD5-DB03-48C0-8D06-3C5AF7F87414}"/>
          </ac:spMkLst>
        </pc:spChg>
        <pc:spChg chg="mod">
          <ac:chgData name="Renata Festa" userId="6f22df47-533b-4c2a-a3c1-7f9ad1d63e10" providerId="ADAL" clId="{7D997690-04A4-4675-83D7-2E1CC2ED1A4E}" dt="2020-03-26T23:21:44.125" v="4963" actId="1037"/>
          <ac:spMkLst>
            <pc:docMk/>
            <pc:sldMk cId="1168460214" sldId="2076136642"/>
            <ac:spMk id="13" creationId="{30810C71-C65E-415A-9FE2-C0BB608D51C6}"/>
          </ac:spMkLst>
        </pc:spChg>
        <pc:spChg chg="del mod">
          <ac:chgData name="Renata Festa" userId="6f22df47-533b-4c2a-a3c1-7f9ad1d63e10" providerId="ADAL" clId="{7D997690-04A4-4675-83D7-2E1CC2ED1A4E}" dt="2020-03-24T12:40:28.578" v="1141" actId="478"/>
          <ac:spMkLst>
            <pc:docMk/>
            <pc:sldMk cId="1168460214" sldId="2076136642"/>
            <ac:spMk id="15" creationId="{DF87D991-EDC5-44DD-807A-6825A4B5AE94}"/>
          </ac:spMkLst>
        </pc:spChg>
        <pc:spChg chg="mod">
          <ac:chgData name="Renata Festa" userId="6f22df47-533b-4c2a-a3c1-7f9ad1d63e10" providerId="ADAL" clId="{7D997690-04A4-4675-83D7-2E1CC2ED1A4E}" dt="2020-03-27T17:20:48.551" v="4992" actId="1038"/>
          <ac:spMkLst>
            <pc:docMk/>
            <pc:sldMk cId="1168460214" sldId="2076136642"/>
            <ac:spMk id="18" creationId="{8CE34CF4-C4B4-4A18-88EB-8C1C9AD175BD}"/>
          </ac:spMkLst>
        </pc:spChg>
        <pc:grpChg chg="mod">
          <ac:chgData name="Renata Festa" userId="6f22df47-533b-4c2a-a3c1-7f9ad1d63e10" providerId="ADAL" clId="{7D997690-04A4-4675-83D7-2E1CC2ED1A4E}" dt="2020-03-27T17:20:41.414" v="4989" actId="1036"/>
          <ac:grpSpMkLst>
            <pc:docMk/>
            <pc:sldMk cId="1168460214" sldId="2076136642"/>
            <ac:grpSpMk id="19" creationId="{85AC5BB8-000D-4371-A92D-2217B5C4FDDA}"/>
          </ac:grpSpMkLst>
        </pc:grpChg>
        <pc:grpChg chg="mod">
          <ac:chgData name="Renata Festa" userId="6f22df47-533b-4c2a-a3c1-7f9ad1d63e10" providerId="ADAL" clId="{7D997690-04A4-4675-83D7-2E1CC2ED1A4E}" dt="2020-03-27T17:20:41.414" v="4989" actId="1036"/>
          <ac:grpSpMkLst>
            <pc:docMk/>
            <pc:sldMk cId="1168460214" sldId="2076136642"/>
            <ac:grpSpMk id="22" creationId="{DCA2A26E-1F83-4CFA-AE0C-32AAB76AAF14}"/>
          </ac:grpSpMkLst>
        </pc:grpChg>
        <pc:graphicFrameChg chg="del mod modGraphic">
          <ac:chgData name="Renata Festa" userId="6f22df47-533b-4c2a-a3c1-7f9ad1d63e10" providerId="ADAL" clId="{7D997690-04A4-4675-83D7-2E1CC2ED1A4E}" dt="2020-03-27T17:20:03.295" v="4981" actId="478"/>
          <ac:graphicFrameMkLst>
            <pc:docMk/>
            <pc:sldMk cId="1168460214" sldId="2076136642"/>
            <ac:graphicFrameMk id="5" creationId="{1118B543-8A76-41B7-96E3-4FB4D3F747C3}"/>
          </ac:graphicFrameMkLst>
        </pc:graphicFrameChg>
        <pc:graphicFrameChg chg="add mod modGraphic">
          <ac:chgData name="Renata Festa" userId="6f22df47-533b-4c2a-a3c1-7f9ad1d63e10" providerId="ADAL" clId="{7D997690-04A4-4675-83D7-2E1CC2ED1A4E}" dt="2020-03-27T17:20:26.194" v="4985" actId="14100"/>
          <ac:graphicFrameMkLst>
            <pc:docMk/>
            <pc:sldMk cId="1168460214" sldId="2076136642"/>
            <ac:graphicFrameMk id="14" creationId="{81DA0D0A-6A76-479C-9608-A86440D4607E}"/>
          </ac:graphicFrameMkLst>
        </pc:graphicFrameChg>
      </pc:sldChg>
      <pc:sldChg chg="addSp delSp modSp add mod modAnim modShow">
        <pc:chgData name="Renata Festa" userId="6f22df47-533b-4c2a-a3c1-7f9ad1d63e10" providerId="ADAL" clId="{7D997690-04A4-4675-83D7-2E1CC2ED1A4E}" dt="2020-03-24T13:59:55.381" v="1626" actId="478"/>
        <pc:sldMkLst>
          <pc:docMk/>
          <pc:sldMk cId="3643083574" sldId="2076136643"/>
        </pc:sldMkLst>
        <pc:spChg chg="mod">
          <ac:chgData name="Renata Festa" userId="6f22df47-533b-4c2a-a3c1-7f9ad1d63e10" providerId="ADAL" clId="{7D997690-04A4-4675-83D7-2E1CC2ED1A4E}" dt="2020-03-24T12:44:31.474" v="1181" actId="20577"/>
          <ac:spMkLst>
            <pc:docMk/>
            <pc:sldMk cId="3643083574" sldId="2076136643"/>
            <ac:spMk id="2" creationId="{EB67312A-9819-43C6-8D84-D9136E6CFFCC}"/>
          </ac:spMkLst>
        </pc:spChg>
        <pc:spChg chg="del">
          <ac:chgData name="Renata Festa" userId="6f22df47-533b-4c2a-a3c1-7f9ad1d63e10" providerId="ADAL" clId="{7D997690-04A4-4675-83D7-2E1CC2ED1A4E}" dt="2020-03-24T12:54:49.365" v="1299"/>
          <ac:spMkLst>
            <pc:docMk/>
            <pc:sldMk cId="3643083574" sldId="2076136643"/>
            <ac:spMk id="3" creationId="{F35E8CBB-5A7D-4DEF-BAF7-8DD5D042F9E0}"/>
          </ac:spMkLst>
        </pc:spChg>
        <pc:spChg chg="del mod">
          <ac:chgData name="Renata Festa" userId="6f22df47-533b-4c2a-a3c1-7f9ad1d63e10" providerId="ADAL" clId="{7D997690-04A4-4675-83D7-2E1CC2ED1A4E}" dt="2020-03-24T12:49:49.081" v="1240" actId="478"/>
          <ac:spMkLst>
            <pc:docMk/>
            <pc:sldMk cId="3643083574" sldId="2076136643"/>
            <ac:spMk id="4" creationId="{F3616A99-090F-45E1-9334-58D58B148205}"/>
          </ac:spMkLst>
        </pc:spChg>
        <pc:spChg chg="add mod">
          <ac:chgData name="Renata Festa" userId="6f22df47-533b-4c2a-a3c1-7f9ad1d63e10" providerId="ADAL" clId="{7D997690-04A4-4675-83D7-2E1CC2ED1A4E}" dt="2020-03-24T12:44:35.358" v="1182" actId="1076"/>
          <ac:spMkLst>
            <pc:docMk/>
            <pc:sldMk cId="3643083574" sldId="2076136643"/>
            <ac:spMk id="6" creationId="{EEC73979-BE93-494E-9AB9-B394B6C6273C}"/>
          </ac:spMkLst>
        </pc:spChg>
        <pc:spChg chg="add del">
          <ac:chgData name="Renata Festa" userId="6f22df47-533b-4c2a-a3c1-7f9ad1d63e10" providerId="ADAL" clId="{7D997690-04A4-4675-83D7-2E1CC2ED1A4E}" dt="2020-03-24T12:46:37.876" v="1205"/>
          <ac:spMkLst>
            <pc:docMk/>
            <pc:sldMk cId="3643083574" sldId="2076136643"/>
            <ac:spMk id="8" creationId="{C21F1137-35DE-4088-BEE5-6228B86480BB}"/>
          </ac:spMkLst>
        </pc:spChg>
        <pc:spChg chg="add mod">
          <ac:chgData name="Renata Festa" userId="6f22df47-533b-4c2a-a3c1-7f9ad1d63e10" providerId="ADAL" clId="{7D997690-04A4-4675-83D7-2E1CC2ED1A4E}" dt="2020-03-24T12:47:21.149" v="1212" actId="14100"/>
          <ac:spMkLst>
            <pc:docMk/>
            <pc:sldMk cId="3643083574" sldId="2076136643"/>
            <ac:spMk id="9" creationId="{6D1B8ADA-5958-474C-B325-659FA8A302EA}"/>
          </ac:spMkLst>
        </pc:spChg>
        <pc:spChg chg="add mod">
          <ac:chgData name="Renata Festa" userId="6f22df47-533b-4c2a-a3c1-7f9ad1d63e10" providerId="ADAL" clId="{7D997690-04A4-4675-83D7-2E1CC2ED1A4E}" dt="2020-03-24T12:47:14.569" v="1211" actId="14100"/>
          <ac:spMkLst>
            <pc:docMk/>
            <pc:sldMk cId="3643083574" sldId="2076136643"/>
            <ac:spMk id="10" creationId="{BD88A543-EF86-45E0-A19F-7D3E0BDC4C23}"/>
          </ac:spMkLst>
        </pc:spChg>
        <pc:spChg chg="add mod">
          <ac:chgData name="Renata Festa" userId="6f22df47-533b-4c2a-a3c1-7f9ad1d63e10" providerId="ADAL" clId="{7D997690-04A4-4675-83D7-2E1CC2ED1A4E}" dt="2020-03-24T12:47:14.569" v="1211" actId="14100"/>
          <ac:spMkLst>
            <pc:docMk/>
            <pc:sldMk cId="3643083574" sldId="2076136643"/>
            <ac:spMk id="11" creationId="{B10B7D3A-2376-4B70-9511-B5D9CD7E88C0}"/>
          </ac:spMkLst>
        </pc:spChg>
        <pc:spChg chg="add mod">
          <ac:chgData name="Renata Festa" userId="6f22df47-533b-4c2a-a3c1-7f9ad1d63e10" providerId="ADAL" clId="{7D997690-04A4-4675-83D7-2E1CC2ED1A4E}" dt="2020-03-24T12:47:14.569" v="1211" actId="14100"/>
          <ac:spMkLst>
            <pc:docMk/>
            <pc:sldMk cId="3643083574" sldId="2076136643"/>
            <ac:spMk id="12" creationId="{1149C700-2C28-4910-A655-478444CE8E38}"/>
          </ac:spMkLst>
        </pc:spChg>
        <pc:spChg chg="add mod">
          <ac:chgData name="Renata Festa" userId="6f22df47-533b-4c2a-a3c1-7f9ad1d63e10" providerId="ADAL" clId="{7D997690-04A4-4675-83D7-2E1CC2ED1A4E}" dt="2020-03-24T12:47:14.569" v="1211" actId="14100"/>
          <ac:spMkLst>
            <pc:docMk/>
            <pc:sldMk cId="3643083574" sldId="2076136643"/>
            <ac:spMk id="56" creationId="{34367C17-DE3F-4CB5-B681-3F9B64DDE177}"/>
          </ac:spMkLst>
        </pc:spChg>
        <pc:spChg chg="add mod">
          <ac:chgData name="Renata Festa" userId="6f22df47-533b-4c2a-a3c1-7f9ad1d63e10" providerId="ADAL" clId="{7D997690-04A4-4675-83D7-2E1CC2ED1A4E}" dt="2020-03-24T12:47:14.569" v="1211" actId="14100"/>
          <ac:spMkLst>
            <pc:docMk/>
            <pc:sldMk cId="3643083574" sldId="2076136643"/>
            <ac:spMk id="57" creationId="{2E8FFD25-13BC-4D82-A6C4-8196F4ACE546}"/>
          </ac:spMkLst>
        </pc:spChg>
        <pc:spChg chg="add mod">
          <ac:chgData name="Renata Festa" userId="6f22df47-533b-4c2a-a3c1-7f9ad1d63e10" providerId="ADAL" clId="{7D997690-04A4-4675-83D7-2E1CC2ED1A4E}" dt="2020-03-24T12:47:14.569" v="1211" actId="14100"/>
          <ac:spMkLst>
            <pc:docMk/>
            <pc:sldMk cId="3643083574" sldId="2076136643"/>
            <ac:spMk id="58" creationId="{6831C6AE-C7B0-405D-8EDF-ABAA6A752053}"/>
          </ac:spMkLst>
        </pc:spChg>
        <pc:spChg chg="add mod">
          <ac:chgData name="Renata Festa" userId="6f22df47-533b-4c2a-a3c1-7f9ad1d63e10" providerId="ADAL" clId="{7D997690-04A4-4675-83D7-2E1CC2ED1A4E}" dt="2020-03-24T12:47:14.569" v="1211" actId="14100"/>
          <ac:spMkLst>
            <pc:docMk/>
            <pc:sldMk cId="3643083574" sldId="2076136643"/>
            <ac:spMk id="59" creationId="{1C581CDA-1BC1-4410-9C70-95EA9B6A9672}"/>
          </ac:spMkLst>
        </pc:spChg>
        <pc:spChg chg="add mod">
          <ac:chgData name="Renata Festa" userId="6f22df47-533b-4c2a-a3c1-7f9ad1d63e10" providerId="ADAL" clId="{7D997690-04A4-4675-83D7-2E1CC2ED1A4E}" dt="2020-03-24T12:47:14.569" v="1211" actId="14100"/>
          <ac:spMkLst>
            <pc:docMk/>
            <pc:sldMk cId="3643083574" sldId="2076136643"/>
            <ac:spMk id="60" creationId="{92AB39A4-0A40-4772-9E3A-A976C48065C1}"/>
          </ac:spMkLst>
        </pc:spChg>
        <pc:spChg chg="add mod">
          <ac:chgData name="Renata Festa" userId="6f22df47-533b-4c2a-a3c1-7f9ad1d63e10" providerId="ADAL" clId="{7D997690-04A4-4675-83D7-2E1CC2ED1A4E}" dt="2020-03-24T12:47:14.569" v="1211" actId="14100"/>
          <ac:spMkLst>
            <pc:docMk/>
            <pc:sldMk cId="3643083574" sldId="2076136643"/>
            <ac:spMk id="61" creationId="{B97D80F0-A270-4E24-B1AA-3EE4AB0B132B}"/>
          </ac:spMkLst>
        </pc:spChg>
        <pc:spChg chg="add del mod">
          <ac:chgData name="Renata Festa" userId="6f22df47-533b-4c2a-a3c1-7f9ad1d63e10" providerId="ADAL" clId="{7D997690-04A4-4675-83D7-2E1CC2ED1A4E}" dt="2020-03-24T13:59:55.381" v="1626" actId="478"/>
          <ac:spMkLst>
            <pc:docMk/>
            <pc:sldMk cId="3643083574" sldId="2076136643"/>
            <ac:spMk id="64" creationId="{B5826B8B-5CF9-4968-90D3-2B7A31BAEEE4}"/>
          </ac:spMkLst>
        </pc:spChg>
        <pc:spChg chg="add del mod">
          <ac:chgData name="Renata Festa" userId="6f22df47-533b-4c2a-a3c1-7f9ad1d63e10" providerId="ADAL" clId="{7D997690-04A4-4675-83D7-2E1CC2ED1A4E}" dt="2020-03-24T12:54:53.374" v="1300"/>
          <ac:spMkLst>
            <pc:docMk/>
            <pc:sldMk cId="3643083574" sldId="2076136643"/>
            <ac:spMk id="65" creationId="{547FDA9A-D8B5-462D-B6E6-D7F417714977}"/>
          </ac:spMkLst>
        </pc:spChg>
        <pc:grpChg chg="add mod">
          <ac:chgData name="Renata Festa" userId="6f22df47-533b-4c2a-a3c1-7f9ad1d63e10" providerId="ADAL" clId="{7D997690-04A4-4675-83D7-2E1CC2ED1A4E}" dt="2020-03-24T12:47:14.569" v="1211" actId="14100"/>
          <ac:grpSpMkLst>
            <pc:docMk/>
            <pc:sldMk cId="3643083574" sldId="2076136643"/>
            <ac:grpSpMk id="14" creationId="{2A0A2F44-E5F0-49F8-887E-E0414D5FB015}"/>
          </ac:grpSpMkLst>
        </pc:grpChg>
        <pc:grpChg chg="mod">
          <ac:chgData name="Renata Festa" userId="6f22df47-533b-4c2a-a3c1-7f9ad1d63e10" providerId="ADAL" clId="{7D997690-04A4-4675-83D7-2E1CC2ED1A4E}" dt="2020-03-24T12:47:14.569" v="1211" actId="14100"/>
          <ac:grpSpMkLst>
            <pc:docMk/>
            <pc:sldMk cId="3643083574" sldId="2076136643"/>
            <ac:grpSpMk id="17" creationId="{62D730E4-91C3-477F-91C8-6FB928E3ECF6}"/>
          </ac:grpSpMkLst>
        </pc:grpChg>
        <pc:grpChg chg="add mod">
          <ac:chgData name="Renata Festa" userId="6f22df47-533b-4c2a-a3c1-7f9ad1d63e10" providerId="ADAL" clId="{7D997690-04A4-4675-83D7-2E1CC2ED1A4E}" dt="2020-03-24T12:47:14.569" v="1211" actId="14100"/>
          <ac:grpSpMkLst>
            <pc:docMk/>
            <pc:sldMk cId="3643083574" sldId="2076136643"/>
            <ac:grpSpMk id="23" creationId="{B09404A2-B9CA-4578-9553-E1D14A31078D}"/>
          </ac:grpSpMkLst>
        </pc:grpChg>
        <pc:grpChg chg="mod">
          <ac:chgData name="Renata Festa" userId="6f22df47-533b-4c2a-a3c1-7f9ad1d63e10" providerId="ADAL" clId="{7D997690-04A4-4675-83D7-2E1CC2ED1A4E}" dt="2020-03-24T12:47:14.569" v="1211" actId="14100"/>
          <ac:grpSpMkLst>
            <pc:docMk/>
            <pc:sldMk cId="3643083574" sldId="2076136643"/>
            <ac:grpSpMk id="25" creationId="{3B71799D-5764-4E8A-81D0-73AF804EB3DC}"/>
          </ac:grpSpMkLst>
        </pc:grpChg>
        <pc:grpChg chg="mod">
          <ac:chgData name="Renata Festa" userId="6f22df47-533b-4c2a-a3c1-7f9ad1d63e10" providerId="ADAL" clId="{7D997690-04A4-4675-83D7-2E1CC2ED1A4E}" dt="2020-03-24T12:47:14.569" v="1211" actId="14100"/>
          <ac:grpSpMkLst>
            <pc:docMk/>
            <pc:sldMk cId="3643083574" sldId="2076136643"/>
            <ac:grpSpMk id="28" creationId="{069BC6EF-8B60-4EF1-89CD-21AFD9EF4B7A}"/>
          </ac:grpSpMkLst>
        </pc:grpChg>
        <pc:grpChg chg="add mod">
          <ac:chgData name="Renata Festa" userId="6f22df47-533b-4c2a-a3c1-7f9ad1d63e10" providerId="ADAL" clId="{7D997690-04A4-4675-83D7-2E1CC2ED1A4E}" dt="2020-03-24T12:47:14.569" v="1211" actId="14100"/>
          <ac:grpSpMkLst>
            <pc:docMk/>
            <pc:sldMk cId="3643083574" sldId="2076136643"/>
            <ac:grpSpMk id="34" creationId="{CF63F245-BE1D-475E-B79B-6BAFEEAADAAB}"/>
          </ac:grpSpMkLst>
        </pc:grpChg>
        <pc:grpChg chg="mod">
          <ac:chgData name="Renata Festa" userId="6f22df47-533b-4c2a-a3c1-7f9ad1d63e10" providerId="ADAL" clId="{7D997690-04A4-4675-83D7-2E1CC2ED1A4E}" dt="2020-03-24T12:47:14.569" v="1211" actId="14100"/>
          <ac:grpSpMkLst>
            <pc:docMk/>
            <pc:sldMk cId="3643083574" sldId="2076136643"/>
            <ac:grpSpMk id="36" creationId="{785038FC-0930-4BE1-98D8-8983FED96699}"/>
          </ac:grpSpMkLst>
        </pc:grpChg>
        <pc:grpChg chg="mod">
          <ac:chgData name="Renata Festa" userId="6f22df47-533b-4c2a-a3c1-7f9ad1d63e10" providerId="ADAL" clId="{7D997690-04A4-4675-83D7-2E1CC2ED1A4E}" dt="2020-03-24T12:47:14.569" v="1211" actId="14100"/>
          <ac:grpSpMkLst>
            <pc:docMk/>
            <pc:sldMk cId="3643083574" sldId="2076136643"/>
            <ac:grpSpMk id="38" creationId="{E05E2207-0E6C-4F47-AED0-FE0D5FF27DDF}"/>
          </ac:grpSpMkLst>
        </pc:grpChg>
        <pc:grpChg chg="add mod">
          <ac:chgData name="Renata Festa" userId="6f22df47-533b-4c2a-a3c1-7f9ad1d63e10" providerId="ADAL" clId="{7D997690-04A4-4675-83D7-2E1CC2ED1A4E}" dt="2020-03-24T12:47:14.569" v="1211" actId="14100"/>
          <ac:grpSpMkLst>
            <pc:docMk/>
            <pc:sldMk cId="3643083574" sldId="2076136643"/>
            <ac:grpSpMk id="45" creationId="{E279C33B-EE75-4B5B-99C1-39B6C1451AEC}"/>
          </ac:grpSpMkLst>
        </pc:grpChg>
        <pc:grpChg chg="mod">
          <ac:chgData name="Renata Festa" userId="6f22df47-533b-4c2a-a3c1-7f9ad1d63e10" providerId="ADAL" clId="{7D997690-04A4-4675-83D7-2E1CC2ED1A4E}" dt="2020-03-24T12:47:14.569" v="1211" actId="14100"/>
          <ac:grpSpMkLst>
            <pc:docMk/>
            <pc:sldMk cId="3643083574" sldId="2076136643"/>
            <ac:grpSpMk id="47" creationId="{AF30F162-D4EE-43AF-9074-3301A0CF12FB}"/>
          </ac:grpSpMkLst>
        </pc:grpChg>
        <pc:grpChg chg="mod">
          <ac:chgData name="Renata Festa" userId="6f22df47-533b-4c2a-a3c1-7f9ad1d63e10" providerId="ADAL" clId="{7D997690-04A4-4675-83D7-2E1CC2ED1A4E}" dt="2020-03-24T12:47:14.569" v="1211" actId="14100"/>
          <ac:grpSpMkLst>
            <pc:docMk/>
            <pc:sldMk cId="3643083574" sldId="2076136643"/>
            <ac:grpSpMk id="50" creationId="{BB1E0184-D492-4983-980C-662853F5E6EE}"/>
          </ac:grpSpMkLst>
        </pc:grpChg>
        <pc:graphicFrameChg chg="add del mod modGraphic">
          <ac:chgData name="Renata Festa" userId="6f22df47-533b-4c2a-a3c1-7f9ad1d63e10" providerId="ADAL" clId="{7D997690-04A4-4675-83D7-2E1CC2ED1A4E}" dt="2020-03-24T12:54:46.682" v="1298" actId="478"/>
          <ac:graphicFrameMkLst>
            <pc:docMk/>
            <pc:sldMk cId="3643083574" sldId="2076136643"/>
            <ac:graphicFrameMk id="7" creationId="{5C0B0A14-6CD1-415A-B4B7-A57AEE829120}"/>
          </ac:graphicFrameMkLst>
        </pc:graphicFrameChg>
        <pc:graphicFrameChg chg="add mod">
          <ac:chgData name="Renata Festa" userId="6f22df47-533b-4c2a-a3c1-7f9ad1d63e10" providerId="ADAL" clId="{7D997690-04A4-4675-83D7-2E1CC2ED1A4E}" dt="2020-03-24T12:54:53.374" v="1300"/>
          <ac:graphicFrameMkLst>
            <pc:docMk/>
            <pc:sldMk cId="3643083574" sldId="2076136643"/>
            <ac:graphicFrameMk id="66" creationId="{3D0DB7F7-1EA1-4254-BD8F-14CB4DA1D31C}"/>
          </ac:graphicFrameMkLst>
        </pc:graphicFrameChg>
        <pc:picChg chg="add del mod">
          <ac:chgData name="Renata Festa" userId="6f22df47-533b-4c2a-a3c1-7f9ad1d63e10" providerId="ADAL" clId="{7D997690-04A4-4675-83D7-2E1CC2ED1A4E}" dt="2020-03-24T12:44:17.169" v="1174"/>
          <ac:picMkLst>
            <pc:docMk/>
            <pc:sldMk cId="3643083574" sldId="2076136643"/>
            <ac:picMk id="5" creationId="{F4ECD692-577F-46F6-B504-28B4CC26C77F}"/>
          </ac:picMkLst>
        </pc:picChg>
        <pc:cxnChg chg="add mod">
          <ac:chgData name="Renata Festa" userId="6f22df47-533b-4c2a-a3c1-7f9ad1d63e10" providerId="ADAL" clId="{7D997690-04A4-4675-83D7-2E1CC2ED1A4E}" dt="2020-03-24T12:47:14.569" v="1211" actId="14100"/>
          <ac:cxnSpMkLst>
            <pc:docMk/>
            <pc:sldMk cId="3643083574" sldId="2076136643"/>
            <ac:cxnSpMk id="13" creationId="{970E9C0A-C918-41C1-BD26-C69D0BA2539B}"/>
          </ac:cxnSpMkLst>
        </pc:cxnChg>
      </pc:sldChg>
      <pc:sldChg chg="addSp delSp modSp add mod modShow">
        <pc:chgData name="Renata Festa" userId="6f22df47-533b-4c2a-a3c1-7f9ad1d63e10" providerId="ADAL" clId="{7D997690-04A4-4675-83D7-2E1CC2ED1A4E}" dt="2020-03-24T13:59:46.762" v="1622" actId="478"/>
        <pc:sldMkLst>
          <pc:docMk/>
          <pc:sldMk cId="1723008925" sldId="2076136644"/>
        </pc:sldMkLst>
        <pc:spChg chg="mod">
          <ac:chgData name="Renata Festa" userId="6f22df47-533b-4c2a-a3c1-7f9ad1d63e10" providerId="ADAL" clId="{7D997690-04A4-4675-83D7-2E1CC2ED1A4E}" dt="2020-03-24T12:55:31.511" v="1308" actId="20577"/>
          <ac:spMkLst>
            <pc:docMk/>
            <pc:sldMk cId="1723008925" sldId="2076136644"/>
            <ac:spMk id="2" creationId="{EB67312A-9819-43C6-8D84-D9136E6CFFCC}"/>
          </ac:spMkLst>
        </pc:spChg>
        <pc:spChg chg="del">
          <ac:chgData name="Renata Festa" userId="6f22df47-533b-4c2a-a3c1-7f9ad1d63e10" providerId="ADAL" clId="{7D997690-04A4-4675-83D7-2E1CC2ED1A4E}" dt="2020-03-24T13:59:46.762" v="1622" actId="478"/>
          <ac:spMkLst>
            <pc:docMk/>
            <pc:sldMk cId="1723008925" sldId="2076136644"/>
            <ac:spMk id="3" creationId="{F35E8CBB-5A7D-4DEF-BAF7-8DD5D042F9E0}"/>
          </ac:spMkLst>
        </pc:spChg>
        <pc:spChg chg="del">
          <ac:chgData name="Renata Festa" userId="6f22df47-533b-4c2a-a3c1-7f9ad1d63e10" providerId="ADAL" clId="{7D997690-04A4-4675-83D7-2E1CC2ED1A4E}" dt="2020-03-24T12:56:52.173" v="1322" actId="478"/>
          <ac:spMkLst>
            <pc:docMk/>
            <pc:sldMk cId="1723008925" sldId="2076136644"/>
            <ac:spMk id="4" creationId="{F3616A99-090F-45E1-9334-58D58B148205}"/>
          </ac:spMkLst>
        </pc:spChg>
        <pc:spChg chg="add mod">
          <ac:chgData name="Renata Festa" userId="6f22df47-533b-4c2a-a3c1-7f9ad1d63e10" providerId="ADAL" clId="{7D997690-04A4-4675-83D7-2E1CC2ED1A4E}" dt="2020-03-24T12:56:47.206" v="1321" actId="1076"/>
          <ac:spMkLst>
            <pc:docMk/>
            <pc:sldMk cId="1723008925" sldId="2076136644"/>
            <ac:spMk id="9" creationId="{DE491008-EC9B-44E9-9503-95EF2ACF9281}"/>
          </ac:spMkLst>
        </pc:spChg>
        <pc:grpChg chg="add mod">
          <ac:chgData name="Renata Festa" userId="6f22df47-533b-4c2a-a3c1-7f9ad1d63e10" providerId="ADAL" clId="{7D997690-04A4-4675-83D7-2E1CC2ED1A4E}" dt="2020-03-24T12:55:47.713" v="1310" actId="1076"/>
          <ac:grpSpMkLst>
            <pc:docMk/>
            <pc:sldMk cId="1723008925" sldId="2076136644"/>
            <ac:grpSpMk id="5" creationId="{095D5D7D-B72C-4197-ADE3-E884B37556FE}"/>
          </ac:grpSpMkLst>
        </pc:grpChg>
        <pc:graphicFrameChg chg="add mod modGraphic">
          <ac:chgData name="Renata Festa" userId="6f22df47-533b-4c2a-a3c1-7f9ad1d63e10" providerId="ADAL" clId="{7D997690-04A4-4675-83D7-2E1CC2ED1A4E}" dt="2020-03-24T12:57:15.270" v="1329" actId="14734"/>
          <ac:graphicFrameMkLst>
            <pc:docMk/>
            <pc:sldMk cId="1723008925" sldId="2076136644"/>
            <ac:graphicFrameMk id="8" creationId="{1A74F07C-F7BC-4826-80EC-A2B5476263CC}"/>
          </ac:graphicFrameMkLst>
        </pc:graphicFrameChg>
        <pc:picChg chg="add mod">
          <ac:chgData name="Renata Festa" userId="6f22df47-533b-4c2a-a3c1-7f9ad1d63e10" providerId="ADAL" clId="{7D997690-04A4-4675-83D7-2E1CC2ED1A4E}" dt="2020-03-24T12:56:34.118" v="1317" actId="1076"/>
          <ac:picMkLst>
            <pc:docMk/>
            <pc:sldMk cId="1723008925" sldId="2076136644"/>
            <ac:picMk id="10" creationId="{94BF0BA6-DC7B-45D6-8401-9EB656AB94D3}"/>
          </ac:picMkLst>
        </pc:picChg>
      </pc:sldChg>
      <pc:sldChg chg="addSp delSp modSp add mod">
        <pc:chgData name="Renata Festa" userId="6f22df47-533b-4c2a-a3c1-7f9ad1d63e10" providerId="ADAL" clId="{7D997690-04A4-4675-83D7-2E1CC2ED1A4E}" dt="2020-03-24T13:59:41.167" v="1621" actId="478"/>
        <pc:sldMkLst>
          <pc:docMk/>
          <pc:sldMk cId="2835470576" sldId="2076136645"/>
        </pc:sldMkLst>
        <pc:spChg chg="mod">
          <ac:chgData name="Renata Festa" userId="6f22df47-533b-4c2a-a3c1-7f9ad1d63e10" providerId="ADAL" clId="{7D997690-04A4-4675-83D7-2E1CC2ED1A4E}" dt="2020-03-24T12:57:56.090" v="1334" actId="20577"/>
          <ac:spMkLst>
            <pc:docMk/>
            <pc:sldMk cId="2835470576" sldId="2076136645"/>
            <ac:spMk id="2" creationId="{EB67312A-9819-43C6-8D84-D9136E6CFFCC}"/>
          </ac:spMkLst>
        </pc:spChg>
        <pc:spChg chg="del">
          <ac:chgData name="Renata Festa" userId="6f22df47-533b-4c2a-a3c1-7f9ad1d63e10" providerId="ADAL" clId="{7D997690-04A4-4675-83D7-2E1CC2ED1A4E}" dt="2020-03-24T13:59:41.167" v="1621" actId="478"/>
          <ac:spMkLst>
            <pc:docMk/>
            <pc:sldMk cId="2835470576" sldId="2076136645"/>
            <ac:spMk id="3" creationId="{F35E8CBB-5A7D-4DEF-BAF7-8DD5D042F9E0}"/>
          </ac:spMkLst>
        </pc:spChg>
        <pc:spChg chg="del mod">
          <ac:chgData name="Renata Festa" userId="6f22df47-533b-4c2a-a3c1-7f9ad1d63e10" providerId="ADAL" clId="{7D997690-04A4-4675-83D7-2E1CC2ED1A4E}" dt="2020-03-24T12:59:00.788" v="1383" actId="478"/>
          <ac:spMkLst>
            <pc:docMk/>
            <pc:sldMk cId="2835470576" sldId="2076136645"/>
            <ac:spMk id="4" creationId="{F3616A99-090F-45E1-9334-58D58B148205}"/>
          </ac:spMkLst>
        </pc:spChg>
        <pc:spChg chg="add mod">
          <ac:chgData name="Renata Festa" userId="6f22df47-533b-4c2a-a3c1-7f9ad1d63e10" providerId="ADAL" clId="{7D997690-04A4-4675-83D7-2E1CC2ED1A4E}" dt="2020-03-24T12:59:25.652" v="1389" actId="14100"/>
          <ac:spMkLst>
            <pc:docMk/>
            <pc:sldMk cId="2835470576" sldId="2076136645"/>
            <ac:spMk id="6" creationId="{E466DD75-8A7F-4686-B27A-FB3C6BEE4C2C}"/>
          </ac:spMkLst>
        </pc:spChg>
        <pc:graphicFrameChg chg="add mod modGraphic">
          <ac:chgData name="Renata Festa" userId="6f22df47-533b-4c2a-a3c1-7f9ad1d63e10" providerId="ADAL" clId="{7D997690-04A4-4675-83D7-2E1CC2ED1A4E}" dt="2020-03-24T12:58:33.538" v="1342" actId="14734"/>
          <ac:graphicFrameMkLst>
            <pc:docMk/>
            <pc:sldMk cId="2835470576" sldId="2076136645"/>
            <ac:graphicFrameMk id="5" creationId="{BB42184F-CA1B-4A7B-9844-D1A2357E0022}"/>
          </ac:graphicFrameMkLst>
        </pc:graphicFrameChg>
      </pc:sldChg>
      <pc:sldChg chg="addSp delSp modSp add mod addAnim delAnim modAnim">
        <pc:chgData name="Renata Festa" userId="6f22df47-533b-4c2a-a3c1-7f9ad1d63e10" providerId="ADAL" clId="{7D997690-04A4-4675-83D7-2E1CC2ED1A4E}" dt="2020-03-24T13:59:24.707" v="1615" actId="478"/>
        <pc:sldMkLst>
          <pc:docMk/>
          <pc:sldMk cId="364567982" sldId="2076136646"/>
        </pc:sldMkLst>
        <pc:spChg chg="add del mod">
          <ac:chgData name="Renata Festa" userId="6f22df47-533b-4c2a-a3c1-7f9ad1d63e10" providerId="ADAL" clId="{7D997690-04A4-4675-83D7-2E1CC2ED1A4E}" dt="2020-03-24T13:59:14.111" v="1613" actId="478"/>
          <ac:spMkLst>
            <pc:docMk/>
            <pc:sldMk cId="364567982" sldId="2076136646"/>
            <ac:spMk id="2" creationId="{EB67312A-9819-43C6-8D84-D9136E6CFFCC}"/>
          </ac:spMkLst>
        </pc:spChg>
        <pc:spChg chg="del">
          <ac:chgData name="Renata Festa" userId="6f22df47-533b-4c2a-a3c1-7f9ad1d63e10" providerId="ADAL" clId="{7D997690-04A4-4675-83D7-2E1CC2ED1A4E}" dt="2020-03-24T13:59:24.707" v="1615" actId="478"/>
          <ac:spMkLst>
            <pc:docMk/>
            <pc:sldMk cId="364567982" sldId="2076136646"/>
            <ac:spMk id="3" creationId="{F35E8CBB-5A7D-4DEF-BAF7-8DD5D042F9E0}"/>
          </ac:spMkLst>
        </pc:spChg>
        <pc:spChg chg="add del">
          <ac:chgData name="Renata Festa" userId="6f22df47-533b-4c2a-a3c1-7f9ad1d63e10" providerId="ADAL" clId="{7D997690-04A4-4675-83D7-2E1CC2ED1A4E}" dt="2020-03-24T13:59:22.941" v="1614" actId="478"/>
          <ac:spMkLst>
            <pc:docMk/>
            <pc:sldMk cId="364567982" sldId="2076136646"/>
            <ac:spMk id="4" creationId="{F3616A99-090F-45E1-9334-58D58B148205}"/>
          </ac:spMkLst>
        </pc:spChg>
        <pc:spChg chg="add del">
          <ac:chgData name="Renata Festa" userId="6f22df47-533b-4c2a-a3c1-7f9ad1d63e10" providerId="ADAL" clId="{7D997690-04A4-4675-83D7-2E1CC2ED1A4E}" dt="2020-03-24T13:10:47.461" v="1470"/>
          <ac:spMkLst>
            <pc:docMk/>
            <pc:sldMk cId="364567982" sldId="2076136646"/>
            <ac:spMk id="5" creationId="{D1E9115A-1C6D-450F-9B15-553FC324591A}"/>
          </ac:spMkLst>
        </pc:spChg>
        <pc:spChg chg="add del">
          <ac:chgData name="Renata Festa" userId="6f22df47-533b-4c2a-a3c1-7f9ad1d63e10" providerId="ADAL" clId="{7D997690-04A4-4675-83D7-2E1CC2ED1A4E}" dt="2020-03-24T13:10:47.461" v="1470"/>
          <ac:spMkLst>
            <pc:docMk/>
            <pc:sldMk cId="364567982" sldId="2076136646"/>
            <ac:spMk id="24" creationId="{DE0B31C3-96F1-4686-A373-1DA57DABAC9F}"/>
          </ac:spMkLst>
        </pc:spChg>
        <pc:spChg chg="add del">
          <ac:chgData name="Renata Festa" userId="6f22df47-533b-4c2a-a3c1-7f9ad1d63e10" providerId="ADAL" clId="{7D997690-04A4-4675-83D7-2E1CC2ED1A4E}" dt="2020-03-24T13:10:47.461" v="1470"/>
          <ac:spMkLst>
            <pc:docMk/>
            <pc:sldMk cId="364567982" sldId="2076136646"/>
            <ac:spMk id="25" creationId="{0F9D8D7D-B006-4BD7-9926-D82D948E3E3A}"/>
          </ac:spMkLst>
        </pc:spChg>
        <pc:spChg chg="add del">
          <ac:chgData name="Renata Festa" userId="6f22df47-533b-4c2a-a3c1-7f9ad1d63e10" providerId="ADAL" clId="{7D997690-04A4-4675-83D7-2E1CC2ED1A4E}" dt="2020-03-24T13:10:47.461" v="1470"/>
          <ac:spMkLst>
            <pc:docMk/>
            <pc:sldMk cId="364567982" sldId="2076136646"/>
            <ac:spMk id="26" creationId="{12FD1B0D-2FED-4C5E-985E-79AFD999643C}"/>
          </ac:spMkLst>
        </pc:spChg>
        <pc:spChg chg="add del">
          <ac:chgData name="Renata Festa" userId="6f22df47-533b-4c2a-a3c1-7f9ad1d63e10" providerId="ADAL" clId="{7D997690-04A4-4675-83D7-2E1CC2ED1A4E}" dt="2020-03-24T13:10:47.461" v="1470"/>
          <ac:spMkLst>
            <pc:docMk/>
            <pc:sldMk cId="364567982" sldId="2076136646"/>
            <ac:spMk id="29" creationId="{308C0E5E-9A95-49B5-9A0B-50F26E7B26FC}"/>
          </ac:spMkLst>
        </pc:spChg>
        <pc:spChg chg="add del">
          <ac:chgData name="Renata Festa" userId="6f22df47-533b-4c2a-a3c1-7f9ad1d63e10" providerId="ADAL" clId="{7D997690-04A4-4675-83D7-2E1CC2ED1A4E}" dt="2020-03-24T13:10:47.461" v="1470"/>
          <ac:spMkLst>
            <pc:docMk/>
            <pc:sldMk cId="364567982" sldId="2076136646"/>
            <ac:spMk id="30" creationId="{E6E3CCB6-0A19-49F8-8569-74AEB0B5F1EF}"/>
          </ac:spMkLst>
        </pc:spChg>
        <pc:spChg chg="add del">
          <ac:chgData name="Renata Festa" userId="6f22df47-533b-4c2a-a3c1-7f9ad1d63e10" providerId="ADAL" clId="{7D997690-04A4-4675-83D7-2E1CC2ED1A4E}" dt="2020-03-24T13:10:47.461" v="1470"/>
          <ac:spMkLst>
            <pc:docMk/>
            <pc:sldMk cId="364567982" sldId="2076136646"/>
            <ac:spMk id="31" creationId="{9B8CF00F-751F-4D32-BCFD-0F7C4DBD2E60}"/>
          </ac:spMkLst>
        </pc:spChg>
        <pc:spChg chg="add del">
          <ac:chgData name="Renata Festa" userId="6f22df47-533b-4c2a-a3c1-7f9ad1d63e10" providerId="ADAL" clId="{7D997690-04A4-4675-83D7-2E1CC2ED1A4E}" dt="2020-03-24T13:10:47.461" v="1470"/>
          <ac:spMkLst>
            <pc:docMk/>
            <pc:sldMk cId="364567982" sldId="2076136646"/>
            <ac:spMk id="32" creationId="{DFC081D9-9094-40DF-A461-183DFF55CEB2}"/>
          </ac:spMkLst>
        </pc:spChg>
        <pc:spChg chg="add del">
          <ac:chgData name="Renata Festa" userId="6f22df47-533b-4c2a-a3c1-7f9ad1d63e10" providerId="ADAL" clId="{7D997690-04A4-4675-83D7-2E1CC2ED1A4E}" dt="2020-03-24T13:10:47.461" v="1470"/>
          <ac:spMkLst>
            <pc:docMk/>
            <pc:sldMk cId="364567982" sldId="2076136646"/>
            <ac:spMk id="33" creationId="{07D0436A-6562-4286-8955-D9EF288D4248}"/>
          </ac:spMkLst>
        </pc:spChg>
        <pc:spChg chg="add del">
          <ac:chgData name="Renata Festa" userId="6f22df47-533b-4c2a-a3c1-7f9ad1d63e10" providerId="ADAL" clId="{7D997690-04A4-4675-83D7-2E1CC2ED1A4E}" dt="2020-03-24T13:10:47.461" v="1470"/>
          <ac:spMkLst>
            <pc:docMk/>
            <pc:sldMk cId="364567982" sldId="2076136646"/>
            <ac:spMk id="34" creationId="{366208F3-74DF-457D-A6CA-BEA018CB0CD6}"/>
          </ac:spMkLst>
        </pc:spChg>
        <pc:spChg chg="add del">
          <ac:chgData name="Renata Festa" userId="6f22df47-533b-4c2a-a3c1-7f9ad1d63e10" providerId="ADAL" clId="{7D997690-04A4-4675-83D7-2E1CC2ED1A4E}" dt="2020-03-24T13:10:47.461" v="1470"/>
          <ac:spMkLst>
            <pc:docMk/>
            <pc:sldMk cId="364567982" sldId="2076136646"/>
            <ac:spMk id="35" creationId="{4839175F-9C9F-41CB-9362-61D81F8BC754}"/>
          </ac:spMkLst>
        </pc:spChg>
        <pc:spChg chg="add del">
          <ac:chgData name="Renata Festa" userId="6f22df47-533b-4c2a-a3c1-7f9ad1d63e10" providerId="ADAL" clId="{7D997690-04A4-4675-83D7-2E1CC2ED1A4E}" dt="2020-03-24T13:10:47.461" v="1470"/>
          <ac:spMkLst>
            <pc:docMk/>
            <pc:sldMk cId="364567982" sldId="2076136646"/>
            <ac:spMk id="36" creationId="{DAD924E4-969F-4C90-AED9-FF07ED84275F}"/>
          </ac:spMkLst>
        </pc:spChg>
        <pc:spChg chg="add del">
          <ac:chgData name="Renata Festa" userId="6f22df47-533b-4c2a-a3c1-7f9ad1d63e10" providerId="ADAL" clId="{7D997690-04A4-4675-83D7-2E1CC2ED1A4E}" dt="2020-03-24T13:10:47.461" v="1470"/>
          <ac:spMkLst>
            <pc:docMk/>
            <pc:sldMk cId="364567982" sldId="2076136646"/>
            <ac:spMk id="37" creationId="{D5E455DF-D629-413F-A8EB-1481A2E00E8A}"/>
          </ac:spMkLst>
        </pc:spChg>
        <pc:spChg chg="add del">
          <ac:chgData name="Renata Festa" userId="6f22df47-533b-4c2a-a3c1-7f9ad1d63e10" providerId="ADAL" clId="{7D997690-04A4-4675-83D7-2E1CC2ED1A4E}" dt="2020-03-24T13:10:47.461" v="1470"/>
          <ac:spMkLst>
            <pc:docMk/>
            <pc:sldMk cId="364567982" sldId="2076136646"/>
            <ac:spMk id="38" creationId="{041C7577-A93E-4729-B9FB-82C2DDEC0F3F}"/>
          </ac:spMkLst>
        </pc:spChg>
        <pc:spChg chg="add del">
          <ac:chgData name="Renata Festa" userId="6f22df47-533b-4c2a-a3c1-7f9ad1d63e10" providerId="ADAL" clId="{7D997690-04A4-4675-83D7-2E1CC2ED1A4E}" dt="2020-03-24T13:10:47.461" v="1470"/>
          <ac:spMkLst>
            <pc:docMk/>
            <pc:sldMk cId="364567982" sldId="2076136646"/>
            <ac:spMk id="39" creationId="{56804F86-92B6-414E-8BD2-E60E7545D2EB}"/>
          </ac:spMkLst>
        </pc:spChg>
        <pc:spChg chg="add del">
          <ac:chgData name="Renata Festa" userId="6f22df47-533b-4c2a-a3c1-7f9ad1d63e10" providerId="ADAL" clId="{7D997690-04A4-4675-83D7-2E1CC2ED1A4E}" dt="2020-03-24T13:10:47.461" v="1470"/>
          <ac:spMkLst>
            <pc:docMk/>
            <pc:sldMk cId="364567982" sldId="2076136646"/>
            <ac:spMk id="40" creationId="{8931C5A9-2B1E-44EF-AAD3-43D99A61B491}"/>
          </ac:spMkLst>
        </pc:spChg>
        <pc:spChg chg="add del">
          <ac:chgData name="Renata Festa" userId="6f22df47-533b-4c2a-a3c1-7f9ad1d63e10" providerId="ADAL" clId="{7D997690-04A4-4675-83D7-2E1CC2ED1A4E}" dt="2020-03-24T13:10:47.461" v="1470"/>
          <ac:spMkLst>
            <pc:docMk/>
            <pc:sldMk cId="364567982" sldId="2076136646"/>
            <ac:spMk id="41" creationId="{78217458-A21B-4A39-8D0D-6D927E7E37F4}"/>
          </ac:spMkLst>
        </pc:spChg>
        <pc:spChg chg="add del">
          <ac:chgData name="Renata Festa" userId="6f22df47-533b-4c2a-a3c1-7f9ad1d63e10" providerId="ADAL" clId="{7D997690-04A4-4675-83D7-2E1CC2ED1A4E}" dt="2020-03-24T13:10:47.461" v="1470"/>
          <ac:spMkLst>
            <pc:docMk/>
            <pc:sldMk cId="364567982" sldId="2076136646"/>
            <ac:spMk id="42" creationId="{1B77EBA5-E8BF-4697-85A7-6EE3820E6795}"/>
          </ac:spMkLst>
        </pc:spChg>
        <pc:spChg chg="add del">
          <ac:chgData name="Renata Festa" userId="6f22df47-533b-4c2a-a3c1-7f9ad1d63e10" providerId="ADAL" clId="{7D997690-04A4-4675-83D7-2E1CC2ED1A4E}" dt="2020-03-24T13:10:47.461" v="1470"/>
          <ac:spMkLst>
            <pc:docMk/>
            <pc:sldMk cId="364567982" sldId="2076136646"/>
            <ac:spMk id="43" creationId="{F1CE8305-97D6-46F1-BACF-13F20C9B812F}"/>
          </ac:spMkLst>
        </pc:spChg>
        <pc:spChg chg="add del">
          <ac:chgData name="Renata Festa" userId="6f22df47-533b-4c2a-a3c1-7f9ad1d63e10" providerId="ADAL" clId="{7D997690-04A4-4675-83D7-2E1CC2ED1A4E}" dt="2020-03-24T13:10:47.461" v="1470"/>
          <ac:spMkLst>
            <pc:docMk/>
            <pc:sldMk cId="364567982" sldId="2076136646"/>
            <ac:spMk id="45" creationId="{9B2349E4-65E0-4C4A-94FC-260E53FBD41B}"/>
          </ac:spMkLst>
        </pc:spChg>
        <pc:spChg chg="add del">
          <ac:chgData name="Renata Festa" userId="6f22df47-533b-4c2a-a3c1-7f9ad1d63e10" providerId="ADAL" clId="{7D997690-04A4-4675-83D7-2E1CC2ED1A4E}" dt="2020-03-24T13:10:47.461" v="1470"/>
          <ac:spMkLst>
            <pc:docMk/>
            <pc:sldMk cId="364567982" sldId="2076136646"/>
            <ac:spMk id="46" creationId="{6333D1AB-E59E-4DB6-90D7-DEAF6B3EB29D}"/>
          </ac:spMkLst>
        </pc:spChg>
        <pc:spChg chg="add del">
          <ac:chgData name="Renata Festa" userId="6f22df47-533b-4c2a-a3c1-7f9ad1d63e10" providerId="ADAL" clId="{7D997690-04A4-4675-83D7-2E1CC2ED1A4E}" dt="2020-03-24T13:10:47.461" v="1470"/>
          <ac:spMkLst>
            <pc:docMk/>
            <pc:sldMk cId="364567982" sldId="2076136646"/>
            <ac:spMk id="47" creationId="{934DD5DF-486D-4E90-A831-270710D954D6}"/>
          </ac:spMkLst>
        </pc:spChg>
        <pc:spChg chg="add del">
          <ac:chgData name="Renata Festa" userId="6f22df47-533b-4c2a-a3c1-7f9ad1d63e10" providerId="ADAL" clId="{7D997690-04A4-4675-83D7-2E1CC2ED1A4E}" dt="2020-03-24T13:10:47.461" v="1470"/>
          <ac:spMkLst>
            <pc:docMk/>
            <pc:sldMk cId="364567982" sldId="2076136646"/>
            <ac:spMk id="48" creationId="{8113F4D3-0896-47F5-9A41-BD573840074C}"/>
          </ac:spMkLst>
        </pc:spChg>
        <pc:spChg chg="add del">
          <ac:chgData name="Renata Festa" userId="6f22df47-533b-4c2a-a3c1-7f9ad1d63e10" providerId="ADAL" clId="{7D997690-04A4-4675-83D7-2E1CC2ED1A4E}" dt="2020-03-24T13:10:47.461" v="1470"/>
          <ac:spMkLst>
            <pc:docMk/>
            <pc:sldMk cId="364567982" sldId="2076136646"/>
            <ac:spMk id="50" creationId="{DF96AE6F-D94F-40FA-AB08-B86DC5353A36}"/>
          </ac:spMkLst>
        </pc:spChg>
        <pc:spChg chg="add del">
          <ac:chgData name="Renata Festa" userId="6f22df47-533b-4c2a-a3c1-7f9ad1d63e10" providerId="ADAL" clId="{7D997690-04A4-4675-83D7-2E1CC2ED1A4E}" dt="2020-03-24T13:10:47.461" v="1470"/>
          <ac:spMkLst>
            <pc:docMk/>
            <pc:sldMk cId="364567982" sldId="2076136646"/>
            <ac:spMk id="51" creationId="{C2903CF4-F95B-48FF-BF5B-86672FC97BF7}"/>
          </ac:spMkLst>
        </pc:spChg>
        <pc:spChg chg="add del">
          <ac:chgData name="Renata Festa" userId="6f22df47-533b-4c2a-a3c1-7f9ad1d63e10" providerId="ADAL" clId="{7D997690-04A4-4675-83D7-2E1CC2ED1A4E}" dt="2020-03-24T13:10:47.461" v="1470"/>
          <ac:spMkLst>
            <pc:docMk/>
            <pc:sldMk cId="364567982" sldId="2076136646"/>
            <ac:spMk id="55" creationId="{7D15EF57-418E-400A-BA25-90B87435F4A0}"/>
          </ac:spMkLst>
        </pc:spChg>
        <pc:spChg chg="add del">
          <ac:chgData name="Renata Festa" userId="6f22df47-533b-4c2a-a3c1-7f9ad1d63e10" providerId="ADAL" clId="{7D997690-04A4-4675-83D7-2E1CC2ED1A4E}" dt="2020-03-24T13:10:47.461" v="1470"/>
          <ac:spMkLst>
            <pc:docMk/>
            <pc:sldMk cId="364567982" sldId="2076136646"/>
            <ac:spMk id="57" creationId="{5703C273-8E13-4F50-A9FA-C1363103412A}"/>
          </ac:spMkLst>
        </pc:spChg>
        <pc:spChg chg="add del">
          <ac:chgData name="Renata Festa" userId="6f22df47-533b-4c2a-a3c1-7f9ad1d63e10" providerId="ADAL" clId="{7D997690-04A4-4675-83D7-2E1CC2ED1A4E}" dt="2020-03-24T13:10:47.461" v="1470"/>
          <ac:spMkLst>
            <pc:docMk/>
            <pc:sldMk cId="364567982" sldId="2076136646"/>
            <ac:spMk id="70" creationId="{5271243E-F91A-4109-BF4E-BCC2425DEF85}"/>
          </ac:spMkLst>
        </pc:spChg>
        <pc:spChg chg="add del">
          <ac:chgData name="Renata Festa" userId="6f22df47-533b-4c2a-a3c1-7f9ad1d63e10" providerId="ADAL" clId="{7D997690-04A4-4675-83D7-2E1CC2ED1A4E}" dt="2020-03-24T13:10:47.461" v="1470"/>
          <ac:spMkLst>
            <pc:docMk/>
            <pc:sldMk cId="364567982" sldId="2076136646"/>
            <ac:spMk id="71" creationId="{73A7CFFC-E464-4DE6-BBC6-150D33A83176}"/>
          </ac:spMkLst>
        </pc:spChg>
        <pc:spChg chg="add del">
          <ac:chgData name="Renata Festa" userId="6f22df47-533b-4c2a-a3c1-7f9ad1d63e10" providerId="ADAL" clId="{7D997690-04A4-4675-83D7-2E1CC2ED1A4E}" dt="2020-03-24T13:10:47.461" v="1470"/>
          <ac:spMkLst>
            <pc:docMk/>
            <pc:sldMk cId="364567982" sldId="2076136646"/>
            <ac:spMk id="103" creationId="{F7FFD50E-C26D-417B-A97B-46FD52D89978}"/>
          </ac:spMkLst>
        </pc:spChg>
        <pc:spChg chg="add del">
          <ac:chgData name="Renata Festa" userId="6f22df47-533b-4c2a-a3c1-7f9ad1d63e10" providerId="ADAL" clId="{7D997690-04A4-4675-83D7-2E1CC2ED1A4E}" dt="2020-03-24T13:10:47.461" v="1470"/>
          <ac:spMkLst>
            <pc:docMk/>
            <pc:sldMk cId="364567982" sldId="2076136646"/>
            <ac:spMk id="104" creationId="{E7845C4E-8F63-45BC-80A4-91BBD4BC623C}"/>
          </ac:spMkLst>
        </pc:spChg>
        <pc:spChg chg="add del">
          <ac:chgData name="Renata Festa" userId="6f22df47-533b-4c2a-a3c1-7f9ad1d63e10" providerId="ADAL" clId="{7D997690-04A4-4675-83D7-2E1CC2ED1A4E}" dt="2020-03-24T13:10:47.461" v="1470"/>
          <ac:spMkLst>
            <pc:docMk/>
            <pc:sldMk cId="364567982" sldId="2076136646"/>
            <ac:spMk id="117" creationId="{4470F5E5-34FC-4CAF-9B3D-F98128F76963}"/>
          </ac:spMkLst>
        </pc:spChg>
        <pc:spChg chg="add del">
          <ac:chgData name="Renata Festa" userId="6f22df47-533b-4c2a-a3c1-7f9ad1d63e10" providerId="ADAL" clId="{7D997690-04A4-4675-83D7-2E1CC2ED1A4E}" dt="2020-03-24T13:10:47.461" v="1470"/>
          <ac:spMkLst>
            <pc:docMk/>
            <pc:sldMk cId="364567982" sldId="2076136646"/>
            <ac:spMk id="118" creationId="{A337CD43-46D9-4307-8C09-BAC908A0717A}"/>
          </ac:spMkLst>
        </pc:spChg>
        <pc:spChg chg="add del">
          <ac:chgData name="Renata Festa" userId="6f22df47-533b-4c2a-a3c1-7f9ad1d63e10" providerId="ADAL" clId="{7D997690-04A4-4675-83D7-2E1CC2ED1A4E}" dt="2020-03-24T13:10:47.461" v="1470"/>
          <ac:spMkLst>
            <pc:docMk/>
            <pc:sldMk cId="364567982" sldId="2076136646"/>
            <ac:spMk id="119" creationId="{68E82E44-3803-43C7-87CE-6B0BF7AC0E03}"/>
          </ac:spMkLst>
        </pc:spChg>
        <pc:spChg chg="add del">
          <ac:chgData name="Renata Festa" userId="6f22df47-533b-4c2a-a3c1-7f9ad1d63e10" providerId="ADAL" clId="{7D997690-04A4-4675-83D7-2E1CC2ED1A4E}" dt="2020-03-24T13:10:47.461" v="1470"/>
          <ac:spMkLst>
            <pc:docMk/>
            <pc:sldMk cId="364567982" sldId="2076136646"/>
            <ac:spMk id="120" creationId="{CB842B47-4507-4074-96C5-B1106BAE9B3D}"/>
          </ac:spMkLst>
        </pc:spChg>
        <pc:spChg chg="add del">
          <ac:chgData name="Renata Festa" userId="6f22df47-533b-4c2a-a3c1-7f9ad1d63e10" providerId="ADAL" clId="{7D997690-04A4-4675-83D7-2E1CC2ED1A4E}" dt="2020-03-24T13:10:47.461" v="1470"/>
          <ac:spMkLst>
            <pc:docMk/>
            <pc:sldMk cId="364567982" sldId="2076136646"/>
            <ac:spMk id="121" creationId="{34452C2D-E427-4D91-B569-60F2C3EA80A1}"/>
          </ac:spMkLst>
        </pc:spChg>
        <pc:spChg chg="add del">
          <ac:chgData name="Renata Festa" userId="6f22df47-533b-4c2a-a3c1-7f9ad1d63e10" providerId="ADAL" clId="{7D997690-04A4-4675-83D7-2E1CC2ED1A4E}" dt="2020-03-24T13:10:47.461" v="1470"/>
          <ac:spMkLst>
            <pc:docMk/>
            <pc:sldMk cId="364567982" sldId="2076136646"/>
            <ac:spMk id="122" creationId="{491623AF-E7AC-483C-94DB-185DBDF97D2F}"/>
          </ac:spMkLst>
        </pc:spChg>
        <pc:spChg chg="add del">
          <ac:chgData name="Renata Festa" userId="6f22df47-533b-4c2a-a3c1-7f9ad1d63e10" providerId="ADAL" clId="{7D997690-04A4-4675-83D7-2E1CC2ED1A4E}" dt="2020-03-24T13:10:47.461" v="1470"/>
          <ac:spMkLst>
            <pc:docMk/>
            <pc:sldMk cId="364567982" sldId="2076136646"/>
            <ac:spMk id="123" creationId="{3A6618FA-6EB0-40EC-AEF0-99DE8184F274}"/>
          </ac:spMkLst>
        </pc:spChg>
        <pc:spChg chg="add del">
          <ac:chgData name="Renata Festa" userId="6f22df47-533b-4c2a-a3c1-7f9ad1d63e10" providerId="ADAL" clId="{7D997690-04A4-4675-83D7-2E1CC2ED1A4E}" dt="2020-03-24T13:10:47.461" v="1470"/>
          <ac:spMkLst>
            <pc:docMk/>
            <pc:sldMk cId="364567982" sldId="2076136646"/>
            <ac:spMk id="124" creationId="{15BC1D56-8AC6-4A95-B2CE-7C0F0B565F2A}"/>
          </ac:spMkLst>
        </pc:spChg>
        <pc:spChg chg="add del">
          <ac:chgData name="Renata Festa" userId="6f22df47-533b-4c2a-a3c1-7f9ad1d63e10" providerId="ADAL" clId="{7D997690-04A4-4675-83D7-2E1CC2ED1A4E}" dt="2020-03-24T13:10:47.461" v="1470"/>
          <ac:spMkLst>
            <pc:docMk/>
            <pc:sldMk cId="364567982" sldId="2076136646"/>
            <ac:spMk id="125" creationId="{DB51155B-F58E-4B22-890E-B643F50E5378}"/>
          </ac:spMkLst>
        </pc:spChg>
        <pc:spChg chg="add del">
          <ac:chgData name="Renata Festa" userId="6f22df47-533b-4c2a-a3c1-7f9ad1d63e10" providerId="ADAL" clId="{7D997690-04A4-4675-83D7-2E1CC2ED1A4E}" dt="2020-03-24T13:10:47.461" v="1470"/>
          <ac:spMkLst>
            <pc:docMk/>
            <pc:sldMk cId="364567982" sldId="2076136646"/>
            <ac:spMk id="126" creationId="{90A07550-DF77-4FAF-A14A-FDA9E51EF0E8}"/>
          </ac:spMkLst>
        </pc:spChg>
        <pc:spChg chg="add del">
          <ac:chgData name="Renata Festa" userId="6f22df47-533b-4c2a-a3c1-7f9ad1d63e10" providerId="ADAL" clId="{7D997690-04A4-4675-83D7-2E1CC2ED1A4E}" dt="2020-03-24T13:10:47.461" v="1470"/>
          <ac:spMkLst>
            <pc:docMk/>
            <pc:sldMk cId="364567982" sldId="2076136646"/>
            <ac:spMk id="127" creationId="{E3977F74-5AF1-44F4-9F63-7BC6294A1C68}"/>
          </ac:spMkLst>
        </pc:spChg>
        <pc:spChg chg="add del">
          <ac:chgData name="Renata Festa" userId="6f22df47-533b-4c2a-a3c1-7f9ad1d63e10" providerId="ADAL" clId="{7D997690-04A4-4675-83D7-2E1CC2ED1A4E}" dt="2020-03-24T13:10:47.461" v="1470"/>
          <ac:spMkLst>
            <pc:docMk/>
            <pc:sldMk cId="364567982" sldId="2076136646"/>
            <ac:spMk id="128" creationId="{248DF8E3-5CAE-4920-817B-9313B195B2A9}"/>
          </ac:spMkLst>
        </pc:spChg>
        <pc:spChg chg="add del">
          <ac:chgData name="Renata Festa" userId="6f22df47-533b-4c2a-a3c1-7f9ad1d63e10" providerId="ADAL" clId="{7D997690-04A4-4675-83D7-2E1CC2ED1A4E}" dt="2020-03-24T13:10:47.461" v="1470"/>
          <ac:spMkLst>
            <pc:docMk/>
            <pc:sldMk cId="364567982" sldId="2076136646"/>
            <ac:spMk id="130" creationId="{56DC55FC-9AD1-4F11-B3FE-E15E3DF9845C}"/>
          </ac:spMkLst>
        </pc:spChg>
        <pc:spChg chg="add del">
          <ac:chgData name="Renata Festa" userId="6f22df47-533b-4c2a-a3c1-7f9ad1d63e10" providerId="ADAL" clId="{7D997690-04A4-4675-83D7-2E1CC2ED1A4E}" dt="2020-03-24T13:10:47.461" v="1470"/>
          <ac:spMkLst>
            <pc:docMk/>
            <pc:sldMk cId="364567982" sldId="2076136646"/>
            <ac:spMk id="131" creationId="{15A015B0-7025-4C16-AC04-DA6DE0FB78E4}"/>
          </ac:spMkLst>
        </pc:spChg>
        <pc:spChg chg="add del">
          <ac:chgData name="Renata Festa" userId="6f22df47-533b-4c2a-a3c1-7f9ad1d63e10" providerId="ADAL" clId="{7D997690-04A4-4675-83D7-2E1CC2ED1A4E}" dt="2020-03-24T13:10:47.461" v="1470"/>
          <ac:spMkLst>
            <pc:docMk/>
            <pc:sldMk cId="364567982" sldId="2076136646"/>
            <ac:spMk id="133" creationId="{70226032-B4D9-4EC7-AC18-E5BC109DD5D3}"/>
          </ac:spMkLst>
        </pc:spChg>
        <pc:spChg chg="add mod">
          <ac:chgData name="Renata Festa" userId="6f22df47-533b-4c2a-a3c1-7f9ad1d63e10" providerId="ADAL" clId="{7D997690-04A4-4675-83D7-2E1CC2ED1A4E}" dt="2020-03-24T13:53:49.796" v="1480" actId="1036"/>
          <ac:spMkLst>
            <pc:docMk/>
            <pc:sldMk cId="364567982" sldId="2076136646"/>
            <ac:spMk id="134" creationId="{AC4E1CE2-910C-40F1-8997-6EE486EBD0E2}"/>
          </ac:spMkLst>
        </pc:spChg>
        <pc:spChg chg="add mod">
          <ac:chgData name="Renata Festa" userId="6f22df47-533b-4c2a-a3c1-7f9ad1d63e10" providerId="ADAL" clId="{7D997690-04A4-4675-83D7-2E1CC2ED1A4E}" dt="2020-03-24T13:53:49.796" v="1480" actId="1036"/>
          <ac:spMkLst>
            <pc:docMk/>
            <pc:sldMk cId="364567982" sldId="2076136646"/>
            <ac:spMk id="153" creationId="{99CFDC2A-1D81-48F0-976A-81F1C3497946}"/>
          </ac:spMkLst>
        </pc:spChg>
        <pc:spChg chg="add mod">
          <ac:chgData name="Renata Festa" userId="6f22df47-533b-4c2a-a3c1-7f9ad1d63e10" providerId="ADAL" clId="{7D997690-04A4-4675-83D7-2E1CC2ED1A4E}" dt="2020-03-24T13:53:49.796" v="1480" actId="1036"/>
          <ac:spMkLst>
            <pc:docMk/>
            <pc:sldMk cId="364567982" sldId="2076136646"/>
            <ac:spMk id="154" creationId="{71690863-7997-4886-9792-3D547C0E4601}"/>
          </ac:spMkLst>
        </pc:spChg>
        <pc:spChg chg="add mod">
          <ac:chgData name="Renata Festa" userId="6f22df47-533b-4c2a-a3c1-7f9ad1d63e10" providerId="ADAL" clId="{7D997690-04A4-4675-83D7-2E1CC2ED1A4E}" dt="2020-03-24T13:53:49.796" v="1480" actId="1036"/>
          <ac:spMkLst>
            <pc:docMk/>
            <pc:sldMk cId="364567982" sldId="2076136646"/>
            <ac:spMk id="155" creationId="{0DF3845C-0726-42EB-9635-63F1EB097733}"/>
          </ac:spMkLst>
        </pc:spChg>
        <pc:spChg chg="add mod">
          <ac:chgData name="Renata Festa" userId="6f22df47-533b-4c2a-a3c1-7f9ad1d63e10" providerId="ADAL" clId="{7D997690-04A4-4675-83D7-2E1CC2ED1A4E}" dt="2020-03-24T13:53:49.796" v="1480" actId="1036"/>
          <ac:spMkLst>
            <pc:docMk/>
            <pc:sldMk cId="364567982" sldId="2076136646"/>
            <ac:spMk id="158" creationId="{197D3D71-0CC9-441C-ACFA-7361FB4AC4C8}"/>
          </ac:spMkLst>
        </pc:spChg>
        <pc:spChg chg="add mod">
          <ac:chgData name="Renata Festa" userId="6f22df47-533b-4c2a-a3c1-7f9ad1d63e10" providerId="ADAL" clId="{7D997690-04A4-4675-83D7-2E1CC2ED1A4E}" dt="2020-03-24T13:53:49.796" v="1480" actId="1036"/>
          <ac:spMkLst>
            <pc:docMk/>
            <pc:sldMk cId="364567982" sldId="2076136646"/>
            <ac:spMk id="159" creationId="{BD0F7BAA-6D34-4608-8E04-B01B871E95EB}"/>
          </ac:spMkLst>
        </pc:spChg>
        <pc:spChg chg="add mod">
          <ac:chgData name="Renata Festa" userId="6f22df47-533b-4c2a-a3c1-7f9ad1d63e10" providerId="ADAL" clId="{7D997690-04A4-4675-83D7-2E1CC2ED1A4E}" dt="2020-03-24T13:53:49.796" v="1480" actId="1036"/>
          <ac:spMkLst>
            <pc:docMk/>
            <pc:sldMk cId="364567982" sldId="2076136646"/>
            <ac:spMk id="160" creationId="{1937E76C-BC68-43E2-B21A-52330483BBF1}"/>
          </ac:spMkLst>
        </pc:spChg>
        <pc:spChg chg="add mod">
          <ac:chgData name="Renata Festa" userId="6f22df47-533b-4c2a-a3c1-7f9ad1d63e10" providerId="ADAL" clId="{7D997690-04A4-4675-83D7-2E1CC2ED1A4E}" dt="2020-03-24T13:53:49.796" v="1480" actId="1036"/>
          <ac:spMkLst>
            <pc:docMk/>
            <pc:sldMk cId="364567982" sldId="2076136646"/>
            <ac:spMk id="161" creationId="{ACAC5076-E617-43F8-8FB5-B411EB28B6E7}"/>
          </ac:spMkLst>
        </pc:spChg>
        <pc:spChg chg="add mod">
          <ac:chgData name="Renata Festa" userId="6f22df47-533b-4c2a-a3c1-7f9ad1d63e10" providerId="ADAL" clId="{7D997690-04A4-4675-83D7-2E1CC2ED1A4E}" dt="2020-03-24T13:53:49.796" v="1480" actId="1036"/>
          <ac:spMkLst>
            <pc:docMk/>
            <pc:sldMk cId="364567982" sldId="2076136646"/>
            <ac:spMk id="162" creationId="{B41F5780-F70C-411E-9BAD-223B77AD4042}"/>
          </ac:spMkLst>
        </pc:spChg>
        <pc:spChg chg="add mod">
          <ac:chgData name="Renata Festa" userId="6f22df47-533b-4c2a-a3c1-7f9ad1d63e10" providerId="ADAL" clId="{7D997690-04A4-4675-83D7-2E1CC2ED1A4E}" dt="2020-03-24T13:53:49.796" v="1480" actId="1036"/>
          <ac:spMkLst>
            <pc:docMk/>
            <pc:sldMk cId="364567982" sldId="2076136646"/>
            <ac:spMk id="163" creationId="{0F056C97-B9D0-4972-A2C9-1A2E88F55C42}"/>
          </ac:spMkLst>
        </pc:spChg>
        <pc:spChg chg="add mod">
          <ac:chgData name="Renata Festa" userId="6f22df47-533b-4c2a-a3c1-7f9ad1d63e10" providerId="ADAL" clId="{7D997690-04A4-4675-83D7-2E1CC2ED1A4E}" dt="2020-03-24T13:53:49.796" v="1480" actId="1036"/>
          <ac:spMkLst>
            <pc:docMk/>
            <pc:sldMk cId="364567982" sldId="2076136646"/>
            <ac:spMk id="164" creationId="{B8833B24-B51A-4A84-84FF-E1B345FB7B37}"/>
          </ac:spMkLst>
        </pc:spChg>
        <pc:spChg chg="add mod">
          <ac:chgData name="Renata Festa" userId="6f22df47-533b-4c2a-a3c1-7f9ad1d63e10" providerId="ADAL" clId="{7D997690-04A4-4675-83D7-2E1CC2ED1A4E}" dt="2020-03-24T13:53:49.796" v="1480" actId="1036"/>
          <ac:spMkLst>
            <pc:docMk/>
            <pc:sldMk cId="364567982" sldId="2076136646"/>
            <ac:spMk id="165" creationId="{A468A9F7-C7C4-438D-8746-193F7A026AC5}"/>
          </ac:spMkLst>
        </pc:spChg>
        <pc:spChg chg="add mod">
          <ac:chgData name="Renata Festa" userId="6f22df47-533b-4c2a-a3c1-7f9ad1d63e10" providerId="ADAL" clId="{7D997690-04A4-4675-83D7-2E1CC2ED1A4E}" dt="2020-03-24T13:53:49.796" v="1480" actId="1036"/>
          <ac:spMkLst>
            <pc:docMk/>
            <pc:sldMk cId="364567982" sldId="2076136646"/>
            <ac:spMk id="166" creationId="{37761600-248D-4780-9C10-3720460F2AC9}"/>
          </ac:spMkLst>
        </pc:spChg>
        <pc:spChg chg="add mod">
          <ac:chgData name="Renata Festa" userId="6f22df47-533b-4c2a-a3c1-7f9ad1d63e10" providerId="ADAL" clId="{7D997690-04A4-4675-83D7-2E1CC2ED1A4E}" dt="2020-03-24T13:53:49.796" v="1480" actId="1036"/>
          <ac:spMkLst>
            <pc:docMk/>
            <pc:sldMk cId="364567982" sldId="2076136646"/>
            <ac:spMk id="167" creationId="{AE212668-53F9-45FB-B603-0E889517E75B}"/>
          </ac:spMkLst>
        </pc:spChg>
        <pc:spChg chg="add mod">
          <ac:chgData name="Renata Festa" userId="6f22df47-533b-4c2a-a3c1-7f9ad1d63e10" providerId="ADAL" clId="{7D997690-04A4-4675-83D7-2E1CC2ED1A4E}" dt="2020-03-24T13:53:49.796" v="1480" actId="1036"/>
          <ac:spMkLst>
            <pc:docMk/>
            <pc:sldMk cId="364567982" sldId="2076136646"/>
            <ac:spMk id="168" creationId="{44C56C4E-FA9A-4B33-AC0B-BC04BFC028AB}"/>
          </ac:spMkLst>
        </pc:spChg>
        <pc:spChg chg="add mod">
          <ac:chgData name="Renata Festa" userId="6f22df47-533b-4c2a-a3c1-7f9ad1d63e10" providerId="ADAL" clId="{7D997690-04A4-4675-83D7-2E1CC2ED1A4E}" dt="2020-03-24T13:53:49.796" v="1480" actId="1036"/>
          <ac:spMkLst>
            <pc:docMk/>
            <pc:sldMk cId="364567982" sldId="2076136646"/>
            <ac:spMk id="169" creationId="{237AFDB3-115B-4F0C-AB7D-C6BB9A98BA83}"/>
          </ac:spMkLst>
        </pc:spChg>
        <pc:spChg chg="add mod">
          <ac:chgData name="Renata Festa" userId="6f22df47-533b-4c2a-a3c1-7f9ad1d63e10" providerId="ADAL" clId="{7D997690-04A4-4675-83D7-2E1CC2ED1A4E}" dt="2020-03-24T13:53:49.796" v="1480" actId="1036"/>
          <ac:spMkLst>
            <pc:docMk/>
            <pc:sldMk cId="364567982" sldId="2076136646"/>
            <ac:spMk id="170" creationId="{8DA0DC0D-7134-4A2D-8B9F-A1467B7935FA}"/>
          </ac:spMkLst>
        </pc:spChg>
        <pc:spChg chg="add mod">
          <ac:chgData name="Renata Festa" userId="6f22df47-533b-4c2a-a3c1-7f9ad1d63e10" providerId="ADAL" clId="{7D997690-04A4-4675-83D7-2E1CC2ED1A4E}" dt="2020-03-24T13:53:49.796" v="1480" actId="1036"/>
          <ac:spMkLst>
            <pc:docMk/>
            <pc:sldMk cId="364567982" sldId="2076136646"/>
            <ac:spMk id="171" creationId="{5FC66A28-DC49-46C1-BC5B-9E14CCDB87CA}"/>
          </ac:spMkLst>
        </pc:spChg>
        <pc:spChg chg="add mod">
          <ac:chgData name="Renata Festa" userId="6f22df47-533b-4c2a-a3c1-7f9ad1d63e10" providerId="ADAL" clId="{7D997690-04A4-4675-83D7-2E1CC2ED1A4E}" dt="2020-03-24T13:53:49.796" v="1480" actId="1036"/>
          <ac:spMkLst>
            <pc:docMk/>
            <pc:sldMk cId="364567982" sldId="2076136646"/>
            <ac:spMk id="172" creationId="{0C075902-3E80-4E88-939D-009CBFC19DEF}"/>
          </ac:spMkLst>
        </pc:spChg>
        <pc:spChg chg="add mod">
          <ac:chgData name="Renata Festa" userId="6f22df47-533b-4c2a-a3c1-7f9ad1d63e10" providerId="ADAL" clId="{7D997690-04A4-4675-83D7-2E1CC2ED1A4E}" dt="2020-03-24T13:53:49.796" v="1480" actId="1036"/>
          <ac:spMkLst>
            <pc:docMk/>
            <pc:sldMk cId="364567982" sldId="2076136646"/>
            <ac:spMk id="174" creationId="{DC1F0684-8912-48CC-B03E-BFD7ED2684FE}"/>
          </ac:spMkLst>
        </pc:spChg>
        <pc:spChg chg="add mod">
          <ac:chgData name="Renata Festa" userId="6f22df47-533b-4c2a-a3c1-7f9ad1d63e10" providerId="ADAL" clId="{7D997690-04A4-4675-83D7-2E1CC2ED1A4E}" dt="2020-03-24T13:53:49.796" v="1480" actId="1036"/>
          <ac:spMkLst>
            <pc:docMk/>
            <pc:sldMk cId="364567982" sldId="2076136646"/>
            <ac:spMk id="175" creationId="{4F5FF909-5AE6-4C09-9633-5A65C248BA14}"/>
          </ac:spMkLst>
        </pc:spChg>
        <pc:spChg chg="add mod">
          <ac:chgData name="Renata Festa" userId="6f22df47-533b-4c2a-a3c1-7f9ad1d63e10" providerId="ADAL" clId="{7D997690-04A4-4675-83D7-2E1CC2ED1A4E}" dt="2020-03-24T13:53:49.796" v="1480" actId="1036"/>
          <ac:spMkLst>
            <pc:docMk/>
            <pc:sldMk cId="364567982" sldId="2076136646"/>
            <ac:spMk id="176" creationId="{BDF23CBD-ED74-490F-8A17-338E8A85EFAA}"/>
          </ac:spMkLst>
        </pc:spChg>
        <pc:spChg chg="add mod">
          <ac:chgData name="Renata Festa" userId="6f22df47-533b-4c2a-a3c1-7f9ad1d63e10" providerId="ADAL" clId="{7D997690-04A4-4675-83D7-2E1CC2ED1A4E}" dt="2020-03-24T13:53:49.796" v="1480" actId="1036"/>
          <ac:spMkLst>
            <pc:docMk/>
            <pc:sldMk cId="364567982" sldId="2076136646"/>
            <ac:spMk id="177" creationId="{57B8CB74-5690-4B17-B008-0A6FA889E2B0}"/>
          </ac:spMkLst>
        </pc:spChg>
        <pc:spChg chg="add mod">
          <ac:chgData name="Renata Festa" userId="6f22df47-533b-4c2a-a3c1-7f9ad1d63e10" providerId="ADAL" clId="{7D997690-04A4-4675-83D7-2E1CC2ED1A4E}" dt="2020-03-24T13:53:49.796" v="1480" actId="1036"/>
          <ac:spMkLst>
            <pc:docMk/>
            <pc:sldMk cId="364567982" sldId="2076136646"/>
            <ac:spMk id="179" creationId="{B47F0EA0-3C0B-4EDA-864B-9424B2C1F180}"/>
          </ac:spMkLst>
        </pc:spChg>
        <pc:spChg chg="add mod">
          <ac:chgData name="Renata Festa" userId="6f22df47-533b-4c2a-a3c1-7f9ad1d63e10" providerId="ADAL" clId="{7D997690-04A4-4675-83D7-2E1CC2ED1A4E}" dt="2020-03-24T13:53:49.796" v="1480" actId="1036"/>
          <ac:spMkLst>
            <pc:docMk/>
            <pc:sldMk cId="364567982" sldId="2076136646"/>
            <ac:spMk id="180" creationId="{72A983A6-28E4-4654-9478-7252A21BCE4C}"/>
          </ac:spMkLst>
        </pc:spChg>
        <pc:spChg chg="add mod">
          <ac:chgData name="Renata Festa" userId="6f22df47-533b-4c2a-a3c1-7f9ad1d63e10" providerId="ADAL" clId="{7D997690-04A4-4675-83D7-2E1CC2ED1A4E}" dt="2020-03-24T13:53:49.796" v="1480" actId="1036"/>
          <ac:spMkLst>
            <pc:docMk/>
            <pc:sldMk cId="364567982" sldId="2076136646"/>
            <ac:spMk id="184" creationId="{753628C1-EC0E-4636-9923-A19301B90257}"/>
          </ac:spMkLst>
        </pc:spChg>
        <pc:spChg chg="add mod">
          <ac:chgData name="Renata Festa" userId="6f22df47-533b-4c2a-a3c1-7f9ad1d63e10" providerId="ADAL" clId="{7D997690-04A4-4675-83D7-2E1CC2ED1A4E}" dt="2020-03-24T13:53:49.796" v="1480" actId="1036"/>
          <ac:spMkLst>
            <pc:docMk/>
            <pc:sldMk cId="364567982" sldId="2076136646"/>
            <ac:spMk id="186" creationId="{28CD842E-EE71-4E3D-9087-2F08FE0C5A1B}"/>
          </ac:spMkLst>
        </pc:spChg>
        <pc:spChg chg="add mod">
          <ac:chgData name="Renata Festa" userId="6f22df47-533b-4c2a-a3c1-7f9ad1d63e10" providerId="ADAL" clId="{7D997690-04A4-4675-83D7-2E1CC2ED1A4E}" dt="2020-03-24T13:53:49.796" v="1480" actId="1036"/>
          <ac:spMkLst>
            <pc:docMk/>
            <pc:sldMk cId="364567982" sldId="2076136646"/>
            <ac:spMk id="199" creationId="{2718DCEC-5104-4925-80FA-AA27F893F8D5}"/>
          </ac:spMkLst>
        </pc:spChg>
        <pc:spChg chg="add mod">
          <ac:chgData name="Renata Festa" userId="6f22df47-533b-4c2a-a3c1-7f9ad1d63e10" providerId="ADAL" clId="{7D997690-04A4-4675-83D7-2E1CC2ED1A4E}" dt="2020-03-24T13:53:49.796" v="1480" actId="1036"/>
          <ac:spMkLst>
            <pc:docMk/>
            <pc:sldMk cId="364567982" sldId="2076136646"/>
            <ac:spMk id="200" creationId="{62DF2CA9-8318-4D23-842B-20AC2F97981B}"/>
          </ac:spMkLst>
        </pc:spChg>
        <pc:spChg chg="add mod">
          <ac:chgData name="Renata Festa" userId="6f22df47-533b-4c2a-a3c1-7f9ad1d63e10" providerId="ADAL" clId="{7D997690-04A4-4675-83D7-2E1CC2ED1A4E}" dt="2020-03-24T13:53:49.796" v="1480" actId="1036"/>
          <ac:spMkLst>
            <pc:docMk/>
            <pc:sldMk cId="364567982" sldId="2076136646"/>
            <ac:spMk id="232" creationId="{349E7AAE-6A78-4E63-8892-598E45EB5C89}"/>
          </ac:spMkLst>
        </pc:spChg>
        <pc:spChg chg="add mod">
          <ac:chgData name="Renata Festa" userId="6f22df47-533b-4c2a-a3c1-7f9ad1d63e10" providerId="ADAL" clId="{7D997690-04A4-4675-83D7-2E1CC2ED1A4E}" dt="2020-03-24T13:53:49.796" v="1480" actId="1036"/>
          <ac:spMkLst>
            <pc:docMk/>
            <pc:sldMk cId="364567982" sldId="2076136646"/>
            <ac:spMk id="233" creationId="{5483209F-9104-41DD-8A54-C0941CBE6B1A}"/>
          </ac:spMkLst>
        </pc:spChg>
        <pc:spChg chg="add mod">
          <ac:chgData name="Renata Festa" userId="6f22df47-533b-4c2a-a3c1-7f9ad1d63e10" providerId="ADAL" clId="{7D997690-04A4-4675-83D7-2E1CC2ED1A4E}" dt="2020-03-24T13:53:49.796" v="1480" actId="1036"/>
          <ac:spMkLst>
            <pc:docMk/>
            <pc:sldMk cId="364567982" sldId="2076136646"/>
            <ac:spMk id="246" creationId="{8034E863-D650-4C64-A919-94269F8FFCF4}"/>
          </ac:spMkLst>
        </pc:spChg>
        <pc:spChg chg="add mod">
          <ac:chgData name="Renata Festa" userId="6f22df47-533b-4c2a-a3c1-7f9ad1d63e10" providerId="ADAL" clId="{7D997690-04A4-4675-83D7-2E1CC2ED1A4E}" dt="2020-03-24T13:53:49.796" v="1480" actId="1036"/>
          <ac:spMkLst>
            <pc:docMk/>
            <pc:sldMk cId="364567982" sldId="2076136646"/>
            <ac:spMk id="247" creationId="{1B25BA46-26CB-4220-87A8-8678036A8A3E}"/>
          </ac:spMkLst>
        </pc:spChg>
        <pc:spChg chg="add mod">
          <ac:chgData name="Renata Festa" userId="6f22df47-533b-4c2a-a3c1-7f9ad1d63e10" providerId="ADAL" clId="{7D997690-04A4-4675-83D7-2E1CC2ED1A4E}" dt="2020-03-24T13:53:49.796" v="1480" actId="1036"/>
          <ac:spMkLst>
            <pc:docMk/>
            <pc:sldMk cId="364567982" sldId="2076136646"/>
            <ac:spMk id="248" creationId="{7D9474C4-3C27-40E6-82B7-7A8E38CC1019}"/>
          </ac:spMkLst>
        </pc:spChg>
        <pc:spChg chg="add mod">
          <ac:chgData name="Renata Festa" userId="6f22df47-533b-4c2a-a3c1-7f9ad1d63e10" providerId="ADAL" clId="{7D997690-04A4-4675-83D7-2E1CC2ED1A4E}" dt="2020-03-24T13:53:49.796" v="1480" actId="1036"/>
          <ac:spMkLst>
            <pc:docMk/>
            <pc:sldMk cId="364567982" sldId="2076136646"/>
            <ac:spMk id="249" creationId="{97F8EAA4-5983-43B0-8516-3356EE650A6A}"/>
          </ac:spMkLst>
        </pc:spChg>
        <pc:spChg chg="add mod">
          <ac:chgData name="Renata Festa" userId="6f22df47-533b-4c2a-a3c1-7f9ad1d63e10" providerId="ADAL" clId="{7D997690-04A4-4675-83D7-2E1CC2ED1A4E}" dt="2020-03-24T13:53:49.796" v="1480" actId="1036"/>
          <ac:spMkLst>
            <pc:docMk/>
            <pc:sldMk cId="364567982" sldId="2076136646"/>
            <ac:spMk id="250" creationId="{2A132641-0ECB-4886-9BE1-3D34B54D9329}"/>
          </ac:spMkLst>
        </pc:spChg>
        <pc:spChg chg="add mod">
          <ac:chgData name="Renata Festa" userId="6f22df47-533b-4c2a-a3c1-7f9ad1d63e10" providerId="ADAL" clId="{7D997690-04A4-4675-83D7-2E1CC2ED1A4E}" dt="2020-03-24T13:53:49.796" v="1480" actId="1036"/>
          <ac:spMkLst>
            <pc:docMk/>
            <pc:sldMk cId="364567982" sldId="2076136646"/>
            <ac:spMk id="251" creationId="{E288E601-FFBD-4209-A8C7-642BA30C5D2F}"/>
          </ac:spMkLst>
        </pc:spChg>
        <pc:spChg chg="add mod">
          <ac:chgData name="Renata Festa" userId="6f22df47-533b-4c2a-a3c1-7f9ad1d63e10" providerId="ADAL" clId="{7D997690-04A4-4675-83D7-2E1CC2ED1A4E}" dt="2020-03-24T13:53:49.796" v="1480" actId="1036"/>
          <ac:spMkLst>
            <pc:docMk/>
            <pc:sldMk cId="364567982" sldId="2076136646"/>
            <ac:spMk id="252" creationId="{BE4DED54-D6F0-42EA-8CC7-BD69B74F4F2A}"/>
          </ac:spMkLst>
        </pc:spChg>
        <pc:spChg chg="add mod">
          <ac:chgData name="Renata Festa" userId="6f22df47-533b-4c2a-a3c1-7f9ad1d63e10" providerId="ADAL" clId="{7D997690-04A4-4675-83D7-2E1CC2ED1A4E}" dt="2020-03-24T13:53:49.796" v="1480" actId="1036"/>
          <ac:spMkLst>
            <pc:docMk/>
            <pc:sldMk cId="364567982" sldId="2076136646"/>
            <ac:spMk id="253" creationId="{09791323-0891-41FE-8AE2-C9F25AA63521}"/>
          </ac:spMkLst>
        </pc:spChg>
        <pc:spChg chg="add mod">
          <ac:chgData name="Renata Festa" userId="6f22df47-533b-4c2a-a3c1-7f9ad1d63e10" providerId="ADAL" clId="{7D997690-04A4-4675-83D7-2E1CC2ED1A4E}" dt="2020-03-24T13:53:49.796" v="1480" actId="1036"/>
          <ac:spMkLst>
            <pc:docMk/>
            <pc:sldMk cId="364567982" sldId="2076136646"/>
            <ac:spMk id="254" creationId="{8FCD5A44-D305-4994-9E31-89E42CA4B238}"/>
          </ac:spMkLst>
        </pc:spChg>
        <pc:spChg chg="add mod">
          <ac:chgData name="Renata Festa" userId="6f22df47-533b-4c2a-a3c1-7f9ad1d63e10" providerId="ADAL" clId="{7D997690-04A4-4675-83D7-2E1CC2ED1A4E}" dt="2020-03-24T13:53:49.796" v="1480" actId="1036"/>
          <ac:spMkLst>
            <pc:docMk/>
            <pc:sldMk cId="364567982" sldId="2076136646"/>
            <ac:spMk id="255" creationId="{867EA6CC-F216-48A0-9233-D89D752A9652}"/>
          </ac:spMkLst>
        </pc:spChg>
        <pc:spChg chg="add mod">
          <ac:chgData name="Renata Festa" userId="6f22df47-533b-4c2a-a3c1-7f9ad1d63e10" providerId="ADAL" clId="{7D997690-04A4-4675-83D7-2E1CC2ED1A4E}" dt="2020-03-24T13:53:49.796" v="1480" actId="1036"/>
          <ac:spMkLst>
            <pc:docMk/>
            <pc:sldMk cId="364567982" sldId="2076136646"/>
            <ac:spMk id="256" creationId="{20208657-16CF-4BF5-9882-CECC4F8681D2}"/>
          </ac:spMkLst>
        </pc:spChg>
        <pc:spChg chg="add mod">
          <ac:chgData name="Renata Festa" userId="6f22df47-533b-4c2a-a3c1-7f9ad1d63e10" providerId="ADAL" clId="{7D997690-04A4-4675-83D7-2E1CC2ED1A4E}" dt="2020-03-24T13:53:49.796" v="1480" actId="1036"/>
          <ac:spMkLst>
            <pc:docMk/>
            <pc:sldMk cId="364567982" sldId="2076136646"/>
            <ac:spMk id="257" creationId="{9D96BA24-203A-42D4-993D-2EB41AD4E303}"/>
          </ac:spMkLst>
        </pc:spChg>
        <pc:spChg chg="add mod">
          <ac:chgData name="Renata Festa" userId="6f22df47-533b-4c2a-a3c1-7f9ad1d63e10" providerId="ADAL" clId="{7D997690-04A4-4675-83D7-2E1CC2ED1A4E}" dt="2020-03-24T13:53:49.796" v="1480" actId="1036"/>
          <ac:spMkLst>
            <pc:docMk/>
            <pc:sldMk cId="364567982" sldId="2076136646"/>
            <ac:spMk id="259" creationId="{D32CF83C-BE0C-4636-A086-E2C261AB3D9A}"/>
          </ac:spMkLst>
        </pc:spChg>
        <pc:spChg chg="add mod">
          <ac:chgData name="Renata Festa" userId="6f22df47-533b-4c2a-a3c1-7f9ad1d63e10" providerId="ADAL" clId="{7D997690-04A4-4675-83D7-2E1CC2ED1A4E}" dt="2020-03-24T13:53:49.796" v="1480" actId="1036"/>
          <ac:spMkLst>
            <pc:docMk/>
            <pc:sldMk cId="364567982" sldId="2076136646"/>
            <ac:spMk id="260" creationId="{464FEA92-AEA7-46E8-AD4A-9C69638AD367}"/>
          </ac:spMkLst>
        </pc:spChg>
        <pc:spChg chg="add mod">
          <ac:chgData name="Renata Festa" userId="6f22df47-533b-4c2a-a3c1-7f9ad1d63e10" providerId="ADAL" clId="{7D997690-04A4-4675-83D7-2E1CC2ED1A4E}" dt="2020-03-24T13:53:49.796" v="1480" actId="1036"/>
          <ac:spMkLst>
            <pc:docMk/>
            <pc:sldMk cId="364567982" sldId="2076136646"/>
            <ac:spMk id="262" creationId="{8C38B17A-12E7-44B0-8639-29BB48C5DFA1}"/>
          </ac:spMkLst>
        </pc:spChg>
        <pc:spChg chg="add del mod">
          <ac:chgData name="Renata Festa" userId="6f22df47-533b-4c2a-a3c1-7f9ad1d63e10" providerId="ADAL" clId="{7D997690-04A4-4675-83D7-2E1CC2ED1A4E}" dt="2020-03-24T13:59:14.111" v="1613" actId="478"/>
          <ac:spMkLst>
            <pc:docMk/>
            <pc:sldMk cId="364567982" sldId="2076136646"/>
            <ac:spMk id="264" creationId="{67E42E6F-1831-457E-B61C-BAE113CF2B9E}"/>
          </ac:spMkLst>
        </pc:spChg>
        <pc:grpChg chg="add del">
          <ac:chgData name="Renata Festa" userId="6f22df47-533b-4c2a-a3c1-7f9ad1d63e10" providerId="ADAL" clId="{7D997690-04A4-4675-83D7-2E1CC2ED1A4E}" dt="2020-03-24T13:10:47.461" v="1470"/>
          <ac:grpSpMkLst>
            <pc:docMk/>
            <pc:sldMk cId="364567982" sldId="2076136646"/>
            <ac:grpSpMk id="6" creationId="{410B9E63-5E4F-4237-A844-7384483B6DB0}"/>
          </ac:grpSpMkLst>
        </pc:grpChg>
        <pc:grpChg chg="add del">
          <ac:chgData name="Renata Festa" userId="6f22df47-533b-4c2a-a3c1-7f9ad1d63e10" providerId="ADAL" clId="{7D997690-04A4-4675-83D7-2E1CC2ED1A4E}" dt="2020-03-24T13:10:47.461" v="1470"/>
          <ac:grpSpMkLst>
            <pc:docMk/>
            <pc:sldMk cId="364567982" sldId="2076136646"/>
            <ac:grpSpMk id="12" creationId="{C0EDC937-38D3-491E-825D-29E8548F5A2D}"/>
          </ac:grpSpMkLst>
        </pc:grpChg>
        <pc:grpChg chg="add del">
          <ac:chgData name="Renata Festa" userId="6f22df47-533b-4c2a-a3c1-7f9ad1d63e10" providerId="ADAL" clId="{7D997690-04A4-4675-83D7-2E1CC2ED1A4E}" dt="2020-03-24T13:10:47.461" v="1470"/>
          <ac:grpSpMkLst>
            <pc:docMk/>
            <pc:sldMk cId="364567982" sldId="2076136646"/>
            <ac:grpSpMk id="18" creationId="{2351F35F-2A20-442C-BB9A-E7C28BDA1B81}"/>
          </ac:grpSpMkLst>
        </pc:grpChg>
        <pc:grpChg chg="add del">
          <ac:chgData name="Renata Festa" userId="6f22df47-533b-4c2a-a3c1-7f9ad1d63e10" providerId="ADAL" clId="{7D997690-04A4-4675-83D7-2E1CC2ED1A4E}" dt="2020-03-24T13:10:47.461" v="1470"/>
          <ac:grpSpMkLst>
            <pc:docMk/>
            <pc:sldMk cId="364567982" sldId="2076136646"/>
            <ac:grpSpMk id="58" creationId="{E5671810-5340-429D-826F-EE0AD5A23012}"/>
          </ac:grpSpMkLst>
        </pc:grpChg>
        <pc:grpChg chg="add del">
          <ac:chgData name="Renata Festa" userId="6f22df47-533b-4c2a-a3c1-7f9ad1d63e10" providerId="ADAL" clId="{7D997690-04A4-4675-83D7-2E1CC2ED1A4E}" dt="2020-03-24T13:10:47.461" v="1470"/>
          <ac:grpSpMkLst>
            <pc:docMk/>
            <pc:sldMk cId="364567982" sldId="2076136646"/>
            <ac:grpSpMk id="72" creationId="{E0C1786B-F5AA-4A71-9D4B-D4A93EB0FAC3}"/>
          </ac:grpSpMkLst>
        </pc:grpChg>
        <pc:grpChg chg="add del">
          <ac:chgData name="Renata Festa" userId="6f22df47-533b-4c2a-a3c1-7f9ad1d63e10" providerId="ADAL" clId="{7D997690-04A4-4675-83D7-2E1CC2ED1A4E}" dt="2020-03-24T13:10:47.461" v="1470"/>
          <ac:grpSpMkLst>
            <pc:docMk/>
            <pc:sldMk cId="364567982" sldId="2076136646"/>
            <ac:grpSpMk id="87" creationId="{F31BD5E8-B5DA-46DE-A489-26E1FF7B9E0B}"/>
          </ac:grpSpMkLst>
        </pc:grpChg>
        <pc:grpChg chg="add del">
          <ac:chgData name="Renata Festa" userId="6f22df47-533b-4c2a-a3c1-7f9ad1d63e10" providerId="ADAL" clId="{7D997690-04A4-4675-83D7-2E1CC2ED1A4E}" dt="2020-03-24T13:10:47.461" v="1470"/>
          <ac:grpSpMkLst>
            <pc:docMk/>
            <pc:sldMk cId="364567982" sldId="2076136646"/>
            <ac:grpSpMk id="105" creationId="{96A010BF-338C-462A-894D-29FC53DAAC16}"/>
          </ac:grpSpMkLst>
        </pc:grpChg>
        <pc:grpChg chg="add del">
          <ac:chgData name="Renata Festa" userId="6f22df47-533b-4c2a-a3c1-7f9ad1d63e10" providerId="ADAL" clId="{7D997690-04A4-4675-83D7-2E1CC2ED1A4E}" dt="2020-03-24T13:10:47.461" v="1470"/>
          <ac:grpSpMkLst>
            <pc:docMk/>
            <pc:sldMk cId="364567982" sldId="2076136646"/>
            <ac:grpSpMk id="111" creationId="{5EC9F315-EC25-404A-8BCC-A56784C2D85A}"/>
          </ac:grpSpMkLst>
        </pc:grpChg>
        <pc:grpChg chg="add mod">
          <ac:chgData name="Renata Festa" userId="6f22df47-533b-4c2a-a3c1-7f9ad1d63e10" providerId="ADAL" clId="{7D997690-04A4-4675-83D7-2E1CC2ED1A4E}" dt="2020-03-24T13:53:49.796" v="1480" actId="1036"/>
          <ac:grpSpMkLst>
            <pc:docMk/>
            <pc:sldMk cId="364567982" sldId="2076136646"/>
            <ac:grpSpMk id="135" creationId="{F1D4211E-98ED-4558-9F5F-528E8C284720}"/>
          </ac:grpSpMkLst>
        </pc:grpChg>
        <pc:grpChg chg="mod">
          <ac:chgData name="Renata Festa" userId="6f22df47-533b-4c2a-a3c1-7f9ad1d63e10" providerId="ADAL" clId="{7D997690-04A4-4675-83D7-2E1CC2ED1A4E}" dt="2020-03-24T13:53:49.796" v="1480" actId="1036"/>
          <ac:grpSpMkLst>
            <pc:docMk/>
            <pc:sldMk cId="364567982" sldId="2076136646"/>
            <ac:grpSpMk id="136" creationId="{5CFCAC45-9EBE-4AE3-8CD1-D6F0976543E9}"/>
          </ac:grpSpMkLst>
        </pc:grpChg>
        <pc:grpChg chg="add mod">
          <ac:chgData name="Renata Festa" userId="6f22df47-533b-4c2a-a3c1-7f9ad1d63e10" providerId="ADAL" clId="{7D997690-04A4-4675-83D7-2E1CC2ED1A4E}" dt="2020-03-24T13:53:49.796" v="1480" actId="1036"/>
          <ac:grpSpMkLst>
            <pc:docMk/>
            <pc:sldMk cId="364567982" sldId="2076136646"/>
            <ac:grpSpMk id="141" creationId="{8FF8424F-EA6A-4C41-8143-C719185B233D}"/>
          </ac:grpSpMkLst>
        </pc:grpChg>
        <pc:grpChg chg="mod">
          <ac:chgData name="Renata Festa" userId="6f22df47-533b-4c2a-a3c1-7f9ad1d63e10" providerId="ADAL" clId="{7D997690-04A4-4675-83D7-2E1CC2ED1A4E}" dt="2020-03-24T13:53:49.796" v="1480" actId="1036"/>
          <ac:grpSpMkLst>
            <pc:docMk/>
            <pc:sldMk cId="364567982" sldId="2076136646"/>
            <ac:grpSpMk id="142" creationId="{CD6D115D-12BF-4C0F-ADC5-0B4E412854F9}"/>
          </ac:grpSpMkLst>
        </pc:grpChg>
        <pc:grpChg chg="add mod">
          <ac:chgData name="Renata Festa" userId="6f22df47-533b-4c2a-a3c1-7f9ad1d63e10" providerId="ADAL" clId="{7D997690-04A4-4675-83D7-2E1CC2ED1A4E}" dt="2020-03-24T13:53:49.796" v="1480" actId="1036"/>
          <ac:grpSpMkLst>
            <pc:docMk/>
            <pc:sldMk cId="364567982" sldId="2076136646"/>
            <ac:grpSpMk id="147" creationId="{AA37F63C-9ACA-4782-90B6-815E154C5D36}"/>
          </ac:grpSpMkLst>
        </pc:grpChg>
        <pc:grpChg chg="mod">
          <ac:chgData name="Renata Festa" userId="6f22df47-533b-4c2a-a3c1-7f9ad1d63e10" providerId="ADAL" clId="{7D997690-04A4-4675-83D7-2E1CC2ED1A4E}" dt="2020-03-24T13:53:49.796" v="1480" actId="1036"/>
          <ac:grpSpMkLst>
            <pc:docMk/>
            <pc:sldMk cId="364567982" sldId="2076136646"/>
            <ac:grpSpMk id="148" creationId="{4B3EBBB4-903E-49B2-A2D4-12FF5EE10061}"/>
          </ac:grpSpMkLst>
        </pc:grpChg>
        <pc:grpChg chg="add mod">
          <ac:chgData name="Renata Festa" userId="6f22df47-533b-4c2a-a3c1-7f9ad1d63e10" providerId="ADAL" clId="{7D997690-04A4-4675-83D7-2E1CC2ED1A4E}" dt="2020-03-24T13:53:49.796" v="1480" actId="1036"/>
          <ac:grpSpMkLst>
            <pc:docMk/>
            <pc:sldMk cId="364567982" sldId="2076136646"/>
            <ac:grpSpMk id="187" creationId="{17A9EFBD-0211-4550-9F9C-A6F84E213969}"/>
          </ac:grpSpMkLst>
        </pc:grpChg>
        <pc:grpChg chg="mod">
          <ac:chgData name="Renata Festa" userId="6f22df47-533b-4c2a-a3c1-7f9ad1d63e10" providerId="ADAL" clId="{7D997690-04A4-4675-83D7-2E1CC2ED1A4E}" dt="2020-03-24T13:53:49.796" v="1480" actId="1036"/>
          <ac:grpSpMkLst>
            <pc:docMk/>
            <pc:sldMk cId="364567982" sldId="2076136646"/>
            <ac:grpSpMk id="188" creationId="{9F92B1A4-FA1D-427B-B243-8DA844073B2E}"/>
          </ac:grpSpMkLst>
        </pc:grpChg>
        <pc:grpChg chg="mod">
          <ac:chgData name="Renata Festa" userId="6f22df47-533b-4c2a-a3c1-7f9ad1d63e10" providerId="ADAL" clId="{7D997690-04A4-4675-83D7-2E1CC2ED1A4E}" dt="2020-03-24T13:53:49.796" v="1480" actId="1036"/>
          <ac:grpSpMkLst>
            <pc:docMk/>
            <pc:sldMk cId="364567982" sldId="2076136646"/>
            <ac:grpSpMk id="191" creationId="{67355761-0B01-4142-BAED-591AC95A46F8}"/>
          </ac:grpSpMkLst>
        </pc:grpChg>
        <pc:grpChg chg="mod">
          <ac:chgData name="Renata Festa" userId="6f22df47-533b-4c2a-a3c1-7f9ad1d63e10" providerId="ADAL" clId="{7D997690-04A4-4675-83D7-2E1CC2ED1A4E}" dt="2020-03-24T13:53:49.796" v="1480" actId="1036"/>
          <ac:grpSpMkLst>
            <pc:docMk/>
            <pc:sldMk cId="364567982" sldId="2076136646"/>
            <ac:grpSpMk id="192" creationId="{AD5C497B-66B3-469A-870F-D14D16E9B97D}"/>
          </ac:grpSpMkLst>
        </pc:grpChg>
        <pc:grpChg chg="add mod">
          <ac:chgData name="Renata Festa" userId="6f22df47-533b-4c2a-a3c1-7f9ad1d63e10" providerId="ADAL" clId="{7D997690-04A4-4675-83D7-2E1CC2ED1A4E}" dt="2020-03-24T13:53:49.796" v="1480" actId="1036"/>
          <ac:grpSpMkLst>
            <pc:docMk/>
            <pc:sldMk cId="364567982" sldId="2076136646"/>
            <ac:grpSpMk id="201" creationId="{29926072-F245-456F-89B3-E41783A533C9}"/>
          </ac:grpSpMkLst>
        </pc:grpChg>
        <pc:grpChg chg="mod">
          <ac:chgData name="Renata Festa" userId="6f22df47-533b-4c2a-a3c1-7f9ad1d63e10" providerId="ADAL" clId="{7D997690-04A4-4675-83D7-2E1CC2ED1A4E}" dt="2020-03-24T13:53:49.796" v="1480" actId="1036"/>
          <ac:grpSpMkLst>
            <pc:docMk/>
            <pc:sldMk cId="364567982" sldId="2076136646"/>
            <ac:grpSpMk id="204" creationId="{9147FF56-1F89-4713-A779-F8C763C87098}"/>
          </ac:grpSpMkLst>
        </pc:grpChg>
        <pc:grpChg chg="mod">
          <ac:chgData name="Renata Festa" userId="6f22df47-533b-4c2a-a3c1-7f9ad1d63e10" providerId="ADAL" clId="{7D997690-04A4-4675-83D7-2E1CC2ED1A4E}" dt="2020-03-24T13:53:49.796" v="1480" actId="1036"/>
          <ac:grpSpMkLst>
            <pc:docMk/>
            <pc:sldMk cId="364567982" sldId="2076136646"/>
            <ac:grpSpMk id="208" creationId="{8B4579A4-6209-44CB-847E-FFC04E95E851}"/>
          </ac:grpSpMkLst>
        </pc:grpChg>
        <pc:grpChg chg="mod">
          <ac:chgData name="Renata Festa" userId="6f22df47-533b-4c2a-a3c1-7f9ad1d63e10" providerId="ADAL" clId="{7D997690-04A4-4675-83D7-2E1CC2ED1A4E}" dt="2020-03-24T13:53:49.796" v="1480" actId="1036"/>
          <ac:grpSpMkLst>
            <pc:docMk/>
            <pc:sldMk cId="364567982" sldId="2076136646"/>
            <ac:grpSpMk id="209" creationId="{8B28A560-753D-4E79-B0A8-D8B9D163BD9C}"/>
          </ac:grpSpMkLst>
        </pc:grpChg>
        <pc:grpChg chg="add mod">
          <ac:chgData name="Renata Festa" userId="6f22df47-533b-4c2a-a3c1-7f9ad1d63e10" providerId="ADAL" clId="{7D997690-04A4-4675-83D7-2E1CC2ED1A4E}" dt="2020-03-24T13:53:49.796" v="1480" actId="1036"/>
          <ac:grpSpMkLst>
            <pc:docMk/>
            <pc:sldMk cId="364567982" sldId="2076136646"/>
            <ac:grpSpMk id="216" creationId="{1755A931-D1A9-4E2E-AE50-219E9143A268}"/>
          </ac:grpSpMkLst>
        </pc:grpChg>
        <pc:grpChg chg="mod">
          <ac:chgData name="Renata Festa" userId="6f22df47-533b-4c2a-a3c1-7f9ad1d63e10" providerId="ADAL" clId="{7D997690-04A4-4675-83D7-2E1CC2ED1A4E}" dt="2020-03-24T13:53:49.796" v="1480" actId="1036"/>
          <ac:grpSpMkLst>
            <pc:docMk/>
            <pc:sldMk cId="364567982" sldId="2076136646"/>
            <ac:grpSpMk id="219" creationId="{70F5FF37-4BF5-45CC-9143-E55023568A19}"/>
          </ac:grpSpMkLst>
        </pc:grpChg>
        <pc:grpChg chg="mod">
          <ac:chgData name="Renata Festa" userId="6f22df47-533b-4c2a-a3c1-7f9ad1d63e10" providerId="ADAL" clId="{7D997690-04A4-4675-83D7-2E1CC2ED1A4E}" dt="2020-03-24T13:53:49.796" v="1480" actId="1036"/>
          <ac:grpSpMkLst>
            <pc:docMk/>
            <pc:sldMk cId="364567982" sldId="2076136646"/>
            <ac:grpSpMk id="223" creationId="{0855C8DA-CFF0-4550-A063-C4C32A3B3FE3}"/>
          </ac:grpSpMkLst>
        </pc:grpChg>
        <pc:grpChg chg="mod">
          <ac:chgData name="Renata Festa" userId="6f22df47-533b-4c2a-a3c1-7f9ad1d63e10" providerId="ADAL" clId="{7D997690-04A4-4675-83D7-2E1CC2ED1A4E}" dt="2020-03-24T13:53:49.796" v="1480" actId="1036"/>
          <ac:grpSpMkLst>
            <pc:docMk/>
            <pc:sldMk cId="364567982" sldId="2076136646"/>
            <ac:grpSpMk id="224" creationId="{2B45FF54-A3E7-4D8E-84EC-B4D82E915ED9}"/>
          </ac:grpSpMkLst>
        </pc:grpChg>
        <pc:grpChg chg="add mod">
          <ac:chgData name="Renata Festa" userId="6f22df47-533b-4c2a-a3c1-7f9ad1d63e10" providerId="ADAL" clId="{7D997690-04A4-4675-83D7-2E1CC2ED1A4E}" dt="2020-03-24T13:53:49.796" v="1480" actId="1036"/>
          <ac:grpSpMkLst>
            <pc:docMk/>
            <pc:sldMk cId="364567982" sldId="2076136646"/>
            <ac:grpSpMk id="234" creationId="{0C234FFC-D4DD-4511-8BA4-8D6AB3BF992B}"/>
          </ac:grpSpMkLst>
        </pc:grpChg>
        <pc:grpChg chg="mod">
          <ac:chgData name="Renata Festa" userId="6f22df47-533b-4c2a-a3c1-7f9ad1d63e10" providerId="ADAL" clId="{7D997690-04A4-4675-83D7-2E1CC2ED1A4E}" dt="2020-03-24T13:53:49.796" v="1480" actId="1036"/>
          <ac:grpSpMkLst>
            <pc:docMk/>
            <pc:sldMk cId="364567982" sldId="2076136646"/>
            <ac:grpSpMk id="237" creationId="{9889F8A4-3E53-4A35-99CD-6BDDDAAE1886}"/>
          </ac:grpSpMkLst>
        </pc:grpChg>
        <pc:grpChg chg="add del mod">
          <ac:chgData name="Renata Festa" userId="6f22df47-533b-4c2a-a3c1-7f9ad1d63e10" providerId="ADAL" clId="{7D997690-04A4-4675-83D7-2E1CC2ED1A4E}" dt="2020-03-24T13:59:05.859" v="1609" actId="478"/>
          <ac:grpSpMkLst>
            <pc:docMk/>
            <pc:sldMk cId="364567982" sldId="2076136646"/>
            <ac:grpSpMk id="240" creationId="{7FB7BEA9-103D-41BF-B9D1-8E2494C09541}"/>
          </ac:grpSpMkLst>
        </pc:grpChg>
        <pc:grpChg chg="mod">
          <ac:chgData name="Renata Festa" userId="6f22df47-533b-4c2a-a3c1-7f9ad1d63e10" providerId="ADAL" clId="{7D997690-04A4-4675-83D7-2E1CC2ED1A4E}" dt="2020-03-24T13:53:49.796" v="1480" actId="1036"/>
          <ac:grpSpMkLst>
            <pc:docMk/>
            <pc:sldMk cId="364567982" sldId="2076136646"/>
            <ac:grpSpMk id="242" creationId="{8CB0B748-ADDC-4A65-B2D3-AF3D58C76749}"/>
          </ac:grpSpMkLst>
        </pc:grpChg>
        <pc:cxnChg chg="add del">
          <ac:chgData name="Renata Festa" userId="6f22df47-533b-4c2a-a3c1-7f9ad1d63e10" providerId="ADAL" clId="{7D997690-04A4-4675-83D7-2E1CC2ED1A4E}" dt="2020-03-24T13:10:47.461" v="1470"/>
          <ac:cxnSpMkLst>
            <pc:docMk/>
            <pc:sldMk cId="364567982" sldId="2076136646"/>
            <ac:cxnSpMk id="27" creationId="{50E00CCF-AB18-4A48-8512-4D4043146EB3}"/>
          </ac:cxnSpMkLst>
        </pc:cxnChg>
        <pc:cxnChg chg="add del">
          <ac:chgData name="Renata Festa" userId="6f22df47-533b-4c2a-a3c1-7f9ad1d63e10" providerId="ADAL" clId="{7D997690-04A4-4675-83D7-2E1CC2ED1A4E}" dt="2020-03-24T13:10:47.461" v="1470"/>
          <ac:cxnSpMkLst>
            <pc:docMk/>
            <pc:sldMk cId="364567982" sldId="2076136646"/>
            <ac:cxnSpMk id="28" creationId="{EF0C9323-C7E1-41FD-8B92-F9D7EF9D23F3}"/>
          </ac:cxnSpMkLst>
        </pc:cxnChg>
        <pc:cxnChg chg="add del">
          <ac:chgData name="Renata Festa" userId="6f22df47-533b-4c2a-a3c1-7f9ad1d63e10" providerId="ADAL" clId="{7D997690-04A4-4675-83D7-2E1CC2ED1A4E}" dt="2020-03-24T13:10:47.461" v="1470"/>
          <ac:cxnSpMkLst>
            <pc:docMk/>
            <pc:sldMk cId="364567982" sldId="2076136646"/>
            <ac:cxnSpMk id="44" creationId="{7AE7141F-B499-471D-80F7-33C310FFD13E}"/>
          </ac:cxnSpMkLst>
        </pc:cxnChg>
        <pc:cxnChg chg="add del">
          <ac:chgData name="Renata Festa" userId="6f22df47-533b-4c2a-a3c1-7f9ad1d63e10" providerId="ADAL" clId="{7D997690-04A4-4675-83D7-2E1CC2ED1A4E}" dt="2020-03-24T13:10:47.461" v="1470"/>
          <ac:cxnSpMkLst>
            <pc:docMk/>
            <pc:sldMk cId="364567982" sldId="2076136646"/>
            <ac:cxnSpMk id="49" creationId="{8352F65D-9B61-430A-97CE-60A098C91D67}"/>
          </ac:cxnSpMkLst>
        </pc:cxnChg>
        <pc:cxnChg chg="add del">
          <ac:chgData name="Renata Festa" userId="6f22df47-533b-4c2a-a3c1-7f9ad1d63e10" providerId="ADAL" clId="{7D997690-04A4-4675-83D7-2E1CC2ED1A4E}" dt="2020-03-24T13:10:47.461" v="1470"/>
          <ac:cxnSpMkLst>
            <pc:docMk/>
            <pc:sldMk cId="364567982" sldId="2076136646"/>
            <ac:cxnSpMk id="52" creationId="{AAC76EA7-C5C0-42D7-9EA8-EFA0E5130133}"/>
          </ac:cxnSpMkLst>
        </pc:cxnChg>
        <pc:cxnChg chg="add del">
          <ac:chgData name="Renata Festa" userId="6f22df47-533b-4c2a-a3c1-7f9ad1d63e10" providerId="ADAL" clId="{7D997690-04A4-4675-83D7-2E1CC2ED1A4E}" dt="2020-03-24T13:10:47.461" v="1470"/>
          <ac:cxnSpMkLst>
            <pc:docMk/>
            <pc:sldMk cId="364567982" sldId="2076136646"/>
            <ac:cxnSpMk id="53" creationId="{FB11D515-C1E0-4D69-AE7E-32442B991B9C}"/>
          </ac:cxnSpMkLst>
        </pc:cxnChg>
        <pc:cxnChg chg="add del">
          <ac:chgData name="Renata Festa" userId="6f22df47-533b-4c2a-a3c1-7f9ad1d63e10" providerId="ADAL" clId="{7D997690-04A4-4675-83D7-2E1CC2ED1A4E}" dt="2020-03-24T13:10:47.461" v="1470"/>
          <ac:cxnSpMkLst>
            <pc:docMk/>
            <pc:sldMk cId="364567982" sldId="2076136646"/>
            <ac:cxnSpMk id="54" creationId="{761991A6-94D5-4878-97D9-E4DCE865B676}"/>
          </ac:cxnSpMkLst>
        </pc:cxnChg>
        <pc:cxnChg chg="add del">
          <ac:chgData name="Renata Festa" userId="6f22df47-533b-4c2a-a3c1-7f9ad1d63e10" providerId="ADAL" clId="{7D997690-04A4-4675-83D7-2E1CC2ED1A4E}" dt="2020-03-24T13:10:47.461" v="1470"/>
          <ac:cxnSpMkLst>
            <pc:docMk/>
            <pc:sldMk cId="364567982" sldId="2076136646"/>
            <ac:cxnSpMk id="56" creationId="{7484F407-9117-475D-8EB6-F96442D4FD95}"/>
          </ac:cxnSpMkLst>
        </pc:cxnChg>
        <pc:cxnChg chg="add del">
          <ac:chgData name="Renata Festa" userId="6f22df47-533b-4c2a-a3c1-7f9ad1d63e10" providerId="ADAL" clId="{7D997690-04A4-4675-83D7-2E1CC2ED1A4E}" dt="2020-03-24T13:10:47.461" v="1470"/>
          <ac:cxnSpMkLst>
            <pc:docMk/>
            <pc:sldMk cId="364567982" sldId="2076136646"/>
            <ac:cxnSpMk id="102" creationId="{72B5140D-6F73-4A6F-AAE5-9A31A22FFB62}"/>
          </ac:cxnSpMkLst>
        </pc:cxnChg>
        <pc:cxnChg chg="add del">
          <ac:chgData name="Renata Festa" userId="6f22df47-533b-4c2a-a3c1-7f9ad1d63e10" providerId="ADAL" clId="{7D997690-04A4-4675-83D7-2E1CC2ED1A4E}" dt="2020-03-24T13:10:47.461" v="1470"/>
          <ac:cxnSpMkLst>
            <pc:docMk/>
            <pc:sldMk cId="364567982" sldId="2076136646"/>
            <ac:cxnSpMk id="129" creationId="{6D7830C4-8FB7-4373-8358-5A4EEC655D8E}"/>
          </ac:cxnSpMkLst>
        </pc:cxnChg>
        <pc:cxnChg chg="add del">
          <ac:chgData name="Renata Festa" userId="6f22df47-533b-4c2a-a3c1-7f9ad1d63e10" providerId="ADAL" clId="{7D997690-04A4-4675-83D7-2E1CC2ED1A4E}" dt="2020-03-24T13:10:47.461" v="1470"/>
          <ac:cxnSpMkLst>
            <pc:docMk/>
            <pc:sldMk cId="364567982" sldId="2076136646"/>
            <ac:cxnSpMk id="132" creationId="{EDE6F626-A7CC-447A-B28A-485CA46C2F86}"/>
          </ac:cxnSpMkLst>
        </pc:cxnChg>
        <pc:cxnChg chg="add mod">
          <ac:chgData name="Renata Festa" userId="6f22df47-533b-4c2a-a3c1-7f9ad1d63e10" providerId="ADAL" clId="{7D997690-04A4-4675-83D7-2E1CC2ED1A4E}" dt="2020-03-24T13:53:49.796" v="1480" actId="1036"/>
          <ac:cxnSpMkLst>
            <pc:docMk/>
            <pc:sldMk cId="364567982" sldId="2076136646"/>
            <ac:cxnSpMk id="156" creationId="{4204C568-C789-40AE-BE9F-14045BF3EDA2}"/>
          </ac:cxnSpMkLst>
        </pc:cxnChg>
        <pc:cxnChg chg="add mod">
          <ac:chgData name="Renata Festa" userId="6f22df47-533b-4c2a-a3c1-7f9ad1d63e10" providerId="ADAL" clId="{7D997690-04A4-4675-83D7-2E1CC2ED1A4E}" dt="2020-03-24T13:53:49.796" v="1480" actId="1036"/>
          <ac:cxnSpMkLst>
            <pc:docMk/>
            <pc:sldMk cId="364567982" sldId="2076136646"/>
            <ac:cxnSpMk id="157" creationId="{665EE38E-A326-4E7B-9A70-ADD5A9EA61FD}"/>
          </ac:cxnSpMkLst>
        </pc:cxnChg>
        <pc:cxnChg chg="add mod">
          <ac:chgData name="Renata Festa" userId="6f22df47-533b-4c2a-a3c1-7f9ad1d63e10" providerId="ADAL" clId="{7D997690-04A4-4675-83D7-2E1CC2ED1A4E}" dt="2020-03-24T13:53:49.796" v="1480" actId="1036"/>
          <ac:cxnSpMkLst>
            <pc:docMk/>
            <pc:sldMk cId="364567982" sldId="2076136646"/>
            <ac:cxnSpMk id="173" creationId="{23A445B2-841C-4529-996E-550C3A082F2B}"/>
          </ac:cxnSpMkLst>
        </pc:cxnChg>
        <pc:cxnChg chg="add mod">
          <ac:chgData name="Renata Festa" userId="6f22df47-533b-4c2a-a3c1-7f9ad1d63e10" providerId="ADAL" clId="{7D997690-04A4-4675-83D7-2E1CC2ED1A4E}" dt="2020-03-24T13:53:49.796" v="1480" actId="1036"/>
          <ac:cxnSpMkLst>
            <pc:docMk/>
            <pc:sldMk cId="364567982" sldId="2076136646"/>
            <ac:cxnSpMk id="178" creationId="{74E874BF-0664-4A0C-A964-AA0FCD9DBC21}"/>
          </ac:cxnSpMkLst>
        </pc:cxnChg>
        <pc:cxnChg chg="add mod">
          <ac:chgData name="Renata Festa" userId="6f22df47-533b-4c2a-a3c1-7f9ad1d63e10" providerId="ADAL" clId="{7D997690-04A4-4675-83D7-2E1CC2ED1A4E}" dt="2020-03-24T13:53:49.796" v="1480" actId="1036"/>
          <ac:cxnSpMkLst>
            <pc:docMk/>
            <pc:sldMk cId="364567982" sldId="2076136646"/>
            <ac:cxnSpMk id="181" creationId="{B3B4B144-38BE-4C0D-A2EE-500B9B5400BC}"/>
          </ac:cxnSpMkLst>
        </pc:cxnChg>
        <pc:cxnChg chg="add mod">
          <ac:chgData name="Renata Festa" userId="6f22df47-533b-4c2a-a3c1-7f9ad1d63e10" providerId="ADAL" clId="{7D997690-04A4-4675-83D7-2E1CC2ED1A4E}" dt="2020-03-24T13:53:49.796" v="1480" actId="1036"/>
          <ac:cxnSpMkLst>
            <pc:docMk/>
            <pc:sldMk cId="364567982" sldId="2076136646"/>
            <ac:cxnSpMk id="182" creationId="{1F2A4720-12DC-4CF6-BF04-29ED13E9B1AF}"/>
          </ac:cxnSpMkLst>
        </pc:cxnChg>
        <pc:cxnChg chg="add mod">
          <ac:chgData name="Renata Festa" userId="6f22df47-533b-4c2a-a3c1-7f9ad1d63e10" providerId="ADAL" clId="{7D997690-04A4-4675-83D7-2E1CC2ED1A4E}" dt="2020-03-24T13:53:49.796" v="1480" actId="1036"/>
          <ac:cxnSpMkLst>
            <pc:docMk/>
            <pc:sldMk cId="364567982" sldId="2076136646"/>
            <ac:cxnSpMk id="183" creationId="{63C0EBC9-BD72-412A-AFAB-C1C080E5DCE0}"/>
          </ac:cxnSpMkLst>
        </pc:cxnChg>
        <pc:cxnChg chg="add mod">
          <ac:chgData name="Renata Festa" userId="6f22df47-533b-4c2a-a3c1-7f9ad1d63e10" providerId="ADAL" clId="{7D997690-04A4-4675-83D7-2E1CC2ED1A4E}" dt="2020-03-24T13:53:49.796" v="1480" actId="1036"/>
          <ac:cxnSpMkLst>
            <pc:docMk/>
            <pc:sldMk cId="364567982" sldId="2076136646"/>
            <ac:cxnSpMk id="185" creationId="{849FB052-AC6F-42D3-A281-B14487C43055}"/>
          </ac:cxnSpMkLst>
        </pc:cxnChg>
        <pc:cxnChg chg="add mod">
          <ac:chgData name="Renata Festa" userId="6f22df47-533b-4c2a-a3c1-7f9ad1d63e10" providerId="ADAL" clId="{7D997690-04A4-4675-83D7-2E1CC2ED1A4E}" dt="2020-03-24T13:53:49.796" v="1480" actId="1036"/>
          <ac:cxnSpMkLst>
            <pc:docMk/>
            <pc:sldMk cId="364567982" sldId="2076136646"/>
            <ac:cxnSpMk id="231" creationId="{04C2A8D6-1EE4-419B-AC7F-F4BD80158798}"/>
          </ac:cxnSpMkLst>
        </pc:cxnChg>
        <pc:cxnChg chg="add mod">
          <ac:chgData name="Renata Festa" userId="6f22df47-533b-4c2a-a3c1-7f9ad1d63e10" providerId="ADAL" clId="{7D997690-04A4-4675-83D7-2E1CC2ED1A4E}" dt="2020-03-24T13:53:49.796" v="1480" actId="1036"/>
          <ac:cxnSpMkLst>
            <pc:docMk/>
            <pc:sldMk cId="364567982" sldId="2076136646"/>
            <ac:cxnSpMk id="258" creationId="{2273D96D-522A-491F-AC80-41FBBA6F573F}"/>
          </ac:cxnSpMkLst>
        </pc:cxnChg>
        <pc:cxnChg chg="add mod">
          <ac:chgData name="Renata Festa" userId="6f22df47-533b-4c2a-a3c1-7f9ad1d63e10" providerId="ADAL" clId="{7D997690-04A4-4675-83D7-2E1CC2ED1A4E}" dt="2020-03-24T13:53:49.796" v="1480" actId="1036"/>
          <ac:cxnSpMkLst>
            <pc:docMk/>
            <pc:sldMk cId="364567982" sldId="2076136646"/>
            <ac:cxnSpMk id="261" creationId="{762E45D9-E40E-442B-B240-DE35A5CCA94B}"/>
          </ac:cxnSpMkLst>
        </pc:cxnChg>
      </pc:sldChg>
      <pc:sldChg chg="addSp delSp modSp add mod modShow">
        <pc:chgData name="Renata Festa" userId="6f22df47-533b-4c2a-a3c1-7f9ad1d63e10" providerId="ADAL" clId="{7D997690-04A4-4675-83D7-2E1CC2ED1A4E}" dt="2020-03-24T13:59:01.261" v="1607" actId="478"/>
        <pc:sldMkLst>
          <pc:docMk/>
          <pc:sldMk cId="4117970720" sldId="2076136647"/>
        </pc:sldMkLst>
        <pc:spChg chg="mod">
          <ac:chgData name="Renata Festa" userId="6f22df47-533b-4c2a-a3c1-7f9ad1d63e10" providerId="ADAL" clId="{7D997690-04A4-4675-83D7-2E1CC2ED1A4E}" dt="2020-03-24T13:55:13.663" v="1482"/>
          <ac:spMkLst>
            <pc:docMk/>
            <pc:sldMk cId="4117970720" sldId="2076136647"/>
            <ac:spMk id="2" creationId="{EB67312A-9819-43C6-8D84-D9136E6CFFCC}"/>
          </ac:spMkLst>
        </pc:spChg>
        <pc:spChg chg="del">
          <ac:chgData name="Renata Festa" userId="6f22df47-533b-4c2a-a3c1-7f9ad1d63e10" providerId="ADAL" clId="{7D997690-04A4-4675-83D7-2E1CC2ED1A4E}" dt="2020-03-24T13:59:01.261" v="1607" actId="478"/>
          <ac:spMkLst>
            <pc:docMk/>
            <pc:sldMk cId="4117970720" sldId="2076136647"/>
            <ac:spMk id="3" creationId="{F35E8CBB-5A7D-4DEF-BAF7-8DD5D042F9E0}"/>
          </ac:spMkLst>
        </pc:spChg>
        <pc:spChg chg="del">
          <ac:chgData name="Renata Festa" userId="6f22df47-533b-4c2a-a3c1-7f9ad1d63e10" providerId="ADAL" clId="{7D997690-04A4-4675-83D7-2E1CC2ED1A4E}" dt="2020-03-24T13:58:59.790" v="1606" actId="478"/>
          <ac:spMkLst>
            <pc:docMk/>
            <pc:sldMk cId="4117970720" sldId="2076136647"/>
            <ac:spMk id="4" creationId="{F3616A99-090F-45E1-9334-58D58B148205}"/>
          </ac:spMkLst>
        </pc:spChg>
        <pc:spChg chg="add del">
          <ac:chgData name="Renata Festa" userId="6f22df47-533b-4c2a-a3c1-7f9ad1d63e10" providerId="ADAL" clId="{7D997690-04A4-4675-83D7-2E1CC2ED1A4E}" dt="2020-03-24T13:55:20.944" v="1484"/>
          <ac:spMkLst>
            <pc:docMk/>
            <pc:sldMk cId="4117970720" sldId="2076136647"/>
            <ac:spMk id="5" creationId="{53C70395-7056-448B-8AD3-FF4B4EF83900}"/>
          </ac:spMkLst>
        </pc:spChg>
        <pc:spChg chg="add del">
          <ac:chgData name="Renata Festa" userId="6f22df47-533b-4c2a-a3c1-7f9ad1d63e10" providerId="ADAL" clId="{7D997690-04A4-4675-83D7-2E1CC2ED1A4E}" dt="2020-03-24T13:55:20.944" v="1484"/>
          <ac:spMkLst>
            <pc:docMk/>
            <pc:sldMk cId="4117970720" sldId="2076136647"/>
            <ac:spMk id="19" creationId="{2B24A59F-F340-4ADB-A2E4-927914E5D3B1}"/>
          </ac:spMkLst>
        </pc:spChg>
        <pc:spChg chg="add del">
          <ac:chgData name="Renata Festa" userId="6f22df47-533b-4c2a-a3c1-7f9ad1d63e10" providerId="ADAL" clId="{7D997690-04A4-4675-83D7-2E1CC2ED1A4E}" dt="2020-03-24T13:55:20.944" v="1484"/>
          <ac:spMkLst>
            <pc:docMk/>
            <pc:sldMk cId="4117970720" sldId="2076136647"/>
            <ac:spMk id="20" creationId="{0A989AFF-5948-46C4-B42B-A7AFCA728A00}"/>
          </ac:spMkLst>
        </pc:spChg>
        <pc:spChg chg="add del">
          <ac:chgData name="Renata Festa" userId="6f22df47-533b-4c2a-a3c1-7f9ad1d63e10" providerId="ADAL" clId="{7D997690-04A4-4675-83D7-2E1CC2ED1A4E}" dt="2020-03-24T13:55:20.944" v="1484"/>
          <ac:spMkLst>
            <pc:docMk/>
            <pc:sldMk cId="4117970720" sldId="2076136647"/>
            <ac:spMk id="21" creationId="{BA652BB7-B289-423F-9F9C-0446311B4328}"/>
          </ac:spMkLst>
        </pc:spChg>
        <pc:spChg chg="add del">
          <ac:chgData name="Renata Festa" userId="6f22df47-533b-4c2a-a3c1-7f9ad1d63e10" providerId="ADAL" clId="{7D997690-04A4-4675-83D7-2E1CC2ED1A4E}" dt="2020-03-24T13:55:20.944" v="1484"/>
          <ac:spMkLst>
            <pc:docMk/>
            <pc:sldMk cId="4117970720" sldId="2076136647"/>
            <ac:spMk id="24" creationId="{ABC2B023-B0BC-4918-B9C1-1ADC8AA67A76}"/>
          </ac:spMkLst>
        </pc:spChg>
        <pc:spChg chg="add del">
          <ac:chgData name="Renata Festa" userId="6f22df47-533b-4c2a-a3c1-7f9ad1d63e10" providerId="ADAL" clId="{7D997690-04A4-4675-83D7-2E1CC2ED1A4E}" dt="2020-03-24T13:55:20.944" v="1484"/>
          <ac:spMkLst>
            <pc:docMk/>
            <pc:sldMk cId="4117970720" sldId="2076136647"/>
            <ac:spMk id="25" creationId="{5219CF40-1785-4F22-AD11-5BD818164B45}"/>
          </ac:spMkLst>
        </pc:spChg>
        <pc:spChg chg="add del">
          <ac:chgData name="Renata Festa" userId="6f22df47-533b-4c2a-a3c1-7f9ad1d63e10" providerId="ADAL" clId="{7D997690-04A4-4675-83D7-2E1CC2ED1A4E}" dt="2020-03-24T13:55:20.944" v="1484"/>
          <ac:spMkLst>
            <pc:docMk/>
            <pc:sldMk cId="4117970720" sldId="2076136647"/>
            <ac:spMk id="26" creationId="{CD8FE0F3-5349-40A3-8154-1832376E5F6C}"/>
          </ac:spMkLst>
        </pc:spChg>
        <pc:spChg chg="add del">
          <ac:chgData name="Renata Festa" userId="6f22df47-533b-4c2a-a3c1-7f9ad1d63e10" providerId="ADAL" clId="{7D997690-04A4-4675-83D7-2E1CC2ED1A4E}" dt="2020-03-24T13:55:20.944" v="1484"/>
          <ac:spMkLst>
            <pc:docMk/>
            <pc:sldMk cId="4117970720" sldId="2076136647"/>
            <ac:spMk id="27" creationId="{22EB41FF-8476-4BF2-86CE-756ED78401DB}"/>
          </ac:spMkLst>
        </pc:spChg>
        <pc:spChg chg="add del">
          <ac:chgData name="Renata Festa" userId="6f22df47-533b-4c2a-a3c1-7f9ad1d63e10" providerId="ADAL" clId="{7D997690-04A4-4675-83D7-2E1CC2ED1A4E}" dt="2020-03-24T13:55:20.944" v="1484"/>
          <ac:spMkLst>
            <pc:docMk/>
            <pc:sldMk cId="4117970720" sldId="2076136647"/>
            <ac:spMk id="28" creationId="{67CDFCB8-F8A3-43E7-A134-9B23A1EE465C}"/>
          </ac:spMkLst>
        </pc:spChg>
        <pc:spChg chg="add del">
          <ac:chgData name="Renata Festa" userId="6f22df47-533b-4c2a-a3c1-7f9ad1d63e10" providerId="ADAL" clId="{7D997690-04A4-4675-83D7-2E1CC2ED1A4E}" dt="2020-03-24T13:55:20.944" v="1484"/>
          <ac:spMkLst>
            <pc:docMk/>
            <pc:sldMk cId="4117970720" sldId="2076136647"/>
            <ac:spMk id="29" creationId="{56BCA80C-D6E0-480F-805B-80D7E6B97D04}"/>
          </ac:spMkLst>
        </pc:spChg>
        <pc:spChg chg="add del">
          <ac:chgData name="Renata Festa" userId="6f22df47-533b-4c2a-a3c1-7f9ad1d63e10" providerId="ADAL" clId="{7D997690-04A4-4675-83D7-2E1CC2ED1A4E}" dt="2020-03-24T13:55:20.944" v="1484"/>
          <ac:spMkLst>
            <pc:docMk/>
            <pc:sldMk cId="4117970720" sldId="2076136647"/>
            <ac:spMk id="30" creationId="{10307258-141F-4EEA-90F3-57E63C736D57}"/>
          </ac:spMkLst>
        </pc:spChg>
        <pc:spChg chg="add del">
          <ac:chgData name="Renata Festa" userId="6f22df47-533b-4c2a-a3c1-7f9ad1d63e10" providerId="ADAL" clId="{7D997690-04A4-4675-83D7-2E1CC2ED1A4E}" dt="2020-03-24T13:55:20.944" v="1484"/>
          <ac:spMkLst>
            <pc:docMk/>
            <pc:sldMk cId="4117970720" sldId="2076136647"/>
            <ac:spMk id="31" creationId="{6303B02D-4DC0-46B3-A259-FD1F2E447D07}"/>
          </ac:spMkLst>
        </pc:spChg>
        <pc:spChg chg="add del">
          <ac:chgData name="Renata Festa" userId="6f22df47-533b-4c2a-a3c1-7f9ad1d63e10" providerId="ADAL" clId="{7D997690-04A4-4675-83D7-2E1CC2ED1A4E}" dt="2020-03-24T13:55:20.944" v="1484"/>
          <ac:spMkLst>
            <pc:docMk/>
            <pc:sldMk cId="4117970720" sldId="2076136647"/>
            <ac:spMk id="32" creationId="{42282797-96B0-4656-A1C1-E6C9D3BF619B}"/>
          </ac:spMkLst>
        </pc:spChg>
        <pc:spChg chg="add del">
          <ac:chgData name="Renata Festa" userId="6f22df47-533b-4c2a-a3c1-7f9ad1d63e10" providerId="ADAL" clId="{7D997690-04A4-4675-83D7-2E1CC2ED1A4E}" dt="2020-03-24T13:55:20.944" v="1484"/>
          <ac:spMkLst>
            <pc:docMk/>
            <pc:sldMk cId="4117970720" sldId="2076136647"/>
            <ac:spMk id="33" creationId="{1CBDF0A7-A741-426B-BFD8-8CCFA4D74EA3}"/>
          </ac:spMkLst>
        </pc:spChg>
        <pc:spChg chg="add del">
          <ac:chgData name="Renata Festa" userId="6f22df47-533b-4c2a-a3c1-7f9ad1d63e10" providerId="ADAL" clId="{7D997690-04A4-4675-83D7-2E1CC2ED1A4E}" dt="2020-03-24T13:55:20.944" v="1484"/>
          <ac:spMkLst>
            <pc:docMk/>
            <pc:sldMk cId="4117970720" sldId="2076136647"/>
            <ac:spMk id="34" creationId="{4F1996A3-2EF3-4B8B-85AB-4112188E8E0E}"/>
          </ac:spMkLst>
        </pc:spChg>
        <pc:spChg chg="add del">
          <ac:chgData name="Renata Festa" userId="6f22df47-533b-4c2a-a3c1-7f9ad1d63e10" providerId="ADAL" clId="{7D997690-04A4-4675-83D7-2E1CC2ED1A4E}" dt="2020-03-24T13:55:20.944" v="1484"/>
          <ac:spMkLst>
            <pc:docMk/>
            <pc:sldMk cId="4117970720" sldId="2076136647"/>
            <ac:spMk id="35" creationId="{0A143C63-5B84-4163-AF8F-70EEDB2D353E}"/>
          </ac:spMkLst>
        </pc:spChg>
        <pc:spChg chg="add del">
          <ac:chgData name="Renata Festa" userId="6f22df47-533b-4c2a-a3c1-7f9ad1d63e10" providerId="ADAL" clId="{7D997690-04A4-4675-83D7-2E1CC2ED1A4E}" dt="2020-03-24T13:55:20.944" v="1484"/>
          <ac:spMkLst>
            <pc:docMk/>
            <pc:sldMk cId="4117970720" sldId="2076136647"/>
            <ac:spMk id="36" creationId="{8C0FC507-B688-4401-B268-9F791CECEFA2}"/>
          </ac:spMkLst>
        </pc:spChg>
        <pc:spChg chg="add del">
          <ac:chgData name="Renata Festa" userId="6f22df47-533b-4c2a-a3c1-7f9ad1d63e10" providerId="ADAL" clId="{7D997690-04A4-4675-83D7-2E1CC2ED1A4E}" dt="2020-03-24T13:55:20.944" v="1484"/>
          <ac:spMkLst>
            <pc:docMk/>
            <pc:sldMk cId="4117970720" sldId="2076136647"/>
            <ac:spMk id="37" creationId="{1BFEFA4E-BEEC-4E54-B436-D3FD623AA713}"/>
          </ac:spMkLst>
        </pc:spChg>
        <pc:spChg chg="add del">
          <ac:chgData name="Renata Festa" userId="6f22df47-533b-4c2a-a3c1-7f9ad1d63e10" providerId="ADAL" clId="{7D997690-04A4-4675-83D7-2E1CC2ED1A4E}" dt="2020-03-24T13:55:20.944" v="1484"/>
          <ac:spMkLst>
            <pc:docMk/>
            <pc:sldMk cId="4117970720" sldId="2076136647"/>
            <ac:spMk id="38" creationId="{AFA11901-DC54-41C7-AA50-B39C4A57A599}"/>
          </ac:spMkLst>
        </pc:spChg>
        <pc:spChg chg="add del">
          <ac:chgData name="Renata Festa" userId="6f22df47-533b-4c2a-a3c1-7f9ad1d63e10" providerId="ADAL" clId="{7D997690-04A4-4675-83D7-2E1CC2ED1A4E}" dt="2020-03-24T13:55:20.944" v="1484"/>
          <ac:spMkLst>
            <pc:docMk/>
            <pc:sldMk cId="4117970720" sldId="2076136647"/>
            <ac:spMk id="39" creationId="{7E6A8EA6-A32D-4429-AE73-28549AE5B7B6}"/>
          </ac:spMkLst>
        </pc:spChg>
        <pc:spChg chg="add del">
          <ac:chgData name="Renata Festa" userId="6f22df47-533b-4c2a-a3c1-7f9ad1d63e10" providerId="ADAL" clId="{7D997690-04A4-4675-83D7-2E1CC2ED1A4E}" dt="2020-03-24T13:55:20.944" v="1484"/>
          <ac:spMkLst>
            <pc:docMk/>
            <pc:sldMk cId="4117970720" sldId="2076136647"/>
            <ac:spMk id="40" creationId="{C23BA887-BA55-4316-B408-CDE8FE9A1B56}"/>
          </ac:spMkLst>
        </pc:spChg>
        <pc:spChg chg="add del">
          <ac:chgData name="Renata Festa" userId="6f22df47-533b-4c2a-a3c1-7f9ad1d63e10" providerId="ADAL" clId="{7D997690-04A4-4675-83D7-2E1CC2ED1A4E}" dt="2020-03-24T13:55:20.944" v="1484"/>
          <ac:spMkLst>
            <pc:docMk/>
            <pc:sldMk cId="4117970720" sldId="2076136647"/>
            <ac:spMk id="41" creationId="{A32C7DD8-9CA4-48F9-9E7A-877E86309E6A}"/>
          </ac:spMkLst>
        </pc:spChg>
        <pc:spChg chg="add del">
          <ac:chgData name="Renata Festa" userId="6f22df47-533b-4c2a-a3c1-7f9ad1d63e10" providerId="ADAL" clId="{7D997690-04A4-4675-83D7-2E1CC2ED1A4E}" dt="2020-03-24T13:55:20.944" v="1484"/>
          <ac:spMkLst>
            <pc:docMk/>
            <pc:sldMk cId="4117970720" sldId="2076136647"/>
            <ac:spMk id="42" creationId="{A8C31F14-BDFF-4F5D-B842-FA7D77E2CBA0}"/>
          </ac:spMkLst>
        </pc:spChg>
        <pc:spChg chg="add del">
          <ac:chgData name="Renata Festa" userId="6f22df47-533b-4c2a-a3c1-7f9ad1d63e10" providerId="ADAL" clId="{7D997690-04A4-4675-83D7-2E1CC2ED1A4E}" dt="2020-03-24T13:55:20.944" v="1484"/>
          <ac:spMkLst>
            <pc:docMk/>
            <pc:sldMk cId="4117970720" sldId="2076136647"/>
            <ac:spMk id="44" creationId="{E42173A7-C584-46A9-A191-EBD3E8CD0BCC}"/>
          </ac:spMkLst>
        </pc:spChg>
        <pc:spChg chg="add del">
          <ac:chgData name="Renata Festa" userId="6f22df47-533b-4c2a-a3c1-7f9ad1d63e10" providerId="ADAL" clId="{7D997690-04A4-4675-83D7-2E1CC2ED1A4E}" dt="2020-03-24T13:55:20.944" v="1484"/>
          <ac:spMkLst>
            <pc:docMk/>
            <pc:sldMk cId="4117970720" sldId="2076136647"/>
            <ac:spMk id="45" creationId="{0E9F419E-817C-4340-89C5-B93C2048BD89}"/>
          </ac:spMkLst>
        </pc:spChg>
        <pc:spChg chg="add del">
          <ac:chgData name="Renata Festa" userId="6f22df47-533b-4c2a-a3c1-7f9ad1d63e10" providerId="ADAL" clId="{7D997690-04A4-4675-83D7-2E1CC2ED1A4E}" dt="2020-03-24T13:55:20.944" v="1484"/>
          <ac:spMkLst>
            <pc:docMk/>
            <pc:sldMk cId="4117970720" sldId="2076136647"/>
            <ac:spMk id="46" creationId="{958A5ED5-7FFE-4F53-B266-5F47F9A7C038}"/>
          </ac:spMkLst>
        </pc:spChg>
        <pc:spChg chg="add del">
          <ac:chgData name="Renata Festa" userId="6f22df47-533b-4c2a-a3c1-7f9ad1d63e10" providerId="ADAL" clId="{7D997690-04A4-4675-83D7-2E1CC2ED1A4E}" dt="2020-03-24T13:55:20.944" v="1484"/>
          <ac:spMkLst>
            <pc:docMk/>
            <pc:sldMk cId="4117970720" sldId="2076136647"/>
            <ac:spMk id="47" creationId="{E83B168F-624F-4323-9F90-F88A0A4B9BBB}"/>
          </ac:spMkLst>
        </pc:spChg>
        <pc:spChg chg="add del">
          <ac:chgData name="Renata Festa" userId="6f22df47-533b-4c2a-a3c1-7f9ad1d63e10" providerId="ADAL" clId="{7D997690-04A4-4675-83D7-2E1CC2ED1A4E}" dt="2020-03-24T13:55:20.944" v="1484"/>
          <ac:spMkLst>
            <pc:docMk/>
            <pc:sldMk cId="4117970720" sldId="2076136647"/>
            <ac:spMk id="49" creationId="{06EF43C2-0CF0-4D10-B2FD-0505C7116A4E}"/>
          </ac:spMkLst>
        </pc:spChg>
        <pc:spChg chg="add del">
          <ac:chgData name="Renata Festa" userId="6f22df47-533b-4c2a-a3c1-7f9ad1d63e10" providerId="ADAL" clId="{7D997690-04A4-4675-83D7-2E1CC2ED1A4E}" dt="2020-03-24T13:55:20.944" v="1484"/>
          <ac:spMkLst>
            <pc:docMk/>
            <pc:sldMk cId="4117970720" sldId="2076136647"/>
            <ac:spMk id="50" creationId="{D23EAB29-D422-41BD-9EFD-CC1FFEA8EF2A}"/>
          </ac:spMkLst>
        </pc:spChg>
        <pc:spChg chg="add del">
          <ac:chgData name="Renata Festa" userId="6f22df47-533b-4c2a-a3c1-7f9ad1d63e10" providerId="ADAL" clId="{7D997690-04A4-4675-83D7-2E1CC2ED1A4E}" dt="2020-03-24T13:55:20.944" v="1484"/>
          <ac:spMkLst>
            <pc:docMk/>
            <pc:sldMk cId="4117970720" sldId="2076136647"/>
            <ac:spMk id="54" creationId="{2C5AD530-E52B-435A-8835-3C73568EFA09}"/>
          </ac:spMkLst>
        </pc:spChg>
        <pc:spChg chg="add del">
          <ac:chgData name="Renata Festa" userId="6f22df47-533b-4c2a-a3c1-7f9ad1d63e10" providerId="ADAL" clId="{7D997690-04A4-4675-83D7-2E1CC2ED1A4E}" dt="2020-03-24T13:55:20.944" v="1484"/>
          <ac:spMkLst>
            <pc:docMk/>
            <pc:sldMk cId="4117970720" sldId="2076136647"/>
            <ac:spMk id="55" creationId="{68BAC84D-B5AE-42F6-9E86-153FA4A227A3}"/>
          </ac:spMkLst>
        </pc:spChg>
        <pc:spChg chg="add del">
          <ac:chgData name="Renata Festa" userId="6f22df47-533b-4c2a-a3c1-7f9ad1d63e10" providerId="ADAL" clId="{7D997690-04A4-4675-83D7-2E1CC2ED1A4E}" dt="2020-03-24T13:55:20.944" v="1484"/>
          <ac:spMkLst>
            <pc:docMk/>
            <pc:sldMk cId="4117970720" sldId="2076136647"/>
            <ac:spMk id="56" creationId="{53A45025-C6B2-4E64-B0F8-D36E71562DE3}"/>
          </ac:spMkLst>
        </pc:spChg>
        <pc:spChg chg="add del">
          <ac:chgData name="Renata Festa" userId="6f22df47-533b-4c2a-a3c1-7f9ad1d63e10" providerId="ADAL" clId="{7D997690-04A4-4675-83D7-2E1CC2ED1A4E}" dt="2020-03-24T13:55:20.944" v="1484"/>
          <ac:spMkLst>
            <pc:docMk/>
            <pc:sldMk cId="4117970720" sldId="2076136647"/>
            <ac:spMk id="57" creationId="{320671FA-0549-4CAC-88DD-81217EAD5870}"/>
          </ac:spMkLst>
        </pc:spChg>
        <pc:spChg chg="add del">
          <ac:chgData name="Renata Festa" userId="6f22df47-533b-4c2a-a3c1-7f9ad1d63e10" providerId="ADAL" clId="{7D997690-04A4-4675-83D7-2E1CC2ED1A4E}" dt="2020-03-24T13:55:20.944" v="1484"/>
          <ac:spMkLst>
            <pc:docMk/>
            <pc:sldMk cId="4117970720" sldId="2076136647"/>
            <ac:spMk id="58" creationId="{314AC31B-990F-4453-AF75-C0A38821E0E8}"/>
          </ac:spMkLst>
        </pc:spChg>
        <pc:spChg chg="add del">
          <ac:chgData name="Renata Festa" userId="6f22df47-533b-4c2a-a3c1-7f9ad1d63e10" providerId="ADAL" clId="{7D997690-04A4-4675-83D7-2E1CC2ED1A4E}" dt="2020-03-24T13:55:20.944" v="1484"/>
          <ac:spMkLst>
            <pc:docMk/>
            <pc:sldMk cId="4117970720" sldId="2076136647"/>
            <ac:spMk id="59" creationId="{44E3E420-3E05-47A9-B18C-C855F81C47F9}"/>
          </ac:spMkLst>
        </pc:spChg>
        <pc:spChg chg="add del">
          <ac:chgData name="Renata Festa" userId="6f22df47-533b-4c2a-a3c1-7f9ad1d63e10" providerId="ADAL" clId="{7D997690-04A4-4675-83D7-2E1CC2ED1A4E}" dt="2020-03-24T13:55:20.944" v="1484"/>
          <ac:spMkLst>
            <pc:docMk/>
            <pc:sldMk cId="4117970720" sldId="2076136647"/>
            <ac:spMk id="61" creationId="{90C41F82-71A9-4DC2-A97E-806F0BCF0016}"/>
          </ac:spMkLst>
        </pc:spChg>
        <pc:spChg chg="add del">
          <ac:chgData name="Renata Festa" userId="6f22df47-533b-4c2a-a3c1-7f9ad1d63e10" providerId="ADAL" clId="{7D997690-04A4-4675-83D7-2E1CC2ED1A4E}" dt="2020-03-24T13:55:20.944" v="1484"/>
          <ac:spMkLst>
            <pc:docMk/>
            <pc:sldMk cId="4117970720" sldId="2076136647"/>
            <ac:spMk id="62" creationId="{0924763A-D8E7-4A26-B832-BE6C9CC3188C}"/>
          </ac:spMkLst>
        </pc:spChg>
        <pc:spChg chg="add del">
          <ac:chgData name="Renata Festa" userId="6f22df47-533b-4c2a-a3c1-7f9ad1d63e10" providerId="ADAL" clId="{7D997690-04A4-4675-83D7-2E1CC2ED1A4E}" dt="2020-03-24T13:55:20.944" v="1484"/>
          <ac:spMkLst>
            <pc:docMk/>
            <pc:sldMk cId="4117970720" sldId="2076136647"/>
            <ac:spMk id="64" creationId="{9632FCDE-6522-44FB-878A-47EE50F11C18}"/>
          </ac:spMkLst>
        </pc:spChg>
        <pc:spChg chg="add del">
          <ac:chgData name="Renata Festa" userId="6f22df47-533b-4c2a-a3c1-7f9ad1d63e10" providerId="ADAL" clId="{7D997690-04A4-4675-83D7-2E1CC2ED1A4E}" dt="2020-03-24T13:55:20.944" v="1484"/>
          <ac:spMkLst>
            <pc:docMk/>
            <pc:sldMk cId="4117970720" sldId="2076136647"/>
            <ac:spMk id="66" creationId="{35D239C5-90C9-4A6A-A5AD-B792146B9113}"/>
          </ac:spMkLst>
        </pc:spChg>
        <pc:spChg chg="add del">
          <ac:chgData name="Renata Festa" userId="6f22df47-533b-4c2a-a3c1-7f9ad1d63e10" providerId="ADAL" clId="{7D997690-04A4-4675-83D7-2E1CC2ED1A4E}" dt="2020-03-24T13:55:20.944" v="1484"/>
          <ac:spMkLst>
            <pc:docMk/>
            <pc:sldMk cId="4117970720" sldId="2076136647"/>
            <ac:spMk id="76" creationId="{1AFC215A-BE67-41D1-9C9E-847441D9F88E}"/>
          </ac:spMkLst>
        </pc:spChg>
        <pc:spChg chg="add del">
          <ac:chgData name="Renata Festa" userId="6f22df47-533b-4c2a-a3c1-7f9ad1d63e10" providerId="ADAL" clId="{7D997690-04A4-4675-83D7-2E1CC2ED1A4E}" dt="2020-03-24T13:55:20.944" v="1484"/>
          <ac:spMkLst>
            <pc:docMk/>
            <pc:sldMk cId="4117970720" sldId="2076136647"/>
            <ac:spMk id="77" creationId="{3987AE69-3067-4290-9726-00439CC24B63}"/>
          </ac:spMkLst>
        </pc:spChg>
        <pc:spChg chg="add del">
          <ac:chgData name="Renata Festa" userId="6f22df47-533b-4c2a-a3c1-7f9ad1d63e10" providerId="ADAL" clId="{7D997690-04A4-4675-83D7-2E1CC2ED1A4E}" dt="2020-03-24T13:55:20.944" v="1484"/>
          <ac:spMkLst>
            <pc:docMk/>
            <pc:sldMk cId="4117970720" sldId="2076136647"/>
            <ac:spMk id="87" creationId="{0E8BDDA7-63D9-431D-9614-16647EADAE0E}"/>
          </ac:spMkLst>
        </pc:spChg>
        <pc:spChg chg="add del">
          <ac:chgData name="Renata Festa" userId="6f22df47-533b-4c2a-a3c1-7f9ad1d63e10" providerId="ADAL" clId="{7D997690-04A4-4675-83D7-2E1CC2ED1A4E}" dt="2020-03-24T13:55:20.944" v="1484"/>
          <ac:spMkLst>
            <pc:docMk/>
            <pc:sldMk cId="4117970720" sldId="2076136647"/>
            <ac:spMk id="88" creationId="{83412365-349D-4B97-9701-A8B485FA9313}"/>
          </ac:spMkLst>
        </pc:spChg>
        <pc:spChg chg="add del">
          <ac:chgData name="Renata Festa" userId="6f22df47-533b-4c2a-a3c1-7f9ad1d63e10" providerId="ADAL" clId="{7D997690-04A4-4675-83D7-2E1CC2ED1A4E}" dt="2020-03-24T13:55:20.944" v="1484"/>
          <ac:spMkLst>
            <pc:docMk/>
            <pc:sldMk cId="4117970720" sldId="2076136647"/>
            <ac:spMk id="98" creationId="{4860E407-CDF5-4B4B-8685-9CDF07BF650C}"/>
          </ac:spMkLst>
        </pc:spChg>
        <pc:spChg chg="add del">
          <ac:chgData name="Renata Festa" userId="6f22df47-533b-4c2a-a3c1-7f9ad1d63e10" providerId="ADAL" clId="{7D997690-04A4-4675-83D7-2E1CC2ED1A4E}" dt="2020-03-24T13:55:20.944" v="1484"/>
          <ac:spMkLst>
            <pc:docMk/>
            <pc:sldMk cId="4117970720" sldId="2076136647"/>
            <ac:spMk id="99" creationId="{F8FF9F14-13DA-4425-A083-65BA0877A4D5}"/>
          </ac:spMkLst>
        </pc:spChg>
        <pc:spChg chg="add del">
          <ac:chgData name="Renata Festa" userId="6f22df47-533b-4c2a-a3c1-7f9ad1d63e10" providerId="ADAL" clId="{7D997690-04A4-4675-83D7-2E1CC2ED1A4E}" dt="2020-03-24T13:55:20.944" v="1484"/>
          <ac:spMkLst>
            <pc:docMk/>
            <pc:sldMk cId="4117970720" sldId="2076136647"/>
            <ac:spMk id="100" creationId="{82B1B351-53EE-4889-9558-AF5482B5A411}"/>
          </ac:spMkLst>
        </pc:spChg>
        <pc:spChg chg="add del">
          <ac:chgData name="Renata Festa" userId="6f22df47-533b-4c2a-a3c1-7f9ad1d63e10" providerId="ADAL" clId="{7D997690-04A4-4675-83D7-2E1CC2ED1A4E}" dt="2020-03-24T13:55:20.944" v="1484"/>
          <ac:spMkLst>
            <pc:docMk/>
            <pc:sldMk cId="4117970720" sldId="2076136647"/>
            <ac:spMk id="101" creationId="{0761189B-65B8-4BE8-AB4A-60C4B108CBC4}"/>
          </ac:spMkLst>
        </pc:spChg>
        <pc:spChg chg="add del">
          <ac:chgData name="Renata Festa" userId="6f22df47-533b-4c2a-a3c1-7f9ad1d63e10" providerId="ADAL" clId="{7D997690-04A4-4675-83D7-2E1CC2ED1A4E}" dt="2020-03-24T13:55:20.944" v="1484"/>
          <ac:spMkLst>
            <pc:docMk/>
            <pc:sldMk cId="4117970720" sldId="2076136647"/>
            <ac:spMk id="102" creationId="{7C1F7978-CBC4-4182-B04C-28A41CE47EA0}"/>
          </ac:spMkLst>
        </pc:spChg>
        <pc:spChg chg="add del">
          <ac:chgData name="Renata Festa" userId="6f22df47-533b-4c2a-a3c1-7f9ad1d63e10" providerId="ADAL" clId="{7D997690-04A4-4675-83D7-2E1CC2ED1A4E}" dt="2020-03-24T13:55:20.944" v="1484"/>
          <ac:spMkLst>
            <pc:docMk/>
            <pc:sldMk cId="4117970720" sldId="2076136647"/>
            <ac:spMk id="103" creationId="{BF1C5627-5CCE-4F27-BA7D-D2C038C7411B}"/>
          </ac:spMkLst>
        </pc:spChg>
        <pc:spChg chg="add del">
          <ac:chgData name="Renata Festa" userId="6f22df47-533b-4c2a-a3c1-7f9ad1d63e10" providerId="ADAL" clId="{7D997690-04A4-4675-83D7-2E1CC2ED1A4E}" dt="2020-03-24T13:55:20.944" v="1484"/>
          <ac:spMkLst>
            <pc:docMk/>
            <pc:sldMk cId="4117970720" sldId="2076136647"/>
            <ac:spMk id="104" creationId="{EB21E6C3-88E1-4217-AE32-1DD77ABD5C6A}"/>
          </ac:spMkLst>
        </pc:spChg>
        <pc:spChg chg="add del">
          <ac:chgData name="Renata Festa" userId="6f22df47-533b-4c2a-a3c1-7f9ad1d63e10" providerId="ADAL" clId="{7D997690-04A4-4675-83D7-2E1CC2ED1A4E}" dt="2020-03-24T13:55:20.944" v="1484"/>
          <ac:spMkLst>
            <pc:docMk/>
            <pc:sldMk cId="4117970720" sldId="2076136647"/>
            <ac:spMk id="105" creationId="{FD659ACD-5ABF-42C1-A0F4-C875EB7C37A7}"/>
          </ac:spMkLst>
        </pc:spChg>
        <pc:spChg chg="add del">
          <ac:chgData name="Renata Festa" userId="6f22df47-533b-4c2a-a3c1-7f9ad1d63e10" providerId="ADAL" clId="{7D997690-04A4-4675-83D7-2E1CC2ED1A4E}" dt="2020-03-24T13:55:20.944" v="1484"/>
          <ac:spMkLst>
            <pc:docMk/>
            <pc:sldMk cId="4117970720" sldId="2076136647"/>
            <ac:spMk id="106" creationId="{A5724842-9AE1-49D2-AAA6-C4E5E57F09FC}"/>
          </ac:spMkLst>
        </pc:spChg>
        <pc:spChg chg="add del">
          <ac:chgData name="Renata Festa" userId="6f22df47-533b-4c2a-a3c1-7f9ad1d63e10" providerId="ADAL" clId="{7D997690-04A4-4675-83D7-2E1CC2ED1A4E}" dt="2020-03-24T13:55:20.944" v="1484"/>
          <ac:spMkLst>
            <pc:docMk/>
            <pc:sldMk cId="4117970720" sldId="2076136647"/>
            <ac:spMk id="107" creationId="{A06A8EA8-AA8F-43C0-B5E5-19229B024B03}"/>
          </ac:spMkLst>
        </pc:spChg>
        <pc:spChg chg="add del">
          <ac:chgData name="Renata Festa" userId="6f22df47-533b-4c2a-a3c1-7f9ad1d63e10" providerId="ADAL" clId="{7D997690-04A4-4675-83D7-2E1CC2ED1A4E}" dt="2020-03-24T13:55:20.944" v="1484"/>
          <ac:spMkLst>
            <pc:docMk/>
            <pc:sldMk cId="4117970720" sldId="2076136647"/>
            <ac:spMk id="108" creationId="{223C6A17-5881-4192-ABBC-DA79B007A25E}"/>
          </ac:spMkLst>
        </pc:spChg>
        <pc:spChg chg="add del">
          <ac:chgData name="Renata Festa" userId="6f22df47-533b-4c2a-a3c1-7f9ad1d63e10" providerId="ADAL" clId="{7D997690-04A4-4675-83D7-2E1CC2ED1A4E}" dt="2020-03-24T13:55:20.944" v="1484"/>
          <ac:spMkLst>
            <pc:docMk/>
            <pc:sldMk cId="4117970720" sldId="2076136647"/>
            <ac:spMk id="109" creationId="{BA82A281-0909-48DE-8B1B-23BE2F43B3FE}"/>
          </ac:spMkLst>
        </pc:spChg>
        <pc:spChg chg="add del">
          <ac:chgData name="Renata Festa" userId="6f22df47-533b-4c2a-a3c1-7f9ad1d63e10" providerId="ADAL" clId="{7D997690-04A4-4675-83D7-2E1CC2ED1A4E}" dt="2020-03-24T13:55:20.944" v="1484"/>
          <ac:spMkLst>
            <pc:docMk/>
            <pc:sldMk cId="4117970720" sldId="2076136647"/>
            <ac:spMk id="113" creationId="{E7D2FB5C-82AC-40CB-B67C-C364CD4D50B6}"/>
          </ac:spMkLst>
        </pc:spChg>
        <pc:spChg chg="add del">
          <ac:chgData name="Renata Festa" userId="6f22df47-533b-4c2a-a3c1-7f9ad1d63e10" providerId="ADAL" clId="{7D997690-04A4-4675-83D7-2E1CC2ED1A4E}" dt="2020-03-24T13:55:20.944" v="1484"/>
          <ac:spMkLst>
            <pc:docMk/>
            <pc:sldMk cId="4117970720" sldId="2076136647"/>
            <ac:spMk id="114" creationId="{CBCCF591-B0CD-44F6-99AD-13E687E3B5EB}"/>
          </ac:spMkLst>
        </pc:spChg>
        <pc:spChg chg="add del mod">
          <ac:chgData name="Renata Festa" userId="6f22df47-533b-4c2a-a3c1-7f9ad1d63e10" providerId="ADAL" clId="{7D997690-04A4-4675-83D7-2E1CC2ED1A4E}" dt="2020-03-24T13:55:37.257" v="1488"/>
          <ac:spMkLst>
            <pc:docMk/>
            <pc:sldMk cId="4117970720" sldId="2076136647"/>
            <ac:spMk id="115" creationId="{14F531F3-8A10-4C60-B77C-54214254B3B9}"/>
          </ac:spMkLst>
        </pc:spChg>
        <pc:spChg chg="add del mod">
          <ac:chgData name="Renata Festa" userId="6f22df47-533b-4c2a-a3c1-7f9ad1d63e10" providerId="ADAL" clId="{7D997690-04A4-4675-83D7-2E1CC2ED1A4E}" dt="2020-03-24T13:55:37.257" v="1488"/>
          <ac:spMkLst>
            <pc:docMk/>
            <pc:sldMk cId="4117970720" sldId="2076136647"/>
            <ac:spMk id="129" creationId="{3F6F6A4A-FBBF-4923-9DAB-C0FC9FAB1712}"/>
          </ac:spMkLst>
        </pc:spChg>
        <pc:spChg chg="add del mod">
          <ac:chgData name="Renata Festa" userId="6f22df47-533b-4c2a-a3c1-7f9ad1d63e10" providerId="ADAL" clId="{7D997690-04A4-4675-83D7-2E1CC2ED1A4E}" dt="2020-03-24T13:55:37.257" v="1488"/>
          <ac:spMkLst>
            <pc:docMk/>
            <pc:sldMk cId="4117970720" sldId="2076136647"/>
            <ac:spMk id="130" creationId="{CAE2E2D0-5496-4C84-AC3A-C082D59699AA}"/>
          </ac:spMkLst>
        </pc:spChg>
        <pc:spChg chg="add del mod">
          <ac:chgData name="Renata Festa" userId="6f22df47-533b-4c2a-a3c1-7f9ad1d63e10" providerId="ADAL" clId="{7D997690-04A4-4675-83D7-2E1CC2ED1A4E}" dt="2020-03-24T13:55:37.257" v="1488"/>
          <ac:spMkLst>
            <pc:docMk/>
            <pc:sldMk cId="4117970720" sldId="2076136647"/>
            <ac:spMk id="131" creationId="{BF2BF71E-E07F-4599-88D0-6DB31A4A5BB0}"/>
          </ac:spMkLst>
        </pc:spChg>
        <pc:spChg chg="add del mod">
          <ac:chgData name="Renata Festa" userId="6f22df47-533b-4c2a-a3c1-7f9ad1d63e10" providerId="ADAL" clId="{7D997690-04A4-4675-83D7-2E1CC2ED1A4E}" dt="2020-03-24T13:55:37.257" v="1488"/>
          <ac:spMkLst>
            <pc:docMk/>
            <pc:sldMk cId="4117970720" sldId="2076136647"/>
            <ac:spMk id="134" creationId="{ED077C21-39F8-461A-A4DB-4430896BB5B0}"/>
          </ac:spMkLst>
        </pc:spChg>
        <pc:spChg chg="add del mod">
          <ac:chgData name="Renata Festa" userId="6f22df47-533b-4c2a-a3c1-7f9ad1d63e10" providerId="ADAL" clId="{7D997690-04A4-4675-83D7-2E1CC2ED1A4E}" dt="2020-03-24T13:55:37.257" v="1488"/>
          <ac:spMkLst>
            <pc:docMk/>
            <pc:sldMk cId="4117970720" sldId="2076136647"/>
            <ac:spMk id="135" creationId="{C67016E9-A05A-4F24-9091-543357261C0B}"/>
          </ac:spMkLst>
        </pc:spChg>
        <pc:spChg chg="add del mod">
          <ac:chgData name="Renata Festa" userId="6f22df47-533b-4c2a-a3c1-7f9ad1d63e10" providerId="ADAL" clId="{7D997690-04A4-4675-83D7-2E1CC2ED1A4E}" dt="2020-03-24T13:55:37.257" v="1488"/>
          <ac:spMkLst>
            <pc:docMk/>
            <pc:sldMk cId="4117970720" sldId="2076136647"/>
            <ac:spMk id="136" creationId="{B86A91A8-1661-4A1A-8C5C-94BAA0E1B55D}"/>
          </ac:spMkLst>
        </pc:spChg>
        <pc:spChg chg="add del mod">
          <ac:chgData name="Renata Festa" userId="6f22df47-533b-4c2a-a3c1-7f9ad1d63e10" providerId="ADAL" clId="{7D997690-04A4-4675-83D7-2E1CC2ED1A4E}" dt="2020-03-24T13:55:37.257" v="1488"/>
          <ac:spMkLst>
            <pc:docMk/>
            <pc:sldMk cId="4117970720" sldId="2076136647"/>
            <ac:spMk id="137" creationId="{76D3FBB6-6DBA-4EFD-A577-E1ACA108C3BC}"/>
          </ac:spMkLst>
        </pc:spChg>
        <pc:spChg chg="add del mod">
          <ac:chgData name="Renata Festa" userId="6f22df47-533b-4c2a-a3c1-7f9ad1d63e10" providerId="ADAL" clId="{7D997690-04A4-4675-83D7-2E1CC2ED1A4E}" dt="2020-03-24T13:55:37.257" v="1488"/>
          <ac:spMkLst>
            <pc:docMk/>
            <pc:sldMk cId="4117970720" sldId="2076136647"/>
            <ac:spMk id="138" creationId="{6405CA44-3E10-4416-91B2-AA674760285D}"/>
          </ac:spMkLst>
        </pc:spChg>
        <pc:spChg chg="add del mod">
          <ac:chgData name="Renata Festa" userId="6f22df47-533b-4c2a-a3c1-7f9ad1d63e10" providerId="ADAL" clId="{7D997690-04A4-4675-83D7-2E1CC2ED1A4E}" dt="2020-03-24T13:55:37.257" v="1488"/>
          <ac:spMkLst>
            <pc:docMk/>
            <pc:sldMk cId="4117970720" sldId="2076136647"/>
            <ac:spMk id="139" creationId="{7CDB59E4-E489-4F90-B19D-62E89A2EF8D7}"/>
          </ac:spMkLst>
        </pc:spChg>
        <pc:spChg chg="add del mod">
          <ac:chgData name="Renata Festa" userId="6f22df47-533b-4c2a-a3c1-7f9ad1d63e10" providerId="ADAL" clId="{7D997690-04A4-4675-83D7-2E1CC2ED1A4E}" dt="2020-03-24T13:55:37.257" v="1488"/>
          <ac:spMkLst>
            <pc:docMk/>
            <pc:sldMk cId="4117970720" sldId="2076136647"/>
            <ac:spMk id="140" creationId="{2CC82F27-745C-4066-AD9A-E828D02623B9}"/>
          </ac:spMkLst>
        </pc:spChg>
        <pc:spChg chg="add del mod">
          <ac:chgData name="Renata Festa" userId="6f22df47-533b-4c2a-a3c1-7f9ad1d63e10" providerId="ADAL" clId="{7D997690-04A4-4675-83D7-2E1CC2ED1A4E}" dt="2020-03-24T13:55:37.257" v="1488"/>
          <ac:spMkLst>
            <pc:docMk/>
            <pc:sldMk cId="4117970720" sldId="2076136647"/>
            <ac:spMk id="141" creationId="{18D8D531-3941-40FB-973D-FD359A737276}"/>
          </ac:spMkLst>
        </pc:spChg>
        <pc:spChg chg="add del mod">
          <ac:chgData name="Renata Festa" userId="6f22df47-533b-4c2a-a3c1-7f9ad1d63e10" providerId="ADAL" clId="{7D997690-04A4-4675-83D7-2E1CC2ED1A4E}" dt="2020-03-24T13:55:37.257" v="1488"/>
          <ac:spMkLst>
            <pc:docMk/>
            <pc:sldMk cId="4117970720" sldId="2076136647"/>
            <ac:spMk id="142" creationId="{B002F95E-FF44-4AAC-A68E-D4F64C7154B4}"/>
          </ac:spMkLst>
        </pc:spChg>
        <pc:spChg chg="add del mod">
          <ac:chgData name="Renata Festa" userId="6f22df47-533b-4c2a-a3c1-7f9ad1d63e10" providerId="ADAL" clId="{7D997690-04A4-4675-83D7-2E1CC2ED1A4E}" dt="2020-03-24T13:55:37.257" v="1488"/>
          <ac:spMkLst>
            <pc:docMk/>
            <pc:sldMk cId="4117970720" sldId="2076136647"/>
            <ac:spMk id="143" creationId="{4372C3B7-3436-48ED-8C8A-869B0FED4F73}"/>
          </ac:spMkLst>
        </pc:spChg>
        <pc:spChg chg="add del mod">
          <ac:chgData name="Renata Festa" userId="6f22df47-533b-4c2a-a3c1-7f9ad1d63e10" providerId="ADAL" clId="{7D997690-04A4-4675-83D7-2E1CC2ED1A4E}" dt="2020-03-24T13:55:37.257" v="1488"/>
          <ac:spMkLst>
            <pc:docMk/>
            <pc:sldMk cId="4117970720" sldId="2076136647"/>
            <ac:spMk id="144" creationId="{B6B2E155-2401-46FC-B8E9-0BA2932BE39D}"/>
          </ac:spMkLst>
        </pc:spChg>
        <pc:spChg chg="add del mod">
          <ac:chgData name="Renata Festa" userId="6f22df47-533b-4c2a-a3c1-7f9ad1d63e10" providerId="ADAL" clId="{7D997690-04A4-4675-83D7-2E1CC2ED1A4E}" dt="2020-03-24T13:55:37.257" v="1488"/>
          <ac:spMkLst>
            <pc:docMk/>
            <pc:sldMk cId="4117970720" sldId="2076136647"/>
            <ac:spMk id="145" creationId="{A3A1A012-DE1C-49BB-AEE2-E70DEE802D71}"/>
          </ac:spMkLst>
        </pc:spChg>
        <pc:spChg chg="add del mod">
          <ac:chgData name="Renata Festa" userId="6f22df47-533b-4c2a-a3c1-7f9ad1d63e10" providerId="ADAL" clId="{7D997690-04A4-4675-83D7-2E1CC2ED1A4E}" dt="2020-03-24T13:55:37.257" v="1488"/>
          <ac:spMkLst>
            <pc:docMk/>
            <pc:sldMk cId="4117970720" sldId="2076136647"/>
            <ac:spMk id="146" creationId="{EEC8F157-6F47-4122-AF31-BEB01E9F7D62}"/>
          </ac:spMkLst>
        </pc:spChg>
        <pc:spChg chg="add del mod">
          <ac:chgData name="Renata Festa" userId="6f22df47-533b-4c2a-a3c1-7f9ad1d63e10" providerId="ADAL" clId="{7D997690-04A4-4675-83D7-2E1CC2ED1A4E}" dt="2020-03-24T13:55:37.257" v="1488"/>
          <ac:spMkLst>
            <pc:docMk/>
            <pc:sldMk cId="4117970720" sldId="2076136647"/>
            <ac:spMk id="147" creationId="{5E1821A0-982C-4D82-B125-587EEDF14F5D}"/>
          </ac:spMkLst>
        </pc:spChg>
        <pc:spChg chg="add del mod">
          <ac:chgData name="Renata Festa" userId="6f22df47-533b-4c2a-a3c1-7f9ad1d63e10" providerId="ADAL" clId="{7D997690-04A4-4675-83D7-2E1CC2ED1A4E}" dt="2020-03-24T13:55:37.257" v="1488"/>
          <ac:spMkLst>
            <pc:docMk/>
            <pc:sldMk cId="4117970720" sldId="2076136647"/>
            <ac:spMk id="148" creationId="{17608A72-586A-49CB-8828-F35B28228A84}"/>
          </ac:spMkLst>
        </pc:spChg>
        <pc:spChg chg="add del mod">
          <ac:chgData name="Renata Festa" userId="6f22df47-533b-4c2a-a3c1-7f9ad1d63e10" providerId="ADAL" clId="{7D997690-04A4-4675-83D7-2E1CC2ED1A4E}" dt="2020-03-24T13:55:37.257" v="1488"/>
          <ac:spMkLst>
            <pc:docMk/>
            <pc:sldMk cId="4117970720" sldId="2076136647"/>
            <ac:spMk id="149" creationId="{A396BC69-FB06-4E99-9259-E4E3D70F3A7D}"/>
          </ac:spMkLst>
        </pc:spChg>
        <pc:spChg chg="add del mod">
          <ac:chgData name="Renata Festa" userId="6f22df47-533b-4c2a-a3c1-7f9ad1d63e10" providerId="ADAL" clId="{7D997690-04A4-4675-83D7-2E1CC2ED1A4E}" dt="2020-03-24T13:55:37.257" v="1488"/>
          <ac:spMkLst>
            <pc:docMk/>
            <pc:sldMk cId="4117970720" sldId="2076136647"/>
            <ac:spMk id="150" creationId="{6DFBE5D6-DA1A-4A2B-83FA-6ED86C628F43}"/>
          </ac:spMkLst>
        </pc:spChg>
        <pc:spChg chg="add del mod">
          <ac:chgData name="Renata Festa" userId="6f22df47-533b-4c2a-a3c1-7f9ad1d63e10" providerId="ADAL" clId="{7D997690-04A4-4675-83D7-2E1CC2ED1A4E}" dt="2020-03-24T13:55:37.257" v="1488"/>
          <ac:spMkLst>
            <pc:docMk/>
            <pc:sldMk cId="4117970720" sldId="2076136647"/>
            <ac:spMk id="151" creationId="{3FF6AF51-065F-4488-8520-2CC8EB0020F1}"/>
          </ac:spMkLst>
        </pc:spChg>
        <pc:spChg chg="add del mod">
          <ac:chgData name="Renata Festa" userId="6f22df47-533b-4c2a-a3c1-7f9ad1d63e10" providerId="ADAL" clId="{7D997690-04A4-4675-83D7-2E1CC2ED1A4E}" dt="2020-03-24T13:55:37.257" v="1488"/>
          <ac:spMkLst>
            <pc:docMk/>
            <pc:sldMk cId="4117970720" sldId="2076136647"/>
            <ac:spMk id="152" creationId="{0FB2C76C-55DB-40BF-80F4-2FAA4E606B86}"/>
          </ac:spMkLst>
        </pc:spChg>
        <pc:spChg chg="add del mod">
          <ac:chgData name="Renata Festa" userId="6f22df47-533b-4c2a-a3c1-7f9ad1d63e10" providerId="ADAL" clId="{7D997690-04A4-4675-83D7-2E1CC2ED1A4E}" dt="2020-03-24T13:55:37.257" v="1488"/>
          <ac:spMkLst>
            <pc:docMk/>
            <pc:sldMk cId="4117970720" sldId="2076136647"/>
            <ac:spMk id="154" creationId="{701C7E8D-A7D7-46C1-BE49-E32D88BD836F}"/>
          </ac:spMkLst>
        </pc:spChg>
        <pc:spChg chg="add del mod">
          <ac:chgData name="Renata Festa" userId="6f22df47-533b-4c2a-a3c1-7f9ad1d63e10" providerId="ADAL" clId="{7D997690-04A4-4675-83D7-2E1CC2ED1A4E}" dt="2020-03-24T13:55:37.257" v="1488"/>
          <ac:spMkLst>
            <pc:docMk/>
            <pc:sldMk cId="4117970720" sldId="2076136647"/>
            <ac:spMk id="155" creationId="{8771641F-AB2D-49D8-B515-0BB26A96BC09}"/>
          </ac:spMkLst>
        </pc:spChg>
        <pc:spChg chg="add del mod">
          <ac:chgData name="Renata Festa" userId="6f22df47-533b-4c2a-a3c1-7f9ad1d63e10" providerId="ADAL" clId="{7D997690-04A4-4675-83D7-2E1CC2ED1A4E}" dt="2020-03-24T13:55:37.257" v="1488"/>
          <ac:spMkLst>
            <pc:docMk/>
            <pc:sldMk cId="4117970720" sldId="2076136647"/>
            <ac:spMk id="156" creationId="{B036DCAA-6C81-41E8-AD05-CBCDB6FC97BF}"/>
          </ac:spMkLst>
        </pc:spChg>
        <pc:spChg chg="add del mod">
          <ac:chgData name="Renata Festa" userId="6f22df47-533b-4c2a-a3c1-7f9ad1d63e10" providerId="ADAL" clId="{7D997690-04A4-4675-83D7-2E1CC2ED1A4E}" dt="2020-03-24T13:55:37.257" v="1488"/>
          <ac:spMkLst>
            <pc:docMk/>
            <pc:sldMk cId="4117970720" sldId="2076136647"/>
            <ac:spMk id="157" creationId="{0601D410-68F6-448C-B143-D574AACC7D83}"/>
          </ac:spMkLst>
        </pc:spChg>
        <pc:spChg chg="add del mod">
          <ac:chgData name="Renata Festa" userId="6f22df47-533b-4c2a-a3c1-7f9ad1d63e10" providerId="ADAL" clId="{7D997690-04A4-4675-83D7-2E1CC2ED1A4E}" dt="2020-03-24T13:55:37.257" v="1488"/>
          <ac:spMkLst>
            <pc:docMk/>
            <pc:sldMk cId="4117970720" sldId="2076136647"/>
            <ac:spMk id="159" creationId="{D04E5C2D-793D-416B-8A09-2B910DEBE56C}"/>
          </ac:spMkLst>
        </pc:spChg>
        <pc:spChg chg="add del mod">
          <ac:chgData name="Renata Festa" userId="6f22df47-533b-4c2a-a3c1-7f9ad1d63e10" providerId="ADAL" clId="{7D997690-04A4-4675-83D7-2E1CC2ED1A4E}" dt="2020-03-24T13:55:37.257" v="1488"/>
          <ac:spMkLst>
            <pc:docMk/>
            <pc:sldMk cId="4117970720" sldId="2076136647"/>
            <ac:spMk id="160" creationId="{5108460A-4E78-4556-B165-22B6A667FDFE}"/>
          </ac:spMkLst>
        </pc:spChg>
        <pc:spChg chg="add del mod">
          <ac:chgData name="Renata Festa" userId="6f22df47-533b-4c2a-a3c1-7f9ad1d63e10" providerId="ADAL" clId="{7D997690-04A4-4675-83D7-2E1CC2ED1A4E}" dt="2020-03-24T13:55:37.257" v="1488"/>
          <ac:spMkLst>
            <pc:docMk/>
            <pc:sldMk cId="4117970720" sldId="2076136647"/>
            <ac:spMk id="164" creationId="{321019DE-7424-4AE0-A47D-F71ECB56C001}"/>
          </ac:spMkLst>
        </pc:spChg>
        <pc:spChg chg="add del mod">
          <ac:chgData name="Renata Festa" userId="6f22df47-533b-4c2a-a3c1-7f9ad1d63e10" providerId="ADAL" clId="{7D997690-04A4-4675-83D7-2E1CC2ED1A4E}" dt="2020-03-24T13:55:37.257" v="1488"/>
          <ac:spMkLst>
            <pc:docMk/>
            <pc:sldMk cId="4117970720" sldId="2076136647"/>
            <ac:spMk id="165" creationId="{BDC8B7ED-6708-4B66-9096-6B7F05D5065C}"/>
          </ac:spMkLst>
        </pc:spChg>
        <pc:spChg chg="add del mod">
          <ac:chgData name="Renata Festa" userId="6f22df47-533b-4c2a-a3c1-7f9ad1d63e10" providerId="ADAL" clId="{7D997690-04A4-4675-83D7-2E1CC2ED1A4E}" dt="2020-03-24T13:55:37.257" v="1488"/>
          <ac:spMkLst>
            <pc:docMk/>
            <pc:sldMk cId="4117970720" sldId="2076136647"/>
            <ac:spMk id="166" creationId="{1004CBCD-5244-42BD-9325-15D2757EC602}"/>
          </ac:spMkLst>
        </pc:spChg>
        <pc:spChg chg="add del mod">
          <ac:chgData name="Renata Festa" userId="6f22df47-533b-4c2a-a3c1-7f9ad1d63e10" providerId="ADAL" clId="{7D997690-04A4-4675-83D7-2E1CC2ED1A4E}" dt="2020-03-24T13:55:37.257" v="1488"/>
          <ac:spMkLst>
            <pc:docMk/>
            <pc:sldMk cId="4117970720" sldId="2076136647"/>
            <ac:spMk id="167" creationId="{8F7DBD9C-BCBA-4678-B6F5-0C023963609B}"/>
          </ac:spMkLst>
        </pc:spChg>
        <pc:spChg chg="add del mod">
          <ac:chgData name="Renata Festa" userId="6f22df47-533b-4c2a-a3c1-7f9ad1d63e10" providerId="ADAL" clId="{7D997690-04A4-4675-83D7-2E1CC2ED1A4E}" dt="2020-03-24T13:55:37.257" v="1488"/>
          <ac:spMkLst>
            <pc:docMk/>
            <pc:sldMk cId="4117970720" sldId="2076136647"/>
            <ac:spMk id="168" creationId="{AF7E590B-6C75-4C84-A32E-E4AD4563CD4D}"/>
          </ac:spMkLst>
        </pc:spChg>
        <pc:spChg chg="add del mod">
          <ac:chgData name="Renata Festa" userId="6f22df47-533b-4c2a-a3c1-7f9ad1d63e10" providerId="ADAL" clId="{7D997690-04A4-4675-83D7-2E1CC2ED1A4E}" dt="2020-03-24T13:55:37.257" v="1488"/>
          <ac:spMkLst>
            <pc:docMk/>
            <pc:sldMk cId="4117970720" sldId="2076136647"/>
            <ac:spMk id="169" creationId="{3C131A54-4179-4138-B763-6DAFB0BD8565}"/>
          </ac:spMkLst>
        </pc:spChg>
        <pc:spChg chg="add del mod">
          <ac:chgData name="Renata Festa" userId="6f22df47-533b-4c2a-a3c1-7f9ad1d63e10" providerId="ADAL" clId="{7D997690-04A4-4675-83D7-2E1CC2ED1A4E}" dt="2020-03-24T13:55:37.257" v="1488"/>
          <ac:spMkLst>
            <pc:docMk/>
            <pc:sldMk cId="4117970720" sldId="2076136647"/>
            <ac:spMk id="171" creationId="{8BA8895A-B078-4E79-88AA-DD9BDBE38271}"/>
          </ac:spMkLst>
        </pc:spChg>
        <pc:spChg chg="add del mod">
          <ac:chgData name="Renata Festa" userId="6f22df47-533b-4c2a-a3c1-7f9ad1d63e10" providerId="ADAL" clId="{7D997690-04A4-4675-83D7-2E1CC2ED1A4E}" dt="2020-03-24T13:55:37.257" v="1488"/>
          <ac:spMkLst>
            <pc:docMk/>
            <pc:sldMk cId="4117970720" sldId="2076136647"/>
            <ac:spMk id="172" creationId="{B0101E82-E068-4A6D-98B5-B10DF3B1E340}"/>
          </ac:spMkLst>
        </pc:spChg>
        <pc:spChg chg="add del mod">
          <ac:chgData name="Renata Festa" userId="6f22df47-533b-4c2a-a3c1-7f9ad1d63e10" providerId="ADAL" clId="{7D997690-04A4-4675-83D7-2E1CC2ED1A4E}" dt="2020-03-24T13:55:37.257" v="1488"/>
          <ac:spMkLst>
            <pc:docMk/>
            <pc:sldMk cId="4117970720" sldId="2076136647"/>
            <ac:spMk id="174" creationId="{6237EE3C-30A0-497B-9D1E-409626D608B6}"/>
          </ac:spMkLst>
        </pc:spChg>
        <pc:spChg chg="add del mod">
          <ac:chgData name="Renata Festa" userId="6f22df47-533b-4c2a-a3c1-7f9ad1d63e10" providerId="ADAL" clId="{7D997690-04A4-4675-83D7-2E1CC2ED1A4E}" dt="2020-03-24T13:55:37.257" v="1488"/>
          <ac:spMkLst>
            <pc:docMk/>
            <pc:sldMk cId="4117970720" sldId="2076136647"/>
            <ac:spMk id="176" creationId="{D1D573F7-1EBB-498C-B842-DB13E85C4563}"/>
          </ac:spMkLst>
        </pc:spChg>
        <pc:spChg chg="add del mod">
          <ac:chgData name="Renata Festa" userId="6f22df47-533b-4c2a-a3c1-7f9ad1d63e10" providerId="ADAL" clId="{7D997690-04A4-4675-83D7-2E1CC2ED1A4E}" dt="2020-03-24T13:55:37.257" v="1488"/>
          <ac:spMkLst>
            <pc:docMk/>
            <pc:sldMk cId="4117970720" sldId="2076136647"/>
            <ac:spMk id="186" creationId="{236F3072-0286-4D91-B872-264C4A538619}"/>
          </ac:spMkLst>
        </pc:spChg>
        <pc:spChg chg="add del mod">
          <ac:chgData name="Renata Festa" userId="6f22df47-533b-4c2a-a3c1-7f9ad1d63e10" providerId="ADAL" clId="{7D997690-04A4-4675-83D7-2E1CC2ED1A4E}" dt="2020-03-24T13:55:37.257" v="1488"/>
          <ac:spMkLst>
            <pc:docMk/>
            <pc:sldMk cId="4117970720" sldId="2076136647"/>
            <ac:spMk id="187" creationId="{46E7F102-2A89-4EA2-BA0D-83B063E58F9B}"/>
          </ac:spMkLst>
        </pc:spChg>
        <pc:spChg chg="add del mod">
          <ac:chgData name="Renata Festa" userId="6f22df47-533b-4c2a-a3c1-7f9ad1d63e10" providerId="ADAL" clId="{7D997690-04A4-4675-83D7-2E1CC2ED1A4E}" dt="2020-03-24T13:55:37.257" v="1488"/>
          <ac:spMkLst>
            <pc:docMk/>
            <pc:sldMk cId="4117970720" sldId="2076136647"/>
            <ac:spMk id="197" creationId="{0CDD1566-4C4F-46AF-9C2D-0889B30F4DD5}"/>
          </ac:spMkLst>
        </pc:spChg>
        <pc:spChg chg="add del mod">
          <ac:chgData name="Renata Festa" userId="6f22df47-533b-4c2a-a3c1-7f9ad1d63e10" providerId="ADAL" clId="{7D997690-04A4-4675-83D7-2E1CC2ED1A4E}" dt="2020-03-24T13:55:37.257" v="1488"/>
          <ac:spMkLst>
            <pc:docMk/>
            <pc:sldMk cId="4117970720" sldId="2076136647"/>
            <ac:spMk id="198" creationId="{4C343CB6-A3E8-4E6A-B275-4BF333CE23B4}"/>
          </ac:spMkLst>
        </pc:spChg>
        <pc:spChg chg="add del mod">
          <ac:chgData name="Renata Festa" userId="6f22df47-533b-4c2a-a3c1-7f9ad1d63e10" providerId="ADAL" clId="{7D997690-04A4-4675-83D7-2E1CC2ED1A4E}" dt="2020-03-24T13:55:37.257" v="1488"/>
          <ac:spMkLst>
            <pc:docMk/>
            <pc:sldMk cId="4117970720" sldId="2076136647"/>
            <ac:spMk id="208" creationId="{879C6332-B4A0-4FDB-9A31-1ED4C9027975}"/>
          </ac:spMkLst>
        </pc:spChg>
        <pc:spChg chg="add del mod">
          <ac:chgData name="Renata Festa" userId="6f22df47-533b-4c2a-a3c1-7f9ad1d63e10" providerId="ADAL" clId="{7D997690-04A4-4675-83D7-2E1CC2ED1A4E}" dt="2020-03-24T13:55:37.257" v="1488"/>
          <ac:spMkLst>
            <pc:docMk/>
            <pc:sldMk cId="4117970720" sldId="2076136647"/>
            <ac:spMk id="209" creationId="{4A539A72-90FE-4E8E-91E7-6F380506EE52}"/>
          </ac:spMkLst>
        </pc:spChg>
        <pc:spChg chg="add del mod">
          <ac:chgData name="Renata Festa" userId="6f22df47-533b-4c2a-a3c1-7f9ad1d63e10" providerId="ADAL" clId="{7D997690-04A4-4675-83D7-2E1CC2ED1A4E}" dt="2020-03-24T13:55:37.257" v="1488"/>
          <ac:spMkLst>
            <pc:docMk/>
            <pc:sldMk cId="4117970720" sldId="2076136647"/>
            <ac:spMk id="210" creationId="{1649517F-A11F-41FE-A6A5-64218F2C493B}"/>
          </ac:spMkLst>
        </pc:spChg>
        <pc:spChg chg="add del mod">
          <ac:chgData name="Renata Festa" userId="6f22df47-533b-4c2a-a3c1-7f9ad1d63e10" providerId="ADAL" clId="{7D997690-04A4-4675-83D7-2E1CC2ED1A4E}" dt="2020-03-24T13:55:37.257" v="1488"/>
          <ac:spMkLst>
            <pc:docMk/>
            <pc:sldMk cId="4117970720" sldId="2076136647"/>
            <ac:spMk id="211" creationId="{F720F25A-A8F4-42B3-81CB-9A792DE43E34}"/>
          </ac:spMkLst>
        </pc:spChg>
        <pc:spChg chg="add del mod">
          <ac:chgData name="Renata Festa" userId="6f22df47-533b-4c2a-a3c1-7f9ad1d63e10" providerId="ADAL" clId="{7D997690-04A4-4675-83D7-2E1CC2ED1A4E}" dt="2020-03-24T13:55:37.257" v="1488"/>
          <ac:spMkLst>
            <pc:docMk/>
            <pc:sldMk cId="4117970720" sldId="2076136647"/>
            <ac:spMk id="212" creationId="{FFB005E6-34FF-448D-B35B-0E9E16CD4B78}"/>
          </ac:spMkLst>
        </pc:spChg>
        <pc:spChg chg="add del mod">
          <ac:chgData name="Renata Festa" userId="6f22df47-533b-4c2a-a3c1-7f9ad1d63e10" providerId="ADAL" clId="{7D997690-04A4-4675-83D7-2E1CC2ED1A4E}" dt="2020-03-24T13:55:37.257" v="1488"/>
          <ac:spMkLst>
            <pc:docMk/>
            <pc:sldMk cId="4117970720" sldId="2076136647"/>
            <ac:spMk id="213" creationId="{F28C33B4-3499-4A3F-8F35-FE18A88322DA}"/>
          </ac:spMkLst>
        </pc:spChg>
        <pc:spChg chg="add del mod">
          <ac:chgData name="Renata Festa" userId="6f22df47-533b-4c2a-a3c1-7f9ad1d63e10" providerId="ADAL" clId="{7D997690-04A4-4675-83D7-2E1CC2ED1A4E}" dt="2020-03-24T13:55:37.257" v="1488"/>
          <ac:spMkLst>
            <pc:docMk/>
            <pc:sldMk cId="4117970720" sldId="2076136647"/>
            <ac:spMk id="214" creationId="{243191FF-E04D-4B97-9031-A2416CF6A607}"/>
          </ac:spMkLst>
        </pc:spChg>
        <pc:spChg chg="add del mod">
          <ac:chgData name="Renata Festa" userId="6f22df47-533b-4c2a-a3c1-7f9ad1d63e10" providerId="ADAL" clId="{7D997690-04A4-4675-83D7-2E1CC2ED1A4E}" dt="2020-03-24T13:55:37.257" v="1488"/>
          <ac:spMkLst>
            <pc:docMk/>
            <pc:sldMk cId="4117970720" sldId="2076136647"/>
            <ac:spMk id="215" creationId="{C9AF9E35-007E-4E26-A16A-7D5DAF018751}"/>
          </ac:spMkLst>
        </pc:spChg>
        <pc:spChg chg="add del mod">
          <ac:chgData name="Renata Festa" userId="6f22df47-533b-4c2a-a3c1-7f9ad1d63e10" providerId="ADAL" clId="{7D997690-04A4-4675-83D7-2E1CC2ED1A4E}" dt="2020-03-24T13:55:37.257" v="1488"/>
          <ac:spMkLst>
            <pc:docMk/>
            <pc:sldMk cId="4117970720" sldId="2076136647"/>
            <ac:spMk id="216" creationId="{0C5FBFDB-E074-4CF1-B104-D59C05E9924A}"/>
          </ac:spMkLst>
        </pc:spChg>
        <pc:spChg chg="add del mod">
          <ac:chgData name="Renata Festa" userId="6f22df47-533b-4c2a-a3c1-7f9ad1d63e10" providerId="ADAL" clId="{7D997690-04A4-4675-83D7-2E1CC2ED1A4E}" dt="2020-03-24T13:55:37.257" v="1488"/>
          <ac:spMkLst>
            <pc:docMk/>
            <pc:sldMk cId="4117970720" sldId="2076136647"/>
            <ac:spMk id="217" creationId="{2F8A3B93-865F-401D-B010-9C8B22D1A544}"/>
          </ac:spMkLst>
        </pc:spChg>
        <pc:spChg chg="add del mod">
          <ac:chgData name="Renata Festa" userId="6f22df47-533b-4c2a-a3c1-7f9ad1d63e10" providerId="ADAL" clId="{7D997690-04A4-4675-83D7-2E1CC2ED1A4E}" dt="2020-03-24T13:55:37.257" v="1488"/>
          <ac:spMkLst>
            <pc:docMk/>
            <pc:sldMk cId="4117970720" sldId="2076136647"/>
            <ac:spMk id="218" creationId="{05E1D369-A4A7-4747-A6D3-058FFECC7E07}"/>
          </ac:spMkLst>
        </pc:spChg>
        <pc:spChg chg="add del mod">
          <ac:chgData name="Renata Festa" userId="6f22df47-533b-4c2a-a3c1-7f9ad1d63e10" providerId="ADAL" clId="{7D997690-04A4-4675-83D7-2E1CC2ED1A4E}" dt="2020-03-24T13:55:37.257" v="1488"/>
          <ac:spMkLst>
            <pc:docMk/>
            <pc:sldMk cId="4117970720" sldId="2076136647"/>
            <ac:spMk id="219" creationId="{E7D5C59F-52B3-43DD-9F4A-8A7C55263A50}"/>
          </ac:spMkLst>
        </pc:spChg>
        <pc:spChg chg="add del mod">
          <ac:chgData name="Renata Festa" userId="6f22df47-533b-4c2a-a3c1-7f9ad1d63e10" providerId="ADAL" clId="{7D997690-04A4-4675-83D7-2E1CC2ED1A4E}" dt="2020-03-24T13:55:37.257" v="1488"/>
          <ac:spMkLst>
            <pc:docMk/>
            <pc:sldMk cId="4117970720" sldId="2076136647"/>
            <ac:spMk id="223" creationId="{706E6965-774E-47ED-A2FF-E4D8D6FEEA5A}"/>
          </ac:spMkLst>
        </pc:spChg>
        <pc:spChg chg="add del mod">
          <ac:chgData name="Renata Festa" userId="6f22df47-533b-4c2a-a3c1-7f9ad1d63e10" providerId="ADAL" clId="{7D997690-04A4-4675-83D7-2E1CC2ED1A4E}" dt="2020-03-24T13:55:37.257" v="1488"/>
          <ac:spMkLst>
            <pc:docMk/>
            <pc:sldMk cId="4117970720" sldId="2076136647"/>
            <ac:spMk id="224" creationId="{71E698AD-3BBD-48B1-B690-80F9E7EB33E5}"/>
          </ac:spMkLst>
        </pc:spChg>
        <pc:spChg chg="add del">
          <ac:chgData name="Renata Festa" userId="6f22df47-533b-4c2a-a3c1-7f9ad1d63e10" providerId="ADAL" clId="{7D997690-04A4-4675-83D7-2E1CC2ED1A4E}" dt="2020-03-24T13:55:39.188" v="1490"/>
          <ac:spMkLst>
            <pc:docMk/>
            <pc:sldMk cId="4117970720" sldId="2076136647"/>
            <ac:spMk id="225" creationId="{CC9AFAE7-CABD-4851-BB45-D0F38099DE4F}"/>
          </ac:spMkLst>
        </pc:spChg>
        <pc:spChg chg="add del">
          <ac:chgData name="Renata Festa" userId="6f22df47-533b-4c2a-a3c1-7f9ad1d63e10" providerId="ADAL" clId="{7D997690-04A4-4675-83D7-2E1CC2ED1A4E}" dt="2020-03-24T13:55:39.188" v="1490"/>
          <ac:spMkLst>
            <pc:docMk/>
            <pc:sldMk cId="4117970720" sldId="2076136647"/>
            <ac:spMk id="239" creationId="{B1FEFF52-9D9F-42E0-8B5D-A048C66C829B}"/>
          </ac:spMkLst>
        </pc:spChg>
        <pc:spChg chg="add del">
          <ac:chgData name="Renata Festa" userId="6f22df47-533b-4c2a-a3c1-7f9ad1d63e10" providerId="ADAL" clId="{7D997690-04A4-4675-83D7-2E1CC2ED1A4E}" dt="2020-03-24T13:55:39.188" v="1490"/>
          <ac:spMkLst>
            <pc:docMk/>
            <pc:sldMk cId="4117970720" sldId="2076136647"/>
            <ac:spMk id="240" creationId="{F40BB021-7E83-412D-8620-1DC47F1DF0E3}"/>
          </ac:spMkLst>
        </pc:spChg>
        <pc:spChg chg="add del">
          <ac:chgData name="Renata Festa" userId="6f22df47-533b-4c2a-a3c1-7f9ad1d63e10" providerId="ADAL" clId="{7D997690-04A4-4675-83D7-2E1CC2ED1A4E}" dt="2020-03-24T13:55:39.188" v="1490"/>
          <ac:spMkLst>
            <pc:docMk/>
            <pc:sldMk cId="4117970720" sldId="2076136647"/>
            <ac:spMk id="241" creationId="{B62E503C-6625-4BAC-9D41-0F61A47B79BD}"/>
          </ac:spMkLst>
        </pc:spChg>
        <pc:spChg chg="add del">
          <ac:chgData name="Renata Festa" userId="6f22df47-533b-4c2a-a3c1-7f9ad1d63e10" providerId="ADAL" clId="{7D997690-04A4-4675-83D7-2E1CC2ED1A4E}" dt="2020-03-24T13:55:39.188" v="1490"/>
          <ac:spMkLst>
            <pc:docMk/>
            <pc:sldMk cId="4117970720" sldId="2076136647"/>
            <ac:spMk id="244" creationId="{508F662E-3BDC-4B6E-B935-3D569057EA8C}"/>
          </ac:spMkLst>
        </pc:spChg>
        <pc:spChg chg="add del">
          <ac:chgData name="Renata Festa" userId="6f22df47-533b-4c2a-a3c1-7f9ad1d63e10" providerId="ADAL" clId="{7D997690-04A4-4675-83D7-2E1CC2ED1A4E}" dt="2020-03-24T13:55:39.188" v="1490"/>
          <ac:spMkLst>
            <pc:docMk/>
            <pc:sldMk cId="4117970720" sldId="2076136647"/>
            <ac:spMk id="245" creationId="{CB0EBE96-0D44-4C3A-A970-2EB92DC5D870}"/>
          </ac:spMkLst>
        </pc:spChg>
        <pc:spChg chg="add del">
          <ac:chgData name="Renata Festa" userId="6f22df47-533b-4c2a-a3c1-7f9ad1d63e10" providerId="ADAL" clId="{7D997690-04A4-4675-83D7-2E1CC2ED1A4E}" dt="2020-03-24T13:55:39.188" v="1490"/>
          <ac:spMkLst>
            <pc:docMk/>
            <pc:sldMk cId="4117970720" sldId="2076136647"/>
            <ac:spMk id="246" creationId="{DE8ED6FF-C154-49D4-955C-DBB783C30588}"/>
          </ac:spMkLst>
        </pc:spChg>
        <pc:spChg chg="add del">
          <ac:chgData name="Renata Festa" userId="6f22df47-533b-4c2a-a3c1-7f9ad1d63e10" providerId="ADAL" clId="{7D997690-04A4-4675-83D7-2E1CC2ED1A4E}" dt="2020-03-24T13:55:39.188" v="1490"/>
          <ac:spMkLst>
            <pc:docMk/>
            <pc:sldMk cId="4117970720" sldId="2076136647"/>
            <ac:spMk id="247" creationId="{ABC33FE4-E481-46DF-9901-FA551CF01BAD}"/>
          </ac:spMkLst>
        </pc:spChg>
        <pc:spChg chg="add del">
          <ac:chgData name="Renata Festa" userId="6f22df47-533b-4c2a-a3c1-7f9ad1d63e10" providerId="ADAL" clId="{7D997690-04A4-4675-83D7-2E1CC2ED1A4E}" dt="2020-03-24T13:55:39.188" v="1490"/>
          <ac:spMkLst>
            <pc:docMk/>
            <pc:sldMk cId="4117970720" sldId="2076136647"/>
            <ac:spMk id="248" creationId="{48F07576-117D-48BE-A32B-726A35DB8D3C}"/>
          </ac:spMkLst>
        </pc:spChg>
        <pc:spChg chg="add del">
          <ac:chgData name="Renata Festa" userId="6f22df47-533b-4c2a-a3c1-7f9ad1d63e10" providerId="ADAL" clId="{7D997690-04A4-4675-83D7-2E1CC2ED1A4E}" dt="2020-03-24T13:55:39.188" v="1490"/>
          <ac:spMkLst>
            <pc:docMk/>
            <pc:sldMk cId="4117970720" sldId="2076136647"/>
            <ac:spMk id="249" creationId="{07BC7235-20C0-48F2-A46C-DD5AC4B02138}"/>
          </ac:spMkLst>
        </pc:spChg>
        <pc:spChg chg="add del">
          <ac:chgData name="Renata Festa" userId="6f22df47-533b-4c2a-a3c1-7f9ad1d63e10" providerId="ADAL" clId="{7D997690-04A4-4675-83D7-2E1CC2ED1A4E}" dt="2020-03-24T13:55:39.188" v="1490"/>
          <ac:spMkLst>
            <pc:docMk/>
            <pc:sldMk cId="4117970720" sldId="2076136647"/>
            <ac:spMk id="250" creationId="{502ABFBB-AD43-4E99-8888-2E8DB4FBED71}"/>
          </ac:spMkLst>
        </pc:spChg>
        <pc:spChg chg="add del">
          <ac:chgData name="Renata Festa" userId="6f22df47-533b-4c2a-a3c1-7f9ad1d63e10" providerId="ADAL" clId="{7D997690-04A4-4675-83D7-2E1CC2ED1A4E}" dt="2020-03-24T13:55:39.188" v="1490"/>
          <ac:spMkLst>
            <pc:docMk/>
            <pc:sldMk cId="4117970720" sldId="2076136647"/>
            <ac:spMk id="251" creationId="{770D8E37-9785-42DA-BD47-F9BB41773595}"/>
          </ac:spMkLst>
        </pc:spChg>
        <pc:spChg chg="add del">
          <ac:chgData name="Renata Festa" userId="6f22df47-533b-4c2a-a3c1-7f9ad1d63e10" providerId="ADAL" clId="{7D997690-04A4-4675-83D7-2E1CC2ED1A4E}" dt="2020-03-24T13:55:39.188" v="1490"/>
          <ac:spMkLst>
            <pc:docMk/>
            <pc:sldMk cId="4117970720" sldId="2076136647"/>
            <ac:spMk id="252" creationId="{CB512B33-809E-4911-9C8E-7DB064E52932}"/>
          </ac:spMkLst>
        </pc:spChg>
        <pc:spChg chg="add del">
          <ac:chgData name="Renata Festa" userId="6f22df47-533b-4c2a-a3c1-7f9ad1d63e10" providerId="ADAL" clId="{7D997690-04A4-4675-83D7-2E1CC2ED1A4E}" dt="2020-03-24T13:55:39.188" v="1490"/>
          <ac:spMkLst>
            <pc:docMk/>
            <pc:sldMk cId="4117970720" sldId="2076136647"/>
            <ac:spMk id="253" creationId="{C1A44452-9A45-46A0-B472-F4E2194FBF9B}"/>
          </ac:spMkLst>
        </pc:spChg>
        <pc:spChg chg="add del">
          <ac:chgData name="Renata Festa" userId="6f22df47-533b-4c2a-a3c1-7f9ad1d63e10" providerId="ADAL" clId="{7D997690-04A4-4675-83D7-2E1CC2ED1A4E}" dt="2020-03-24T13:55:39.188" v="1490"/>
          <ac:spMkLst>
            <pc:docMk/>
            <pc:sldMk cId="4117970720" sldId="2076136647"/>
            <ac:spMk id="254" creationId="{C636B293-E12C-4197-B197-9E524B0D5B4A}"/>
          </ac:spMkLst>
        </pc:spChg>
        <pc:spChg chg="add del">
          <ac:chgData name="Renata Festa" userId="6f22df47-533b-4c2a-a3c1-7f9ad1d63e10" providerId="ADAL" clId="{7D997690-04A4-4675-83D7-2E1CC2ED1A4E}" dt="2020-03-24T13:55:39.188" v="1490"/>
          <ac:spMkLst>
            <pc:docMk/>
            <pc:sldMk cId="4117970720" sldId="2076136647"/>
            <ac:spMk id="255" creationId="{B95FEEA6-80BB-4111-B975-CFAC4E25A96F}"/>
          </ac:spMkLst>
        </pc:spChg>
        <pc:spChg chg="add del">
          <ac:chgData name="Renata Festa" userId="6f22df47-533b-4c2a-a3c1-7f9ad1d63e10" providerId="ADAL" clId="{7D997690-04A4-4675-83D7-2E1CC2ED1A4E}" dt="2020-03-24T13:55:39.188" v="1490"/>
          <ac:spMkLst>
            <pc:docMk/>
            <pc:sldMk cId="4117970720" sldId="2076136647"/>
            <ac:spMk id="256" creationId="{63539FCE-4E6E-4304-9838-E3E39B37870A}"/>
          </ac:spMkLst>
        </pc:spChg>
        <pc:spChg chg="add del">
          <ac:chgData name="Renata Festa" userId="6f22df47-533b-4c2a-a3c1-7f9ad1d63e10" providerId="ADAL" clId="{7D997690-04A4-4675-83D7-2E1CC2ED1A4E}" dt="2020-03-24T13:55:39.188" v="1490"/>
          <ac:spMkLst>
            <pc:docMk/>
            <pc:sldMk cId="4117970720" sldId="2076136647"/>
            <ac:spMk id="257" creationId="{3895AEBB-4A42-48EE-AABB-EE4591DF5607}"/>
          </ac:spMkLst>
        </pc:spChg>
        <pc:spChg chg="add del">
          <ac:chgData name="Renata Festa" userId="6f22df47-533b-4c2a-a3c1-7f9ad1d63e10" providerId="ADAL" clId="{7D997690-04A4-4675-83D7-2E1CC2ED1A4E}" dt="2020-03-24T13:55:39.188" v="1490"/>
          <ac:spMkLst>
            <pc:docMk/>
            <pc:sldMk cId="4117970720" sldId="2076136647"/>
            <ac:spMk id="258" creationId="{649E7B6C-B22C-4F88-B33A-1615A1E2CBE8}"/>
          </ac:spMkLst>
        </pc:spChg>
        <pc:spChg chg="add del">
          <ac:chgData name="Renata Festa" userId="6f22df47-533b-4c2a-a3c1-7f9ad1d63e10" providerId="ADAL" clId="{7D997690-04A4-4675-83D7-2E1CC2ED1A4E}" dt="2020-03-24T13:55:39.188" v="1490"/>
          <ac:spMkLst>
            <pc:docMk/>
            <pc:sldMk cId="4117970720" sldId="2076136647"/>
            <ac:spMk id="259" creationId="{32E6E19C-C92B-4F3F-B219-8372DE741AD4}"/>
          </ac:spMkLst>
        </pc:spChg>
        <pc:spChg chg="add del">
          <ac:chgData name="Renata Festa" userId="6f22df47-533b-4c2a-a3c1-7f9ad1d63e10" providerId="ADAL" clId="{7D997690-04A4-4675-83D7-2E1CC2ED1A4E}" dt="2020-03-24T13:55:39.188" v="1490"/>
          <ac:spMkLst>
            <pc:docMk/>
            <pc:sldMk cId="4117970720" sldId="2076136647"/>
            <ac:spMk id="260" creationId="{DA24F111-EE32-4E7A-A64C-FC41DE81BE80}"/>
          </ac:spMkLst>
        </pc:spChg>
        <pc:spChg chg="add del">
          <ac:chgData name="Renata Festa" userId="6f22df47-533b-4c2a-a3c1-7f9ad1d63e10" providerId="ADAL" clId="{7D997690-04A4-4675-83D7-2E1CC2ED1A4E}" dt="2020-03-24T13:55:39.188" v="1490"/>
          <ac:spMkLst>
            <pc:docMk/>
            <pc:sldMk cId="4117970720" sldId="2076136647"/>
            <ac:spMk id="261" creationId="{8CA7B7A4-D856-4BBE-82CE-4EE27EC9091A}"/>
          </ac:spMkLst>
        </pc:spChg>
        <pc:spChg chg="add del">
          <ac:chgData name="Renata Festa" userId="6f22df47-533b-4c2a-a3c1-7f9ad1d63e10" providerId="ADAL" clId="{7D997690-04A4-4675-83D7-2E1CC2ED1A4E}" dt="2020-03-24T13:55:39.188" v="1490"/>
          <ac:spMkLst>
            <pc:docMk/>
            <pc:sldMk cId="4117970720" sldId="2076136647"/>
            <ac:spMk id="262" creationId="{0766388A-AAC2-4955-8511-6F7619B6A0DC}"/>
          </ac:spMkLst>
        </pc:spChg>
        <pc:spChg chg="add del">
          <ac:chgData name="Renata Festa" userId="6f22df47-533b-4c2a-a3c1-7f9ad1d63e10" providerId="ADAL" clId="{7D997690-04A4-4675-83D7-2E1CC2ED1A4E}" dt="2020-03-24T13:55:39.188" v="1490"/>
          <ac:spMkLst>
            <pc:docMk/>
            <pc:sldMk cId="4117970720" sldId="2076136647"/>
            <ac:spMk id="264" creationId="{19127FD0-F59B-47FF-847E-BB136A064F95}"/>
          </ac:spMkLst>
        </pc:spChg>
        <pc:spChg chg="add del">
          <ac:chgData name="Renata Festa" userId="6f22df47-533b-4c2a-a3c1-7f9ad1d63e10" providerId="ADAL" clId="{7D997690-04A4-4675-83D7-2E1CC2ED1A4E}" dt="2020-03-24T13:55:39.188" v="1490"/>
          <ac:spMkLst>
            <pc:docMk/>
            <pc:sldMk cId="4117970720" sldId="2076136647"/>
            <ac:spMk id="265" creationId="{3EED1558-799B-43E0-8C0C-6649DA0F9D00}"/>
          </ac:spMkLst>
        </pc:spChg>
        <pc:spChg chg="add del">
          <ac:chgData name="Renata Festa" userId="6f22df47-533b-4c2a-a3c1-7f9ad1d63e10" providerId="ADAL" clId="{7D997690-04A4-4675-83D7-2E1CC2ED1A4E}" dt="2020-03-24T13:55:39.188" v="1490"/>
          <ac:spMkLst>
            <pc:docMk/>
            <pc:sldMk cId="4117970720" sldId="2076136647"/>
            <ac:spMk id="266" creationId="{F99C51DE-5C6D-4FE8-8DC2-A70A430DD91E}"/>
          </ac:spMkLst>
        </pc:spChg>
        <pc:spChg chg="add del">
          <ac:chgData name="Renata Festa" userId="6f22df47-533b-4c2a-a3c1-7f9ad1d63e10" providerId="ADAL" clId="{7D997690-04A4-4675-83D7-2E1CC2ED1A4E}" dt="2020-03-24T13:55:39.188" v="1490"/>
          <ac:spMkLst>
            <pc:docMk/>
            <pc:sldMk cId="4117970720" sldId="2076136647"/>
            <ac:spMk id="267" creationId="{890D9E29-698F-4A0E-918A-F200DE978008}"/>
          </ac:spMkLst>
        </pc:spChg>
        <pc:spChg chg="add del">
          <ac:chgData name="Renata Festa" userId="6f22df47-533b-4c2a-a3c1-7f9ad1d63e10" providerId="ADAL" clId="{7D997690-04A4-4675-83D7-2E1CC2ED1A4E}" dt="2020-03-24T13:55:39.188" v="1490"/>
          <ac:spMkLst>
            <pc:docMk/>
            <pc:sldMk cId="4117970720" sldId="2076136647"/>
            <ac:spMk id="269" creationId="{207DD814-513B-480D-9042-66462668A18A}"/>
          </ac:spMkLst>
        </pc:spChg>
        <pc:spChg chg="add del">
          <ac:chgData name="Renata Festa" userId="6f22df47-533b-4c2a-a3c1-7f9ad1d63e10" providerId="ADAL" clId="{7D997690-04A4-4675-83D7-2E1CC2ED1A4E}" dt="2020-03-24T13:55:39.188" v="1490"/>
          <ac:spMkLst>
            <pc:docMk/>
            <pc:sldMk cId="4117970720" sldId="2076136647"/>
            <ac:spMk id="270" creationId="{85451249-EEA3-4B02-8C55-D8391F7E610C}"/>
          </ac:spMkLst>
        </pc:spChg>
        <pc:spChg chg="add del">
          <ac:chgData name="Renata Festa" userId="6f22df47-533b-4c2a-a3c1-7f9ad1d63e10" providerId="ADAL" clId="{7D997690-04A4-4675-83D7-2E1CC2ED1A4E}" dt="2020-03-24T13:55:39.188" v="1490"/>
          <ac:spMkLst>
            <pc:docMk/>
            <pc:sldMk cId="4117970720" sldId="2076136647"/>
            <ac:spMk id="274" creationId="{FAD2D418-2797-4E4B-A1F8-0BBDE38335F7}"/>
          </ac:spMkLst>
        </pc:spChg>
        <pc:spChg chg="add del">
          <ac:chgData name="Renata Festa" userId="6f22df47-533b-4c2a-a3c1-7f9ad1d63e10" providerId="ADAL" clId="{7D997690-04A4-4675-83D7-2E1CC2ED1A4E}" dt="2020-03-24T13:55:39.188" v="1490"/>
          <ac:spMkLst>
            <pc:docMk/>
            <pc:sldMk cId="4117970720" sldId="2076136647"/>
            <ac:spMk id="275" creationId="{170A7355-67ED-483C-BD11-1F586D3DD748}"/>
          </ac:spMkLst>
        </pc:spChg>
        <pc:spChg chg="add del">
          <ac:chgData name="Renata Festa" userId="6f22df47-533b-4c2a-a3c1-7f9ad1d63e10" providerId="ADAL" clId="{7D997690-04A4-4675-83D7-2E1CC2ED1A4E}" dt="2020-03-24T13:55:39.188" v="1490"/>
          <ac:spMkLst>
            <pc:docMk/>
            <pc:sldMk cId="4117970720" sldId="2076136647"/>
            <ac:spMk id="276" creationId="{10305DEC-24A2-4857-BF30-0834A9D45D33}"/>
          </ac:spMkLst>
        </pc:spChg>
        <pc:spChg chg="add del">
          <ac:chgData name="Renata Festa" userId="6f22df47-533b-4c2a-a3c1-7f9ad1d63e10" providerId="ADAL" clId="{7D997690-04A4-4675-83D7-2E1CC2ED1A4E}" dt="2020-03-24T13:55:39.188" v="1490"/>
          <ac:spMkLst>
            <pc:docMk/>
            <pc:sldMk cId="4117970720" sldId="2076136647"/>
            <ac:spMk id="277" creationId="{D3D85B31-7F20-470C-98AF-9E6464F132C4}"/>
          </ac:spMkLst>
        </pc:spChg>
        <pc:spChg chg="add del">
          <ac:chgData name="Renata Festa" userId="6f22df47-533b-4c2a-a3c1-7f9ad1d63e10" providerId="ADAL" clId="{7D997690-04A4-4675-83D7-2E1CC2ED1A4E}" dt="2020-03-24T13:55:39.188" v="1490"/>
          <ac:spMkLst>
            <pc:docMk/>
            <pc:sldMk cId="4117970720" sldId="2076136647"/>
            <ac:spMk id="278" creationId="{8E74E96F-1692-449D-B826-911E7AE038B5}"/>
          </ac:spMkLst>
        </pc:spChg>
        <pc:spChg chg="add del">
          <ac:chgData name="Renata Festa" userId="6f22df47-533b-4c2a-a3c1-7f9ad1d63e10" providerId="ADAL" clId="{7D997690-04A4-4675-83D7-2E1CC2ED1A4E}" dt="2020-03-24T13:55:39.188" v="1490"/>
          <ac:spMkLst>
            <pc:docMk/>
            <pc:sldMk cId="4117970720" sldId="2076136647"/>
            <ac:spMk id="279" creationId="{F254DA72-365F-46E9-BBF4-85945EFA6F5A}"/>
          </ac:spMkLst>
        </pc:spChg>
        <pc:spChg chg="add del">
          <ac:chgData name="Renata Festa" userId="6f22df47-533b-4c2a-a3c1-7f9ad1d63e10" providerId="ADAL" clId="{7D997690-04A4-4675-83D7-2E1CC2ED1A4E}" dt="2020-03-24T13:55:39.188" v="1490"/>
          <ac:spMkLst>
            <pc:docMk/>
            <pc:sldMk cId="4117970720" sldId="2076136647"/>
            <ac:spMk id="281" creationId="{2148993B-A35C-4057-8CFB-D1FE36497A81}"/>
          </ac:spMkLst>
        </pc:spChg>
        <pc:spChg chg="add del">
          <ac:chgData name="Renata Festa" userId="6f22df47-533b-4c2a-a3c1-7f9ad1d63e10" providerId="ADAL" clId="{7D997690-04A4-4675-83D7-2E1CC2ED1A4E}" dt="2020-03-24T13:55:39.188" v="1490"/>
          <ac:spMkLst>
            <pc:docMk/>
            <pc:sldMk cId="4117970720" sldId="2076136647"/>
            <ac:spMk id="282" creationId="{C510E57E-6B7A-47A7-848A-3CA158F466E3}"/>
          </ac:spMkLst>
        </pc:spChg>
        <pc:spChg chg="add del">
          <ac:chgData name="Renata Festa" userId="6f22df47-533b-4c2a-a3c1-7f9ad1d63e10" providerId="ADAL" clId="{7D997690-04A4-4675-83D7-2E1CC2ED1A4E}" dt="2020-03-24T13:55:39.188" v="1490"/>
          <ac:spMkLst>
            <pc:docMk/>
            <pc:sldMk cId="4117970720" sldId="2076136647"/>
            <ac:spMk id="284" creationId="{F2E1733D-71C1-449D-B756-BDDBD681C1F6}"/>
          </ac:spMkLst>
        </pc:spChg>
        <pc:spChg chg="add del">
          <ac:chgData name="Renata Festa" userId="6f22df47-533b-4c2a-a3c1-7f9ad1d63e10" providerId="ADAL" clId="{7D997690-04A4-4675-83D7-2E1CC2ED1A4E}" dt="2020-03-24T13:55:39.188" v="1490"/>
          <ac:spMkLst>
            <pc:docMk/>
            <pc:sldMk cId="4117970720" sldId="2076136647"/>
            <ac:spMk id="286" creationId="{40957884-D100-4D5F-88BD-C06D75972476}"/>
          </ac:spMkLst>
        </pc:spChg>
        <pc:spChg chg="add del">
          <ac:chgData name="Renata Festa" userId="6f22df47-533b-4c2a-a3c1-7f9ad1d63e10" providerId="ADAL" clId="{7D997690-04A4-4675-83D7-2E1CC2ED1A4E}" dt="2020-03-24T13:55:39.188" v="1490"/>
          <ac:spMkLst>
            <pc:docMk/>
            <pc:sldMk cId="4117970720" sldId="2076136647"/>
            <ac:spMk id="296" creationId="{5E0EFD41-4BC2-44FE-8D22-4D27251B2B3C}"/>
          </ac:spMkLst>
        </pc:spChg>
        <pc:spChg chg="add del">
          <ac:chgData name="Renata Festa" userId="6f22df47-533b-4c2a-a3c1-7f9ad1d63e10" providerId="ADAL" clId="{7D997690-04A4-4675-83D7-2E1CC2ED1A4E}" dt="2020-03-24T13:55:39.188" v="1490"/>
          <ac:spMkLst>
            <pc:docMk/>
            <pc:sldMk cId="4117970720" sldId="2076136647"/>
            <ac:spMk id="297" creationId="{1BD69DB6-CC0B-4ADB-8BB9-215B8C0B0D16}"/>
          </ac:spMkLst>
        </pc:spChg>
        <pc:spChg chg="add del">
          <ac:chgData name="Renata Festa" userId="6f22df47-533b-4c2a-a3c1-7f9ad1d63e10" providerId="ADAL" clId="{7D997690-04A4-4675-83D7-2E1CC2ED1A4E}" dt="2020-03-24T13:55:39.188" v="1490"/>
          <ac:spMkLst>
            <pc:docMk/>
            <pc:sldMk cId="4117970720" sldId="2076136647"/>
            <ac:spMk id="307" creationId="{54520F48-45EE-4DA1-8C12-136CB01B53E8}"/>
          </ac:spMkLst>
        </pc:spChg>
        <pc:spChg chg="add del">
          <ac:chgData name="Renata Festa" userId="6f22df47-533b-4c2a-a3c1-7f9ad1d63e10" providerId="ADAL" clId="{7D997690-04A4-4675-83D7-2E1CC2ED1A4E}" dt="2020-03-24T13:55:39.188" v="1490"/>
          <ac:spMkLst>
            <pc:docMk/>
            <pc:sldMk cId="4117970720" sldId="2076136647"/>
            <ac:spMk id="308" creationId="{0A0DAE21-1831-4F2F-AA6B-12D572043BAD}"/>
          </ac:spMkLst>
        </pc:spChg>
        <pc:spChg chg="add del">
          <ac:chgData name="Renata Festa" userId="6f22df47-533b-4c2a-a3c1-7f9ad1d63e10" providerId="ADAL" clId="{7D997690-04A4-4675-83D7-2E1CC2ED1A4E}" dt="2020-03-24T13:55:39.188" v="1490"/>
          <ac:spMkLst>
            <pc:docMk/>
            <pc:sldMk cId="4117970720" sldId="2076136647"/>
            <ac:spMk id="318" creationId="{3E6A5294-04A7-4147-9490-663CBD28FA15}"/>
          </ac:spMkLst>
        </pc:spChg>
        <pc:spChg chg="add del">
          <ac:chgData name="Renata Festa" userId="6f22df47-533b-4c2a-a3c1-7f9ad1d63e10" providerId="ADAL" clId="{7D997690-04A4-4675-83D7-2E1CC2ED1A4E}" dt="2020-03-24T13:55:39.188" v="1490"/>
          <ac:spMkLst>
            <pc:docMk/>
            <pc:sldMk cId="4117970720" sldId="2076136647"/>
            <ac:spMk id="319" creationId="{3C5D55C1-894D-447E-BC75-4A9C9EB93A92}"/>
          </ac:spMkLst>
        </pc:spChg>
        <pc:spChg chg="add del">
          <ac:chgData name="Renata Festa" userId="6f22df47-533b-4c2a-a3c1-7f9ad1d63e10" providerId="ADAL" clId="{7D997690-04A4-4675-83D7-2E1CC2ED1A4E}" dt="2020-03-24T13:55:39.188" v="1490"/>
          <ac:spMkLst>
            <pc:docMk/>
            <pc:sldMk cId="4117970720" sldId="2076136647"/>
            <ac:spMk id="320" creationId="{7B7CE430-F85A-4FE6-BA3F-548D1B9FA36B}"/>
          </ac:spMkLst>
        </pc:spChg>
        <pc:spChg chg="add del">
          <ac:chgData name="Renata Festa" userId="6f22df47-533b-4c2a-a3c1-7f9ad1d63e10" providerId="ADAL" clId="{7D997690-04A4-4675-83D7-2E1CC2ED1A4E}" dt="2020-03-24T13:55:39.188" v="1490"/>
          <ac:spMkLst>
            <pc:docMk/>
            <pc:sldMk cId="4117970720" sldId="2076136647"/>
            <ac:spMk id="321" creationId="{1C479DD9-3BFC-4826-933B-18BCA32C5B96}"/>
          </ac:spMkLst>
        </pc:spChg>
        <pc:spChg chg="add del">
          <ac:chgData name="Renata Festa" userId="6f22df47-533b-4c2a-a3c1-7f9ad1d63e10" providerId="ADAL" clId="{7D997690-04A4-4675-83D7-2E1CC2ED1A4E}" dt="2020-03-24T13:55:39.188" v="1490"/>
          <ac:spMkLst>
            <pc:docMk/>
            <pc:sldMk cId="4117970720" sldId="2076136647"/>
            <ac:spMk id="322" creationId="{BCD400B8-612B-4518-BEA2-4A4388FA0B4E}"/>
          </ac:spMkLst>
        </pc:spChg>
        <pc:spChg chg="add del">
          <ac:chgData name="Renata Festa" userId="6f22df47-533b-4c2a-a3c1-7f9ad1d63e10" providerId="ADAL" clId="{7D997690-04A4-4675-83D7-2E1CC2ED1A4E}" dt="2020-03-24T13:55:39.188" v="1490"/>
          <ac:spMkLst>
            <pc:docMk/>
            <pc:sldMk cId="4117970720" sldId="2076136647"/>
            <ac:spMk id="323" creationId="{7C4A5CEE-6AFA-45C2-A6C4-A20A76D780B6}"/>
          </ac:spMkLst>
        </pc:spChg>
        <pc:spChg chg="add del">
          <ac:chgData name="Renata Festa" userId="6f22df47-533b-4c2a-a3c1-7f9ad1d63e10" providerId="ADAL" clId="{7D997690-04A4-4675-83D7-2E1CC2ED1A4E}" dt="2020-03-24T13:55:39.188" v="1490"/>
          <ac:spMkLst>
            <pc:docMk/>
            <pc:sldMk cId="4117970720" sldId="2076136647"/>
            <ac:spMk id="324" creationId="{8D30BABB-7A64-44E1-9FB8-FFC07BBB47C2}"/>
          </ac:spMkLst>
        </pc:spChg>
        <pc:spChg chg="add del">
          <ac:chgData name="Renata Festa" userId="6f22df47-533b-4c2a-a3c1-7f9ad1d63e10" providerId="ADAL" clId="{7D997690-04A4-4675-83D7-2E1CC2ED1A4E}" dt="2020-03-24T13:55:39.188" v="1490"/>
          <ac:spMkLst>
            <pc:docMk/>
            <pc:sldMk cId="4117970720" sldId="2076136647"/>
            <ac:spMk id="325" creationId="{2AD18190-5786-4DC0-B770-E15DD8C92886}"/>
          </ac:spMkLst>
        </pc:spChg>
        <pc:spChg chg="add del">
          <ac:chgData name="Renata Festa" userId="6f22df47-533b-4c2a-a3c1-7f9ad1d63e10" providerId="ADAL" clId="{7D997690-04A4-4675-83D7-2E1CC2ED1A4E}" dt="2020-03-24T13:55:39.188" v="1490"/>
          <ac:spMkLst>
            <pc:docMk/>
            <pc:sldMk cId="4117970720" sldId="2076136647"/>
            <ac:spMk id="326" creationId="{05E44446-523A-42E7-A13D-BC1BED912290}"/>
          </ac:spMkLst>
        </pc:spChg>
        <pc:spChg chg="add del">
          <ac:chgData name="Renata Festa" userId="6f22df47-533b-4c2a-a3c1-7f9ad1d63e10" providerId="ADAL" clId="{7D997690-04A4-4675-83D7-2E1CC2ED1A4E}" dt="2020-03-24T13:55:39.188" v="1490"/>
          <ac:spMkLst>
            <pc:docMk/>
            <pc:sldMk cId="4117970720" sldId="2076136647"/>
            <ac:spMk id="327" creationId="{6C7D93BE-F3AE-40A7-9C32-318BD8F6DE9C}"/>
          </ac:spMkLst>
        </pc:spChg>
        <pc:spChg chg="add del">
          <ac:chgData name="Renata Festa" userId="6f22df47-533b-4c2a-a3c1-7f9ad1d63e10" providerId="ADAL" clId="{7D997690-04A4-4675-83D7-2E1CC2ED1A4E}" dt="2020-03-24T13:55:39.188" v="1490"/>
          <ac:spMkLst>
            <pc:docMk/>
            <pc:sldMk cId="4117970720" sldId="2076136647"/>
            <ac:spMk id="328" creationId="{5EDCC567-9E79-429B-AC7D-AF70DE2CA316}"/>
          </ac:spMkLst>
        </pc:spChg>
        <pc:spChg chg="add del">
          <ac:chgData name="Renata Festa" userId="6f22df47-533b-4c2a-a3c1-7f9ad1d63e10" providerId="ADAL" clId="{7D997690-04A4-4675-83D7-2E1CC2ED1A4E}" dt="2020-03-24T13:55:39.188" v="1490"/>
          <ac:spMkLst>
            <pc:docMk/>
            <pc:sldMk cId="4117970720" sldId="2076136647"/>
            <ac:spMk id="329" creationId="{3B13BA74-F1BD-4AFA-81CD-1282B372DB23}"/>
          </ac:spMkLst>
        </pc:spChg>
        <pc:spChg chg="add del">
          <ac:chgData name="Renata Festa" userId="6f22df47-533b-4c2a-a3c1-7f9ad1d63e10" providerId="ADAL" clId="{7D997690-04A4-4675-83D7-2E1CC2ED1A4E}" dt="2020-03-24T13:55:39.188" v="1490"/>
          <ac:spMkLst>
            <pc:docMk/>
            <pc:sldMk cId="4117970720" sldId="2076136647"/>
            <ac:spMk id="333" creationId="{DD9A8CB0-E9DD-4082-83DC-D483ABDAB8F6}"/>
          </ac:spMkLst>
        </pc:spChg>
        <pc:spChg chg="add del">
          <ac:chgData name="Renata Festa" userId="6f22df47-533b-4c2a-a3c1-7f9ad1d63e10" providerId="ADAL" clId="{7D997690-04A4-4675-83D7-2E1CC2ED1A4E}" dt="2020-03-24T13:55:39.188" v="1490"/>
          <ac:spMkLst>
            <pc:docMk/>
            <pc:sldMk cId="4117970720" sldId="2076136647"/>
            <ac:spMk id="334" creationId="{692CB436-3314-428E-B32C-9AFED4D49297}"/>
          </ac:spMkLst>
        </pc:spChg>
        <pc:spChg chg="add mod">
          <ac:chgData name="Renata Festa" userId="6f22df47-533b-4c2a-a3c1-7f9ad1d63e10" providerId="ADAL" clId="{7D997690-04A4-4675-83D7-2E1CC2ED1A4E}" dt="2020-03-24T13:55:50.487" v="1492" actId="1076"/>
          <ac:spMkLst>
            <pc:docMk/>
            <pc:sldMk cId="4117970720" sldId="2076136647"/>
            <ac:spMk id="335" creationId="{FA833022-7A07-4661-8A8E-FC32431E6E80}"/>
          </ac:spMkLst>
        </pc:spChg>
        <pc:spChg chg="add mod">
          <ac:chgData name="Renata Festa" userId="6f22df47-533b-4c2a-a3c1-7f9ad1d63e10" providerId="ADAL" clId="{7D997690-04A4-4675-83D7-2E1CC2ED1A4E}" dt="2020-03-24T13:55:50.487" v="1492" actId="1076"/>
          <ac:spMkLst>
            <pc:docMk/>
            <pc:sldMk cId="4117970720" sldId="2076136647"/>
            <ac:spMk id="349" creationId="{F6E89585-3158-4BAC-BBF2-38A11228DD1D}"/>
          </ac:spMkLst>
        </pc:spChg>
        <pc:spChg chg="add mod">
          <ac:chgData name="Renata Festa" userId="6f22df47-533b-4c2a-a3c1-7f9ad1d63e10" providerId="ADAL" clId="{7D997690-04A4-4675-83D7-2E1CC2ED1A4E}" dt="2020-03-24T13:55:50.487" v="1492" actId="1076"/>
          <ac:spMkLst>
            <pc:docMk/>
            <pc:sldMk cId="4117970720" sldId="2076136647"/>
            <ac:spMk id="350" creationId="{1F7541D3-F8B9-4F90-B7AE-74BE7DD2D289}"/>
          </ac:spMkLst>
        </pc:spChg>
        <pc:spChg chg="add mod">
          <ac:chgData name="Renata Festa" userId="6f22df47-533b-4c2a-a3c1-7f9ad1d63e10" providerId="ADAL" clId="{7D997690-04A4-4675-83D7-2E1CC2ED1A4E}" dt="2020-03-24T13:55:50.487" v="1492" actId="1076"/>
          <ac:spMkLst>
            <pc:docMk/>
            <pc:sldMk cId="4117970720" sldId="2076136647"/>
            <ac:spMk id="351" creationId="{8D0F0CA3-A634-469A-A161-87B049ACEADF}"/>
          </ac:spMkLst>
        </pc:spChg>
        <pc:spChg chg="add mod">
          <ac:chgData name="Renata Festa" userId="6f22df47-533b-4c2a-a3c1-7f9ad1d63e10" providerId="ADAL" clId="{7D997690-04A4-4675-83D7-2E1CC2ED1A4E}" dt="2020-03-24T13:55:50.487" v="1492" actId="1076"/>
          <ac:spMkLst>
            <pc:docMk/>
            <pc:sldMk cId="4117970720" sldId="2076136647"/>
            <ac:spMk id="354" creationId="{7FBA439C-EF38-489D-B3C3-8CA6DEC6279F}"/>
          </ac:spMkLst>
        </pc:spChg>
        <pc:spChg chg="add mod">
          <ac:chgData name="Renata Festa" userId="6f22df47-533b-4c2a-a3c1-7f9ad1d63e10" providerId="ADAL" clId="{7D997690-04A4-4675-83D7-2E1CC2ED1A4E}" dt="2020-03-24T13:55:50.487" v="1492" actId="1076"/>
          <ac:spMkLst>
            <pc:docMk/>
            <pc:sldMk cId="4117970720" sldId="2076136647"/>
            <ac:spMk id="355" creationId="{150267CB-8746-4C70-99A6-F404475EAED5}"/>
          </ac:spMkLst>
        </pc:spChg>
        <pc:spChg chg="add mod">
          <ac:chgData name="Renata Festa" userId="6f22df47-533b-4c2a-a3c1-7f9ad1d63e10" providerId="ADAL" clId="{7D997690-04A4-4675-83D7-2E1CC2ED1A4E}" dt="2020-03-24T13:55:50.487" v="1492" actId="1076"/>
          <ac:spMkLst>
            <pc:docMk/>
            <pc:sldMk cId="4117970720" sldId="2076136647"/>
            <ac:spMk id="356" creationId="{F7DED8CD-E34C-437E-A2F1-DBF36D5E2AB4}"/>
          </ac:spMkLst>
        </pc:spChg>
        <pc:spChg chg="add mod">
          <ac:chgData name="Renata Festa" userId="6f22df47-533b-4c2a-a3c1-7f9ad1d63e10" providerId="ADAL" clId="{7D997690-04A4-4675-83D7-2E1CC2ED1A4E}" dt="2020-03-24T13:55:50.487" v="1492" actId="1076"/>
          <ac:spMkLst>
            <pc:docMk/>
            <pc:sldMk cId="4117970720" sldId="2076136647"/>
            <ac:spMk id="357" creationId="{B2A50926-9EDF-4942-88EF-0F2AA59700D3}"/>
          </ac:spMkLst>
        </pc:spChg>
        <pc:spChg chg="add mod">
          <ac:chgData name="Renata Festa" userId="6f22df47-533b-4c2a-a3c1-7f9ad1d63e10" providerId="ADAL" clId="{7D997690-04A4-4675-83D7-2E1CC2ED1A4E}" dt="2020-03-24T13:55:50.487" v="1492" actId="1076"/>
          <ac:spMkLst>
            <pc:docMk/>
            <pc:sldMk cId="4117970720" sldId="2076136647"/>
            <ac:spMk id="358" creationId="{1A8EE684-D7EF-4173-94E3-A121E84C7266}"/>
          </ac:spMkLst>
        </pc:spChg>
        <pc:spChg chg="add mod">
          <ac:chgData name="Renata Festa" userId="6f22df47-533b-4c2a-a3c1-7f9ad1d63e10" providerId="ADAL" clId="{7D997690-04A4-4675-83D7-2E1CC2ED1A4E}" dt="2020-03-24T13:55:50.487" v="1492" actId="1076"/>
          <ac:spMkLst>
            <pc:docMk/>
            <pc:sldMk cId="4117970720" sldId="2076136647"/>
            <ac:spMk id="359" creationId="{226CE834-296C-4DA5-A0B5-04B7B4CB204E}"/>
          </ac:spMkLst>
        </pc:spChg>
        <pc:spChg chg="add mod">
          <ac:chgData name="Renata Festa" userId="6f22df47-533b-4c2a-a3c1-7f9ad1d63e10" providerId="ADAL" clId="{7D997690-04A4-4675-83D7-2E1CC2ED1A4E}" dt="2020-03-24T13:55:50.487" v="1492" actId="1076"/>
          <ac:spMkLst>
            <pc:docMk/>
            <pc:sldMk cId="4117970720" sldId="2076136647"/>
            <ac:spMk id="360" creationId="{910DF5A7-ADD6-4C13-900F-AC3F9C7F97A5}"/>
          </ac:spMkLst>
        </pc:spChg>
        <pc:spChg chg="add mod">
          <ac:chgData name="Renata Festa" userId="6f22df47-533b-4c2a-a3c1-7f9ad1d63e10" providerId="ADAL" clId="{7D997690-04A4-4675-83D7-2E1CC2ED1A4E}" dt="2020-03-24T13:55:50.487" v="1492" actId="1076"/>
          <ac:spMkLst>
            <pc:docMk/>
            <pc:sldMk cId="4117970720" sldId="2076136647"/>
            <ac:spMk id="361" creationId="{E6B954B7-901B-4A67-BE15-9B4B7FFF7670}"/>
          </ac:spMkLst>
        </pc:spChg>
        <pc:spChg chg="add mod">
          <ac:chgData name="Renata Festa" userId="6f22df47-533b-4c2a-a3c1-7f9ad1d63e10" providerId="ADAL" clId="{7D997690-04A4-4675-83D7-2E1CC2ED1A4E}" dt="2020-03-24T13:55:50.487" v="1492" actId="1076"/>
          <ac:spMkLst>
            <pc:docMk/>
            <pc:sldMk cId="4117970720" sldId="2076136647"/>
            <ac:spMk id="362" creationId="{5046C10E-B19C-4855-AEF1-D3D0CEE0A610}"/>
          </ac:spMkLst>
        </pc:spChg>
        <pc:spChg chg="add mod">
          <ac:chgData name="Renata Festa" userId="6f22df47-533b-4c2a-a3c1-7f9ad1d63e10" providerId="ADAL" clId="{7D997690-04A4-4675-83D7-2E1CC2ED1A4E}" dt="2020-03-24T13:55:50.487" v="1492" actId="1076"/>
          <ac:spMkLst>
            <pc:docMk/>
            <pc:sldMk cId="4117970720" sldId="2076136647"/>
            <ac:spMk id="363" creationId="{DF3E6239-215C-4CEC-A929-5355CF537DBF}"/>
          </ac:spMkLst>
        </pc:spChg>
        <pc:spChg chg="add mod">
          <ac:chgData name="Renata Festa" userId="6f22df47-533b-4c2a-a3c1-7f9ad1d63e10" providerId="ADAL" clId="{7D997690-04A4-4675-83D7-2E1CC2ED1A4E}" dt="2020-03-24T13:55:50.487" v="1492" actId="1076"/>
          <ac:spMkLst>
            <pc:docMk/>
            <pc:sldMk cId="4117970720" sldId="2076136647"/>
            <ac:spMk id="364" creationId="{629ABEF9-0409-4C03-A972-1E2AF193D937}"/>
          </ac:spMkLst>
        </pc:spChg>
        <pc:spChg chg="add mod">
          <ac:chgData name="Renata Festa" userId="6f22df47-533b-4c2a-a3c1-7f9ad1d63e10" providerId="ADAL" clId="{7D997690-04A4-4675-83D7-2E1CC2ED1A4E}" dt="2020-03-24T13:55:50.487" v="1492" actId="1076"/>
          <ac:spMkLst>
            <pc:docMk/>
            <pc:sldMk cId="4117970720" sldId="2076136647"/>
            <ac:spMk id="365" creationId="{B094B496-E2E7-4F67-BF8B-9C504D9C76F4}"/>
          </ac:spMkLst>
        </pc:spChg>
        <pc:spChg chg="add mod">
          <ac:chgData name="Renata Festa" userId="6f22df47-533b-4c2a-a3c1-7f9ad1d63e10" providerId="ADAL" clId="{7D997690-04A4-4675-83D7-2E1CC2ED1A4E}" dt="2020-03-24T13:55:50.487" v="1492" actId="1076"/>
          <ac:spMkLst>
            <pc:docMk/>
            <pc:sldMk cId="4117970720" sldId="2076136647"/>
            <ac:spMk id="366" creationId="{FEA6F030-4CB5-43DB-BC45-0BD93F1D9B28}"/>
          </ac:spMkLst>
        </pc:spChg>
        <pc:spChg chg="add mod">
          <ac:chgData name="Renata Festa" userId="6f22df47-533b-4c2a-a3c1-7f9ad1d63e10" providerId="ADAL" clId="{7D997690-04A4-4675-83D7-2E1CC2ED1A4E}" dt="2020-03-24T13:55:50.487" v="1492" actId="1076"/>
          <ac:spMkLst>
            <pc:docMk/>
            <pc:sldMk cId="4117970720" sldId="2076136647"/>
            <ac:spMk id="367" creationId="{28814FE0-1A1B-4ECA-BCE0-C76765AB92F7}"/>
          </ac:spMkLst>
        </pc:spChg>
        <pc:spChg chg="add mod">
          <ac:chgData name="Renata Festa" userId="6f22df47-533b-4c2a-a3c1-7f9ad1d63e10" providerId="ADAL" clId="{7D997690-04A4-4675-83D7-2E1CC2ED1A4E}" dt="2020-03-24T13:55:50.487" v="1492" actId="1076"/>
          <ac:spMkLst>
            <pc:docMk/>
            <pc:sldMk cId="4117970720" sldId="2076136647"/>
            <ac:spMk id="368" creationId="{3F04A083-39CE-4A8C-8EDE-5A8D8B4A26FC}"/>
          </ac:spMkLst>
        </pc:spChg>
        <pc:spChg chg="add mod">
          <ac:chgData name="Renata Festa" userId="6f22df47-533b-4c2a-a3c1-7f9ad1d63e10" providerId="ADAL" clId="{7D997690-04A4-4675-83D7-2E1CC2ED1A4E}" dt="2020-03-24T13:55:50.487" v="1492" actId="1076"/>
          <ac:spMkLst>
            <pc:docMk/>
            <pc:sldMk cId="4117970720" sldId="2076136647"/>
            <ac:spMk id="369" creationId="{585B9A87-58A5-42C1-9984-438D88A04E48}"/>
          </ac:spMkLst>
        </pc:spChg>
        <pc:spChg chg="add mod">
          <ac:chgData name="Renata Festa" userId="6f22df47-533b-4c2a-a3c1-7f9ad1d63e10" providerId="ADAL" clId="{7D997690-04A4-4675-83D7-2E1CC2ED1A4E}" dt="2020-03-24T13:55:50.487" v="1492" actId="1076"/>
          <ac:spMkLst>
            <pc:docMk/>
            <pc:sldMk cId="4117970720" sldId="2076136647"/>
            <ac:spMk id="370" creationId="{B6AC4FDD-D3CC-476A-9C55-DF2CFF2D912A}"/>
          </ac:spMkLst>
        </pc:spChg>
        <pc:spChg chg="add mod">
          <ac:chgData name="Renata Festa" userId="6f22df47-533b-4c2a-a3c1-7f9ad1d63e10" providerId="ADAL" clId="{7D997690-04A4-4675-83D7-2E1CC2ED1A4E}" dt="2020-03-24T13:55:50.487" v="1492" actId="1076"/>
          <ac:spMkLst>
            <pc:docMk/>
            <pc:sldMk cId="4117970720" sldId="2076136647"/>
            <ac:spMk id="371" creationId="{CD42C733-BE35-411C-9F9D-5410B6665331}"/>
          </ac:spMkLst>
        </pc:spChg>
        <pc:spChg chg="add mod">
          <ac:chgData name="Renata Festa" userId="6f22df47-533b-4c2a-a3c1-7f9ad1d63e10" providerId="ADAL" clId="{7D997690-04A4-4675-83D7-2E1CC2ED1A4E}" dt="2020-03-24T13:55:50.487" v="1492" actId="1076"/>
          <ac:spMkLst>
            <pc:docMk/>
            <pc:sldMk cId="4117970720" sldId="2076136647"/>
            <ac:spMk id="372" creationId="{167B7F50-1281-45E5-BAEC-30445A01C8B0}"/>
          </ac:spMkLst>
        </pc:spChg>
        <pc:spChg chg="add mod">
          <ac:chgData name="Renata Festa" userId="6f22df47-533b-4c2a-a3c1-7f9ad1d63e10" providerId="ADAL" clId="{7D997690-04A4-4675-83D7-2E1CC2ED1A4E}" dt="2020-03-24T13:55:50.487" v="1492" actId="1076"/>
          <ac:spMkLst>
            <pc:docMk/>
            <pc:sldMk cId="4117970720" sldId="2076136647"/>
            <ac:spMk id="374" creationId="{13CA329A-8905-4C55-8FB6-02850378C947}"/>
          </ac:spMkLst>
        </pc:spChg>
        <pc:spChg chg="add mod">
          <ac:chgData name="Renata Festa" userId="6f22df47-533b-4c2a-a3c1-7f9ad1d63e10" providerId="ADAL" clId="{7D997690-04A4-4675-83D7-2E1CC2ED1A4E}" dt="2020-03-24T13:55:50.487" v="1492" actId="1076"/>
          <ac:spMkLst>
            <pc:docMk/>
            <pc:sldMk cId="4117970720" sldId="2076136647"/>
            <ac:spMk id="375" creationId="{CFD46862-752F-4CBE-8F38-0081BFD900F1}"/>
          </ac:spMkLst>
        </pc:spChg>
        <pc:spChg chg="add mod">
          <ac:chgData name="Renata Festa" userId="6f22df47-533b-4c2a-a3c1-7f9ad1d63e10" providerId="ADAL" clId="{7D997690-04A4-4675-83D7-2E1CC2ED1A4E}" dt="2020-03-24T13:55:50.487" v="1492" actId="1076"/>
          <ac:spMkLst>
            <pc:docMk/>
            <pc:sldMk cId="4117970720" sldId="2076136647"/>
            <ac:spMk id="376" creationId="{C825506E-E173-4ECC-9506-EE80B79A6C7D}"/>
          </ac:spMkLst>
        </pc:spChg>
        <pc:spChg chg="add mod">
          <ac:chgData name="Renata Festa" userId="6f22df47-533b-4c2a-a3c1-7f9ad1d63e10" providerId="ADAL" clId="{7D997690-04A4-4675-83D7-2E1CC2ED1A4E}" dt="2020-03-24T13:55:50.487" v="1492" actId="1076"/>
          <ac:spMkLst>
            <pc:docMk/>
            <pc:sldMk cId="4117970720" sldId="2076136647"/>
            <ac:spMk id="377" creationId="{D81CA054-01F9-4491-BA25-57F400E9C932}"/>
          </ac:spMkLst>
        </pc:spChg>
        <pc:spChg chg="add mod">
          <ac:chgData name="Renata Festa" userId="6f22df47-533b-4c2a-a3c1-7f9ad1d63e10" providerId="ADAL" clId="{7D997690-04A4-4675-83D7-2E1CC2ED1A4E}" dt="2020-03-24T13:55:50.487" v="1492" actId="1076"/>
          <ac:spMkLst>
            <pc:docMk/>
            <pc:sldMk cId="4117970720" sldId="2076136647"/>
            <ac:spMk id="379" creationId="{F10AE322-9F58-477C-9784-129BEFDD514A}"/>
          </ac:spMkLst>
        </pc:spChg>
        <pc:spChg chg="add mod">
          <ac:chgData name="Renata Festa" userId="6f22df47-533b-4c2a-a3c1-7f9ad1d63e10" providerId="ADAL" clId="{7D997690-04A4-4675-83D7-2E1CC2ED1A4E}" dt="2020-03-24T13:55:50.487" v="1492" actId="1076"/>
          <ac:spMkLst>
            <pc:docMk/>
            <pc:sldMk cId="4117970720" sldId="2076136647"/>
            <ac:spMk id="380" creationId="{EAB19045-0C11-48BE-A021-AABB2F9549DE}"/>
          </ac:spMkLst>
        </pc:spChg>
        <pc:spChg chg="add mod">
          <ac:chgData name="Renata Festa" userId="6f22df47-533b-4c2a-a3c1-7f9ad1d63e10" providerId="ADAL" clId="{7D997690-04A4-4675-83D7-2E1CC2ED1A4E}" dt="2020-03-24T13:55:50.487" v="1492" actId="1076"/>
          <ac:spMkLst>
            <pc:docMk/>
            <pc:sldMk cId="4117970720" sldId="2076136647"/>
            <ac:spMk id="384" creationId="{63866A60-0805-4A7B-9FE8-7E359BA4E74E}"/>
          </ac:spMkLst>
        </pc:spChg>
        <pc:spChg chg="add mod">
          <ac:chgData name="Renata Festa" userId="6f22df47-533b-4c2a-a3c1-7f9ad1d63e10" providerId="ADAL" clId="{7D997690-04A4-4675-83D7-2E1CC2ED1A4E}" dt="2020-03-24T13:55:50.487" v="1492" actId="1076"/>
          <ac:spMkLst>
            <pc:docMk/>
            <pc:sldMk cId="4117970720" sldId="2076136647"/>
            <ac:spMk id="385" creationId="{D78D850D-8913-487F-AADC-3504D7E59CFE}"/>
          </ac:spMkLst>
        </pc:spChg>
        <pc:spChg chg="add mod">
          <ac:chgData name="Renata Festa" userId="6f22df47-533b-4c2a-a3c1-7f9ad1d63e10" providerId="ADAL" clId="{7D997690-04A4-4675-83D7-2E1CC2ED1A4E}" dt="2020-03-24T13:56:39.911" v="1580" actId="1036"/>
          <ac:spMkLst>
            <pc:docMk/>
            <pc:sldMk cId="4117970720" sldId="2076136647"/>
            <ac:spMk id="386" creationId="{88E9D3B6-B875-4980-88B7-D725F8C63B3A}"/>
          </ac:spMkLst>
        </pc:spChg>
        <pc:spChg chg="add mod">
          <ac:chgData name="Renata Festa" userId="6f22df47-533b-4c2a-a3c1-7f9ad1d63e10" providerId="ADAL" clId="{7D997690-04A4-4675-83D7-2E1CC2ED1A4E}" dt="2020-03-24T13:56:39.911" v="1580" actId="1036"/>
          <ac:spMkLst>
            <pc:docMk/>
            <pc:sldMk cId="4117970720" sldId="2076136647"/>
            <ac:spMk id="387" creationId="{EC1C9171-95EF-4899-9E53-B743CF9810F9}"/>
          </ac:spMkLst>
        </pc:spChg>
        <pc:spChg chg="add mod">
          <ac:chgData name="Renata Festa" userId="6f22df47-533b-4c2a-a3c1-7f9ad1d63e10" providerId="ADAL" clId="{7D997690-04A4-4675-83D7-2E1CC2ED1A4E}" dt="2020-03-24T13:56:39.911" v="1580" actId="1036"/>
          <ac:spMkLst>
            <pc:docMk/>
            <pc:sldMk cId="4117970720" sldId="2076136647"/>
            <ac:spMk id="388" creationId="{94924F2F-B9FB-40B0-9A45-B3D99D58C631}"/>
          </ac:spMkLst>
        </pc:spChg>
        <pc:spChg chg="add mod">
          <ac:chgData name="Renata Festa" userId="6f22df47-533b-4c2a-a3c1-7f9ad1d63e10" providerId="ADAL" clId="{7D997690-04A4-4675-83D7-2E1CC2ED1A4E}" dt="2020-03-24T13:56:39.911" v="1580" actId="1036"/>
          <ac:spMkLst>
            <pc:docMk/>
            <pc:sldMk cId="4117970720" sldId="2076136647"/>
            <ac:spMk id="389" creationId="{BBF79207-EF24-4AE6-9487-D12C512F7BD5}"/>
          </ac:spMkLst>
        </pc:spChg>
        <pc:spChg chg="add mod">
          <ac:chgData name="Renata Festa" userId="6f22df47-533b-4c2a-a3c1-7f9ad1d63e10" providerId="ADAL" clId="{7D997690-04A4-4675-83D7-2E1CC2ED1A4E}" dt="2020-03-24T13:56:39.911" v="1580" actId="1036"/>
          <ac:spMkLst>
            <pc:docMk/>
            <pc:sldMk cId="4117970720" sldId="2076136647"/>
            <ac:spMk id="391" creationId="{A8E3C4C3-FCE2-4DBF-BB85-A28D3A41B5AF}"/>
          </ac:spMkLst>
        </pc:spChg>
        <pc:spChg chg="add mod">
          <ac:chgData name="Renata Festa" userId="6f22df47-533b-4c2a-a3c1-7f9ad1d63e10" providerId="ADAL" clId="{7D997690-04A4-4675-83D7-2E1CC2ED1A4E}" dt="2020-03-24T13:56:39.911" v="1580" actId="1036"/>
          <ac:spMkLst>
            <pc:docMk/>
            <pc:sldMk cId="4117970720" sldId="2076136647"/>
            <ac:spMk id="392" creationId="{1A5BF94C-4C3B-4AFF-B72F-1675B40DC7E4}"/>
          </ac:spMkLst>
        </pc:spChg>
        <pc:spChg chg="add mod">
          <ac:chgData name="Renata Festa" userId="6f22df47-533b-4c2a-a3c1-7f9ad1d63e10" providerId="ADAL" clId="{7D997690-04A4-4675-83D7-2E1CC2ED1A4E}" dt="2020-03-24T13:56:39.911" v="1580" actId="1036"/>
          <ac:spMkLst>
            <pc:docMk/>
            <pc:sldMk cId="4117970720" sldId="2076136647"/>
            <ac:spMk id="394" creationId="{8736EAB9-DF85-46F8-A799-0AFBAD087D88}"/>
          </ac:spMkLst>
        </pc:spChg>
        <pc:spChg chg="add mod">
          <ac:chgData name="Renata Festa" userId="6f22df47-533b-4c2a-a3c1-7f9ad1d63e10" providerId="ADAL" clId="{7D997690-04A4-4675-83D7-2E1CC2ED1A4E}" dt="2020-03-24T13:55:50.487" v="1492" actId="1076"/>
          <ac:spMkLst>
            <pc:docMk/>
            <pc:sldMk cId="4117970720" sldId="2076136647"/>
            <ac:spMk id="396" creationId="{87E067BA-73F9-4F53-8EEE-CD32CD2D8C0E}"/>
          </ac:spMkLst>
        </pc:spChg>
        <pc:spChg chg="add mod">
          <ac:chgData name="Renata Festa" userId="6f22df47-533b-4c2a-a3c1-7f9ad1d63e10" providerId="ADAL" clId="{7D997690-04A4-4675-83D7-2E1CC2ED1A4E}" dt="2020-03-24T13:55:50.487" v="1492" actId="1076"/>
          <ac:spMkLst>
            <pc:docMk/>
            <pc:sldMk cId="4117970720" sldId="2076136647"/>
            <ac:spMk id="406" creationId="{FEF02CB6-72EC-4B42-A5C9-6AE11A70C32C}"/>
          </ac:spMkLst>
        </pc:spChg>
        <pc:spChg chg="add mod">
          <ac:chgData name="Renata Festa" userId="6f22df47-533b-4c2a-a3c1-7f9ad1d63e10" providerId="ADAL" clId="{7D997690-04A4-4675-83D7-2E1CC2ED1A4E}" dt="2020-03-24T13:55:50.487" v="1492" actId="1076"/>
          <ac:spMkLst>
            <pc:docMk/>
            <pc:sldMk cId="4117970720" sldId="2076136647"/>
            <ac:spMk id="407" creationId="{0A1DE0D3-D472-4B68-BA55-DAD745235EEF}"/>
          </ac:spMkLst>
        </pc:spChg>
        <pc:spChg chg="add mod">
          <ac:chgData name="Renata Festa" userId="6f22df47-533b-4c2a-a3c1-7f9ad1d63e10" providerId="ADAL" clId="{7D997690-04A4-4675-83D7-2E1CC2ED1A4E}" dt="2020-03-24T13:55:50.487" v="1492" actId="1076"/>
          <ac:spMkLst>
            <pc:docMk/>
            <pc:sldMk cId="4117970720" sldId="2076136647"/>
            <ac:spMk id="417" creationId="{3A7A37D9-1FA1-49D0-B891-618805E200B2}"/>
          </ac:spMkLst>
        </pc:spChg>
        <pc:spChg chg="add mod">
          <ac:chgData name="Renata Festa" userId="6f22df47-533b-4c2a-a3c1-7f9ad1d63e10" providerId="ADAL" clId="{7D997690-04A4-4675-83D7-2E1CC2ED1A4E}" dt="2020-03-24T13:55:50.487" v="1492" actId="1076"/>
          <ac:spMkLst>
            <pc:docMk/>
            <pc:sldMk cId="4117970720" sldId="2076136647"/>
            <ac:spMk id="418" creationId="{FFEBBF1A-2C17-4E70-8482-1CB9F1B02343}"/>
          </ac:spMkLst>
        </pc:spChg>
        <pc:spChg chg="add mod">
          <ac:chgData name="Renata Festa" userId="6f22df47-533b-4c2a-a3c1-7f9ad1d63e10" providerId="ADAL" clId="{7D997690-04A4-4675-83D7-2E1CC2ED1A4E}" dt="2020-03-24T13:55:50.487" v="1492" actId="1076"/>
          <ac:spMkLst>
            <pc:docMk/>
            <pc:sldMk cId="4117970720" sldId="2076136647"/>
            <ac:spMk id="428" creationId="{643CB455-13FF-4825-89CB-EAE150126FA3}"/>
          </ac:spMkLst>
        </pc:spChg>
        <pc:spChg chg="add mod">
          <ac:chgData name="Renata Festa" userId="6f22df47-533b-4c2a-a3c1-7f9ad1d63e10" providerId="ADAL" clId="{7D997690-04A4-4675-83D7-2E1CC2ED1A4E}" dt="2020-03-24T13:55:50.487" v="1492" actId="1076"/>
          <ac:spMkLst>
            <pc:docMk/>
            <pc:sldMk cId="4117970720" sldId="2076136647"/>
            <ac:spMk id="429" creationId="{15D33989-8FEB-48A3-AB16-0A8AABCA3FF6}"/>
          </ac:spMkLst>
        </pc:spChg>
        <pc:spChg chg="add mod">
          <ac:chgData name="Renata Festa" userId="6f22df47-533b-4c2a-a3c1-7f9ad1d63e10" providerId="ADAL" clId="{7D997690-04A4-4675-83D7-2E1CC2ED1A4E}" dt="2020-03-24T13:55:50.487" v="1492" actId="1076"/>
          <ac:spMkLst>
            <pc:docMk/>
            <pc:sldMk cId="4117970720" sldId="2076136647"/>
            <ac:spMk id="430" creationId="{1FD497FA-C64A-45A7-9CC5-2B99C842F0E1}"/>
          </ac:spMkLst>
        </pc:spChg>
        <pc:spChg chg="add mod">
          <ac:chgData name="Renata Festa" userId="6f22df47-533b-4c2a-a3c1-7f9ad1d63e10" providerId="ADAL" clId="{7D997690-04A4-4675-83D7-2E1CC2ED1A4E}" dt="2020-03-24T13:55:50.487" v="1492" actId="1076"/>
          <ac:spMkLst>
            <pc:docMk/>
            <pc:sldMk cId="4117970720" sldId="2076136647"/>
            <ac:spMk id="431" creationId="{365D744B-A955-4743-BB86-1B695E8D1D4C}"/>
          </ac:spMkLst>
        </pc:spChg>
        <pc:spChg chg="add mod">
          <ac:chgData name="Renata Festa" userId="6f22df47-533b-4c2a-a3c1-7f9ad1d63e10" providerId="ADAL" clId="{7D997690-04A4-4675-83D7-2E1CC2ED1A4E}" dt="2020-03-24T13:55:50.487" v="1492" actId="1076"/>
          <ac:spMkLst>
            <pc:docMk/>
            <pc:sldMk cId="4117970720" sldId="2076136647"/>
            <ac:spMk id="432" creationId="{CF533B60-E597-4755-AD6E-0AE050E5609A}"/>
          </ac:spMkLst>
        </pc:spChg>
        <pc:spChg chg="add mod">
          <ac:chgData name="Renata Festa" userId="6f22df47-533b-4c2a-a3c1-7f9ad1d63e10" providerId="ADAL" clId="{7D997690-04A4-4675-83D7-2E1CC2ED1A4E}" dt="2020-03-24T13:55:50.487" v="1492" actId="1076"/>
          <ac:spMkLst>
            <pc:docMk/>
            <pc:sldMk cId="4117970720" sldId="2076136647"/>
            <ac:spMk id="433" creationId="{8D12787F-2500-447F-901F-E7A8A03D84C7}"/>
          </ac:spMkLst>
        </pc:spChg>
        <pc:spChg chg="add mod">
          <ac:chgData name="Renata Festa" userId="6f22df47-533b-4c2a-a3c1-7f9ad1d63e10" providerId="ADAL" clId="{7D997690-04A4-4675-83D7-2E1CC2ED1A4E}" dt="2020-03-24T13:55:50.487" v="1492" actId="1076"/>
          <ac:spMkLst>
            <pc:docMk/>
            <pc:sldMk cId="4117970720" sldId="2076136647"/>
            <ac:spMk id="434" creationId="{D7363B29-6823-49D2-99A7-51C0509DE3D1}"/>
          </ac:spMkLst>
        </pc:spChg>
        <pc:spChg chg="add mod">
          <ac:chgData name="Renata Festa" userId="6f22df47-533b-4c2a-a3c1-7f9ad1d63e10" providerId="ADAL" clId="{7D997690-04A4-4675-83D7-2E1CC2ED1A4E}" dt="2020-03-24T13:55:50.487" v="1492" actId="1076"/>
          <ac:spMkLst>
            <pc:docMk/>
            <pc:sldMk cId="4117970720" sldId="2076136647"/>
            <ac:spMk id="435" creationId="{75855252-5EDF-49DC-A98B-7F45084C679A}"/>
          </ac:spMkLst>
        </pc:spChg>
        <pc:spChg chg="add mod">
          <ac:chgData name="Renata Festa" userId="6f22df47-533b-4c2a-a3c1-7f9ad1d63e10" providerId="ADAL" clId="{7D997690-04A4-4675-83D7-2E1CC2ED1A4E}" dt="2020-03-24T13:55:50.487" v="1492" actId="1076"/>
          <ac:spMkLst>
            <pc:docMk/>
            <pc:sldMk cId="4117970720" sldId="2076136647"/>
            <ac:spMk id="436" creationId="{5E5A9422-140C-4815-959A-3F911E127210}"/>
          </ac:spMkLst>
        </pc:spChg>
        <pc:spChg chg="add mod">
          <ac:chgData name="Renata Festa" userId="6f22df47-533b-4c2a-a3c1-7f9ad1d63e10" providerId="ADAL" clId="{7D997690-04A4-4675-83D7-2E1CC2ED1A4E}" dt="2020-03-24T13:55:50.487" v="1492" actId="1076"/>
          <ac:spMkLst>
            <pc:docMk/>
            <pc:sldMk cId="4117970720" sldId="2076136647"/>
            <ac:spMk id="437" creationId="{B922246F-A9FA-4BE1-8829-5B6B61B02FA1}"/>
          </ac:spMkLst>
        </pc:spChg>
        <pc:spChg chg="add mod">
          <ac:chgData name="Renata Festa" userId="6f22df47-533b-4c2a-a3c1-7f9ad1d63e10" providerId="ADAL" clId="{7D997690-04A4-4675-83D7-2E1CC2ED1A4E}" dt="2020-03-24T13:55:50.487" v="1492" actId="1076"/>
          <ac:spMkLst>
            <pc:docMk/>
            <pc:sldMk cId="4117970720" sldId="2076136647"/>
            <ac:spMk id="438" creationId="{AEF97809-7983-4039-BCDF-973EC8588E34}"/>
          </ac:spMkLst>
        </pc:spChg>
        <pc:spChg chg="add mod">
          <ac:chgData name="Renata Festa" userId="6f22df47-533b-4c2a-a3c1-7f9ad1d63e10" providerId="ADAL" clId="{7D997690-04A4-4675-83D7-2E1CC2ED1A4E}" dt="2020-03-24T13:55:50.487" v="1492" actId="1076"/>
          <ac:spMkLst>
            <pc:docMk/>
            <pc:sldMk cId="4117970720" sldId="2076136647"/>
            <ac:spMk id="439" creationId="{8618D213-1FC9-446A-9AD3-85B67550ED38}"/>
          </ac:spMkLst>
        </pc:spChg>
        <pc:spChg chg="add mod">
          <ac:chgData name="Renata Festa" userId="6f22df47-533b-4c2a-a3c1-7f9ad1d63e10" providerId="ADAL" clId="{7D997690-04A4-4675-83D7-2E1CC2ED1A4E}" dt="2020-03-24T13:55:50.487" v="1492" actId="1076"/>
          <ac:spMkLst>
            <pc:docMk/>
            <pc:sldMk cId="4117970720" sldId="2076136647"/>
            <ac:spMk id="443" creationId="{51BB2381-E04E-4B75-B833-2C7022B27403}"/>
          </ac:spMkLst>
        </pc:spChg>
        <pc:spChg chg="add mod">
          <ac:chgData name="Renata Festa" userId="6f22df47-533b-4c2a-a3c1-7f9ad1d63e10" providerId="ADAL" clId="{7D997690-04A4-4675-83D7-2E1CC2ED1A4E}" dt="2020-03-24T13:55:50.487" v="1492" actId="1076"/>
          <ac:spMkLst>
            <pc:docMk/>
            <pc:sldMk cId="4117970720" sldId="2076136647"/>
            <ac:spMk id="444" creationId="{7103F17E-29B5-41B7-9052-E987830561D1}"/>
          </ac:spMkLst>
        </pc:spChg>
        <pc:grpChg chg="add del">
          <ac:chgData name="Renata Festa" userId="6f22df47-533b-4c2a-a3c1-7f9ad1d63e10" providerId="ADAL" clId="{7D997690-04A4-4675-83D7-2E1CC2ED1A4E}" dt="2020-03-24T13:55:20.944" v="1484"/>
          <ac:grpSpMkLst>
            <pc:docMk/>
            <pc:sldMk cId="4117970720" sldId="2076136647"/>
            <ac:grpSpMk id="6" creationId="{F88796C4-9553-40ED-8DDE-922041897F7D}"/>
          </ac:grpSpMkLst>
        </pc:grpChg>
        <pc:grpChg chg="add del">
          <ac:chgData name="Renata Festa" userId="6f22df47-533b-4c2a-a3c1-7f9ad1d63e10" providerId="ADAL" clId="{7D997690-04A4-4675-83D7-2E1CC2ED1A4E}" dt="2020-03-24T13:55:20.944" v="1484"/>
          <ac:grpSpMkLst>
            <pc:docMk/>
            <pc:sldMk cId="4117970720" sldId="2076136647"/>
            <ac:grpSpMk id="67" creationId="{FCAE14FA-E183-4404-AD17-A8DF80B4F270}"/>
          </ac:grpSpMkLst>
        </pc:grpChg>
        <pc:grpChg chg="add del">
          <ac:chgData name="Renata Festa" userId="6f22df47-533b-4c2a-a3c1-7f9ad1d63e10" providerId="ADAL" clId="{7D997690-04A4-4675-83D7-2E1CC2ED1A4E}" dt="2020-03-24T13:55:20.944" v="1484"/>
          <ac:grpSpMkLst>
            <pc:docMk/>
            <pc:sldMk cId="4117970720" sldId="2076136647"/>
            <ac:grpSpMk id="78" creationId="{6F4E2B1F-8369-4AF6-9B9C-9A9B14551F73}"/>
          </ac:grpSpMkLst>
        </pc:grpChg>
        <pc:grpChg chg="add del">
          <ac:chgData name="Renata Festa" userId="6f22df47-533b-4c2a-a3c1-7f9ad1d63e10" providerId="ADAL" clId="{7D997690-04A4-4675-83D7-2E1CC2ED1A4E}" dt="2020-03-24T13:55:20.944" v="1484"/>
          <ac:grpSpMkLst>
            <pc:docMk/>
            <pc:sldMk cId="4117970720" sldId="2076136647"/>
            <ac:grpSpMk id="89" creationId="{AA468AC2-3405-47B4-AD4F-43F775CFB8FA}"/>
          </ac:grpSpMkLst>
        </pc:grpChg>
        <pc:grpChg chg="add del mod">
          <ac:chgData name="Renata Festa" userId="6f22df47-533b-4c2a-a3c1-7f9ad1d63e10" providerId="ADAL" clId="{7D997690-04A4-4675-83D7-2E1CC2ED1A4E}" dt="2020-03-24T13:55:37.257" v="1488"/>
          <ac:grpSpMkLst>
            <pc:docMk/>
            <pc:sldMk cId="4117970720" sldId="2076136647"/>
            <ac:grpSpMk id="116" creationId="{5C5F47E9-32C0-4D25-A9E3-D6670CE66031}"/>
          </ac:grpSpMkLst>
        </pc:grpChg>
        <pc:grpChg chg="mod">
          <ac:chgData name="Renata Festa" userId="6f22df47-533b-4c2a-a3c1-7f9ad1d63e10" providerId="ADAL" clId="{7D997690-04A4-4675-83D7-2E1CC2ED1A4E}" dt="2020-03-24T13:55:36.714" v="1487" actId="1076"/>
          <ac:grpSpMkLst>
            <pc:docMk/>
            <pc:sldMk cId="4117970720" sldId="2076136647"/>
            <ac:grpSpMk id="117" creationId="{A9DAA1DF-ECAF-48F1-9402-E451686E5666}"/>
          </ac:grpSpMkLst>
        </pc:grpChg>
        <pc:grpChg chg="mod">
          <ac:chgData name="Renata Festa" userId="6f22df47-533b-4c2a-a3c1-7f9ad1d63e10" providerId="ADAL" clId="{7D997690-04A4-4675-83D7-2E1CC2ED1A4E}" dt="2020-03-24T13:55:36.714" v="1487" actId="1076"/>
          <ac:grpSpMkLst>
            <pc:docMk/>
            <pc:sldMk cId="4117970720" sldId="2076136647"/>
            <ac:grpSpMk id="118" creationId="{61E5708F-AF5E-4157-8237-97EEFC9996E7}"/>
          </ac:grpSpMkLst>
        </pc:grpChg>
        <pc:grpChg chg="mod">
          <ac:chgData name="Renata Festa" userId="6f22df47-533b-4c2a-a3c1-7f9ad1d63e10" providerId="ADAL" clId="{7D997690-04A4-4675-83D7-2E1CC2ED1A4E}" dt="2020-03-24T13:55:36.714" v="1487" actId="1076"/>
          <ac:grpSpMkLst>
            <pc:docMk/>
            <pc:sldMk cId="4117970720" sldId="2076136647"/>
            <ac:grpSpMk id="119" creationId="{95AF674D-B189-4D49-843B-7D731E8D75B7}"/>
          </ac:grpSpMkLst>
        </pc:grpChg>
        <pc:grpChg chg="mod">
          <ac:chgData name="Renata Festa" userId="6f22df47-533b-4c2a-a3c1-7f9ad1d63e10" providerId="ADAL" clId="{7D997690-04A4-4675-83D7-2E1CC2ED1A4E}" dt="2020-03-24T13:55:36.714" v="1487" actId="1076"/>
          <ac:grpSpMkLst>
            <pc:docMk/>
            <pc:sldMk cId="4117970720" sldId="2076136647"/>
            <ac:grpSpMk id="120" creationId="{FED39CA1-01AD-469B-A08D-35A31AF9CFCC}"/>
          </ac:grpSpMkLst>
        </pc:grpChg>
        <pc:grpChg chg="add del mod">
          <ac:chgData name="Renata Festa" userId="6f22df47-533b-4c2a-a3c1-7f9ad1d63e10" providerId="ADAL" clId="{7D997690-04A4-4675-83D7-2E1CC2ED1A4E}" dt="2020-03-24T13:55:37.257" v="1488"/>
          <ac:grpSpMkLst>
            <pc:docMk/>
            <pc:sldMk cId="4117970720" sldId="2076136647"/>
            <ac:grpSpMk id="177" creationId="{8CAD78EA-41EB-40F4-B7BD-CBC17EF20E31}"/>
          </ac:grpSpMkLst>
        </pc:grpChg>
        <pc:grpChg chg="mod">
          <ac:chgData name="Renata Festa" userId="6f22df47-533b-4c2a-a3c1-7f9ad1d63e10" providerId="ADAL" clId="{7D997690-04A4-4675-83D7-2E1CC2ED1A4E}" dt="2020-03-24T13:55:36.714" v="1487" actId="1076"/>
          <ac:grpSpMkLst>
            <pc:docMk/>
            <pc:sldMk cId="4117970720" sldId="2076136647"/>
            <ac:grpSpMk id="178" creationId="{9072A8C3-BFEC-4EC0-A4F1-4FAC6E873A5E}"/>
          </ac:grpSpMkLst>
        </pc:grpChg>
        <pc:grpChg chg="mod">
          <ac:chgData name="Renata Festa" userId="6f22df47-533b-4c2a-a3c1-7f9ad1d63e10" providerId="ADAL" clId="{7D997690-04A4-4675-83D7-2E1CC2ED1A4E}" dt="2020-03-24T13:55:36.714" v="1487" actId="1076"/>
          <ac:grpSpMkLst>
            <pc:docMk/>
            <pc:sldMk cId="4117970720" sldId="2076136647"/>
            <ac:grpSpMk id="179" creationId="{F82422F8-B1ED-47C4-915F-C11DC1E6D279}"/>
          </ac:grpSpMkLst>
        </pc:grpChg>
        <pc:grpChg chg="add del mod">
          <ac:chgData name="Renata Festa" userId="6f22df47-533b-4c2a-a3c1-7f9ad1d63e10" providerId="ADAL" clId="{7D997690-04A4-4675-83D7-2E1CC2ED1A4E}" dt="2020-03-24T13:55:37.257" v="1488"/>
          <ac:grpSpMkLst>
            <pc:docMk/>
            <pc:sldMk cId="4117970720" sldId="2076136647"/>
            <ac:grpSpMk id="188" creationId="{43F06DA5-77EA-4350-87EF-DDAA4C973064}"/>
          </ac:grpSpMkLst>
        </pc:grpChg>
        <pc:grpChg chg="mod">
          <ac:chgData name="Renata Festa" userId="6f22df47-533b-4c2a-a3c1-7f9ad1d63e10" providerId="ADAL" clId="{7D997690-04A4-4675-83D7-2E1CC2ED1A4E}" dt="2020-03-24T13:55:36.714" v="1487" actId="1076"/>
          <ac:grpSpMkLst>
            <pc:docMk/>
            <pc:sldMk cId="4117970720" sldId="2076136647"/>
            <ac:grpSpMk id="189" creationId="{BB968E43-4D35-422A-B8B4-C7CBB5E5F805}"/>
          </ac:grpSpMkLst>
        </pc:grpChg>
        <pc:grpChg chg="mod">
          <ac:chgData name="Renata Festa" userId="6f22df47-533b-4c2a-a3c1-7f9ad1d63e10" providerId="ADAL" clId="{7D997690-04A4-4675-83D7-2E1CC2ED1A4E}" dt="2020-03-24T13:55:36.714" v="1487" actId="1076"/>
          <ac:grpSpMkLst>
            <pc:docMk/>
            <pc:sldMk cId="4117970720" sldId="2076136647"/>
            <ac:grpSpMk id="190" creationId="{09456AD0-BD49-41DD-B0B3-921274517C86}"/>
          </ac:grpSpMkLst>
        </pc:grpChg>
        <pc:grpChg chg="add del mod">
          <ac:chgData name="Renata Festa" userId="6f22df47-533b-4c2a-a3c1-7f9ad1d63e10" providerId="ADAL" clId="{7D997690-04A4-4675-83D7-2E1CC2ED1A4E}" dt="2020-03-24T13:55:37.257" v="1488"/>
          <ac:grpSpMkLst>
            <pc:docMk/>
            <pc:sldMk cId="4117970720" sldId="2076136647"/>
            <ac:grpSpMk id="199" creationId="{D2EABE73-D3EB-46F3-9A68-7BC0C17EFB03}"/>
          </ac:grpSpMkLst>
        </pc:grpChg>
        <pc:grpChg chg="mod">
          <ac:chgData name="Renata Festa" userId="6f22df47-533b-4c2a-a3c1-7f9ad1d63e10" providerId="ADAL" clId="{7D997690-04A4-4675-83D7-2E1CC2ED1A4E}" dt="2020-03-24T13:55:36.714" v="1487" actId="1076"/>
          <ac:grpSpMkLst>
            <pc:docMk/>
            <pc:sldMk cId="4117970720" sldId="2076136647"/>
            <ac:grpSpMk id="200" creationId="{24FBCAF6-7BB2-4123-8633-490F62702C50}"/>
          </ac:grpSpMkLst>
        </pc:grpChg>
        <pc:grpChg chg="mod">
          <ac:chgData name="Renata Festa" userId="6f22df47-533b-4c2a-a3c1-7f9ad1d63e10" providerId="ADAL" clId="{7D997690-04A4-4675-83D7-2E1CC2ED1A4E}" dt="2020-03-24T13:55:36.714" v="1487" actId="1076"/>
          <ac:grpSpMkLst>
            <pc:docMk/>
            <pc:sldMk cId="4117970720" sldId="2076136647"/>
            <ac:grpSpMk id="201" creationId="{3E7EDE5E-7C49-478C-8AD8-C55457C95BB4}"/>
          </ac:grpSpMkLst>
        </pc:grpChg>
        <pc:grpChg chg="add del">
          <ac:chgData name="Renata Festa" userId="6f22df47-533b-4c2a-a3c1-7f9ad1d63e10" providerId="ADAL" clId="{7D997690-04A4-4675-83D7-2E1CC2ED1A4E}" dt="2020-03-24T13:55:39.188" v="1490"/>
          <ac:grpSpMkLst>
            <pc:docMk/>
            <pc:sldMk cId="4117970720" sldId="2076136647"/>
            <ac:grpSpMk id="226" creationId="{6EFDC9A8-21C5-4F73-917A-60219A54F862}"/>
          </ac:grpSpMkLst>
        </pc:grpChg>
        <pc:grpChg chg="add del">
          <ac:chgData name="Renata Festa" userId="6f22df47-533b-4c2a-a3c1-7f9ad1d63e10" providerId="ADAL" clId="{7D997690-04A4-4675-83D7-2E1CC2ED1A4E}" dt="2020-03-24T13:55:39.188" v="1490"/>
          <ac:grpSpMkLst>
            <pc:docMk/>
            <pc:sldMk cId="4117970720" sldId="2076136647"/>
            <ac:grpSpMk id="287" creationId="{8842FD6B-7185-45D3-A8F5-5C4405851363}"/>
          </ac:grpSpMkLst>
        </pc:grpChg>
        <pc:grpChg chg="add del">
          <ac:chgData name="Renata Festa" userId="6f22df47-533b-4c2a-a3c1-7f9ad1d63e10" providerId="ADAL" clId="{7D997690-04A4-4675-83D7-2E1CC2ED1A4E}" dt="2020-03-24T13:55:39.188" v="1490"/>
          <ac:grpSpMkLst>
            <pc:docMk/>
            <pc:sldMk cId="4117970720" sldId="2076136647"/>
            <ac:grpSpMk id="298" creationId="{19F781D3-E562-43C1-A9BB-84E0A41CB5A1}"/>
          </ac:grpSpMkLst>
        </pc:grpChg>
        <pc:grpChg chg="add del">
          <ac:chgData name="Renata Festa" userId="6f22df47-533b-4c2a-a3c1-7f9ad1d63e10" providerId="ADAL" clId="{7D997690-04A4-4675-83D7-2E1CC2ED1A4E}" dt="2020-03-24T13:55:39.188" v="1490"/>
          <ac:grpSpMkLst>
            <pc:docMk/>
            <pc:sldMk cId="4117970720" sldId="2076136647"/>
            <ac:grpSpMk id="309" creationId="{56C40090-7761-46C3-A9D0-C2DE72C65498}"/>
          </ac:grpSpMkLst>
        </pc:grpChg>
        <pc:grpChg chg="add mod">
          <ac:chgData name="Renata Festa" userId="6f22df47-533b-4c2a-a3c1-7f9ad1d63e10" providerId="ADAL" clId="{7D997690-04A4-4675-83D7-2E1CC2ED1A4E}" dt="2020-03-24T13:55:50.487" v="1492" actId="1076"/>
          <ac:grpSpMkLst>
            <pc:docMk/>
            <pc:sldMk cId="4117970720" sldId="2076136647"/>
            <ac:grpSpMk id="336" creationId="{32C7AD70-F92D-462E-BC0B-DCB5C354CC6B}"/>
          </ac:grpSpMkLst>
        </pc:grpChg>
        <pc:grpChg chg="mod">
          <ac:chgData name="Renata Festa" userId="6f22df47-533b-4c2a-a3c1-7f9ad1d63e10" providerId="ADAL" clId="{7D997690-04A4-4675-83D7-2E1CC2ED1A4E}" dt="2020-03-24T13:55:50.487" v="1492" actId="1076"/>
          <ac:grpSpMkLst>
            <pc:docMk/>
            <pc:sldMk cId="4117970720" sldId="2076136647"/>
            <ac:grpSpMk id="337" creationId="{040AC1CE-18A0-4EC9-86B9-D075972C1343}"/>
          </ac:grpSpMkLst>
        </pc:grpChg>
        <pc:grpChg chg="mod">
          <ac:chgData name="Renata Festa" userId="6f22df47-533b-4c2a-a3c1-7f9ad1d63e10" providerId="ADAL" clId="{7D997690-04A4-4675-83D7-2E1CC2ED1A4E}" dt="2020-03-24T13:55:50.487" v="1492" actId="1076"/>
          <ac:grpSpMkLst>
            <pc:docMk/>
            <pc:sldMk cId="4117970720" sldId="2076136647"/>
            <ac:grpSpMk id="338" creationId="{44F98326-545E-41C2-B0F7-A96079A0327A}"/>
          </ac:grpSpMkLst>
        </pc:grpChg>
        <pc:grpChg chg="mod">
          <ac:chgData name="Renata Festa" userId="6f22df47-533b-4c2a-a3c1-7f9ad1d63e10" providerId="ADAL" clId="{7D997690-04A4-4675-83D7-2E1CC2ED1A4E}" dt="2020-03-24T13:55:50.487" v="1492" actId="1076"/>
          <ac:grpSpMkLst>
            <pc:docMk/>
            <pc:sldMk cId="4117970720" sldId="2076136647"/>
            <ac:grpSpMk id="339" creationId="{3057B1FF-63B7-4395-A3FE-BF040C810006}"/>
          </ac:grpSpMkLst>
        </pc:grpChg>
        <pc:grpChg chg="mod">
          <ac:chgData name="Renata Festa" userId="6f22df47-533b-4c2a-a3c1-7f9ad1d63e10" providerId="ADAL" clId="{7D997690-04A4-4675-83D7-2E1CC2ED1A4E}" dt="2020-03-24T13:55:50.487" v="1492" actId="1076"/>
          <ac:grpSpMkLst>
            <pc:docMk/>
            <pc:sldMk cId="4117970720" sldId="2076136647"/>
            <ac:grpSpMk id="340" creationId="{1DA020E3-CCA4-47FC-9BB6-4724D89A0D0E}"/>
          </ac:grpSpMkLst>
        </pc:grpChg>
        <pc:grpChg chg="add mod">
          <ac:chgData name="Renata Festa" userId="6f22df47-533b-4c2a-a3c1-7f9ad1d63e10" providerId="ADAL" clId="{7D997690-04A4-4675-83D7-2E1CC2ED1A4E}" dt="2020-03-24T13:55:50.487" v="1492" actId="1076"/>
          <ac:grpSpMkLst>
            <pc:docMk/>
            <pc:sldMk cId="4117970720" sldId="2076136647"/>
            <ac:grpSpMk id="397" creationId="{1BA00B90-0AC2-46E1-882C-04CFF91D9493}"/>
          </ac:grpSpMkLst>
        </pc:grpChg>
        <pc:grpChg chg="mod">
          <ac:chgData name="Renata Festa" userId="6f22df47-533b-4c2a-a3c1-7f9ad1d63e10" providerId="ADAL" clId="{7D997690-04A4-4675-83D7-2E1CC2ED1A4E}" dt="2020-03-24T13:55:50.487" v="1492" actId="1076"/>
          <ac:grpSpMkLst>
            <pc:docMk/>
            <pc:sldMk cId="4117970720" sldId="2076136647"/>
            <ac:grpSpMk id="398" creationId="{56A9835A-1255-405D-8AEF-B2990778DCC1}"/>
          </ac:grpSpMkLst>
        </pc:grpChg>
        <pc:grpChg chg="mod">
          <ac:chgData name="Renata Festa" userId="6f22df47-533b-4c2a-a3c1-7f9ad1d63e10" providerId="ADAL" clId="{7D997690-04A4-4675-83D7-2E1CC2ED1A4E}" dt="2020-03-24T13:55:50.487" v="1492" actId="1076"/>
          <ac:grpSpMkLst>
            <pc:docMk/>
            <pc:sldMk cId="4117970720" sldId="2076136647"/>
            <ac:grpSpMk id="399" creationId="{1DE4F0AE-4D87-41CC-A7F3-EB6A84C271B1}"/>
          </ac:grpSpMkLst>
        </pc:grpChg>
        <pc:grpChg chg="add mod">
          <ac:chgData name="Renata Festa" userId="6f22df47-533b-4c2a-a3c1-7f9ad1d63e10" providerId="ADAL" clId="{7D997690-04A4-4675-83D7-2E1CC2ED1A4E}" dt="2020-03-24T13:55:50.487" v="1492" actId="1076"/>
          <ac:grpSpMkLst>
            <pc:docMk/>
            <pc:sldMk cId="4117970720" sldId="2076136647"/>
            <ac:grpSpMk id="408" creationId="{34AC3152-8EC7-4CA2-98B3-4DA4592785CB}"/>
          </ac:grpSpMkLst>
        </pc:grpChg>
        <pc:grpChg chg="mod">
          <ac:chgData name="Renata Festa" userId="6f22df47-533b-4c2a-a3c1-7f9ad1d63e10" providerId="ADAL" clId="{7D997690-04A4-4675-83D7-2E1CC2ED1A4E}" dt="2020-03-24T13:55:50.487" v="1492" actId="1076"/>
          <ac:grpSpMkLst>
            <pc:docMk/>
            <pc:sldMk cId="4117970720" sldId="2076136647"/>
            <ac:grpSpMk id="409" creationId="{66C18162-CD32-4CE8-B3B3-882DFDC36B40}"/>
          </ac:grpSpMkLst>
        </pc:grpChg>
        <pc:grpChg chg="mod">
          <ac:chgData name="Renata Festa" userId="6f22df47-533b-4c2a-a3c1-7f9ad1d63e10" providerId="ADAL" clId="{7D997690-04A4-4675-83D7-2E1CC2ED1A4E}" dt="2020-03-24T13:55:50.487" v="1492" actId="1076"/>
          <ac:grpSpMkLst>
            <pc:docMk/>
            <pc:sldMk cId="4117970720" sldId="2076136647"/>
            <ac:grpSpMk id="410" creationId="{4251D8EA-644C-4947-A0C4-495E62014593}"/>
          </ac:grpSpMkLst>
        </pc:grpChg>
        <pc:grpChg chg="add mod">
          <ac:chgData name="Renata Festa" userId="6f22df47-533b-4c2a-a3c1-7f9ad1d63e10" providerId="ADAL" clId="{7D997690-04A4-4675-83D7-2E1CC2ED1A4E}" dt="2020-03-24T13:55:50.487" v="1492" actId="1076"/>
          <ac:grpSpMkLst>
            <pc:docMk/>
            <pc:sldMk cId="4117970720" sldId="2076136647"/>
            <ac:grpSpMk id="419" creationId="{E8F87AE0-7CB0-4ABB-AE81-881721863833}"/>
          </ac:grpSpMkLst>
        </pc:grpChg>
        <pc:grpChg chg="mod">
          <ac:chgData name="Renata Festa" userId="6f22df47-533b-4c2a-a3c1-7f9ad1d63e10" providerId="ADAL" clId="{7D997690-04A4-4675-83D7-2E1CC2ED1A4E}" dt="2020-03-24T13:55:50.487" v="1492" actId="1076"/>
          <ac:grpSpMkLst>
            <pc:docMk/>
            <pc:sldMk cId="4117970720" sldId="2076136647"/>
            <ac:grpSpMk id="420" creationId="{4988CBDE-6976-4205-9228-29204EAED28A}"/>
          </ac:grpSpMkLst>
        </pc:grpChg>
        <pc:grpChg chg="mod">
          <ac:chgData name="Renata Festa" userId="6f22df47-533b-4c2a-a3c1-7f9ad1d63e10" providerId="ADAL" clId="{7D997690-04A4-4675-83D7-2E1CC2ED1A4E}" dt="2020-03-24T13:55:50.487" v="1492" actId="1076"/>
          <ac:grpSpMkLst>
            <pc:docMk/>
            <pc:sldMk cId="4117970720" sldId="2076136647"/>
            <ac:grpSpMk id="421" creationId="{4154590A-2056-4833-B35F-94065F3DA08E}"/>
          </ac:grpSpMkLst>
        </pc:grpChg>
        <pc:cxnChg chg="add del">
          <ac:chgData name="Renata Festa" userId="6f22df47-533b-4c2a-a3c1-7f9ad1d63e10" providerId="ADAL" clId="{7D997690-04A4-4675-83D7-2E1CC2ED1A4E}" dt="2020-03-24T13:55:20.944" v="1484"/>
          <ac:cxnSpMkLst>
            <pc:docMk/>
            <pc:sldMk cId="4117970720" sldId="2076136647"/>
            <ac:cxnSpMk id="22" creationId="{27E9AC26-A90E-44CD-88D2-31D3AEC6B42C}"/>
          </ac:cxnSpMkLst>
        </pc:cxnChg>
        <pc:cxnChg chg="add del">
          <ac:chgData name="Renata Festa" userId="6f22df47-533b-4c2a-a3c1-7f9ad1d63e10" providerId="ADAL" clId="{7D997690-04A4-4675-83D7-2E1CC2ED1A4E}" dt="2020-03-24T13:55:20.944" v="1484"/>
          <ac:cxnSpMkLst>
            <pc:docMk/>
            <pc:sldMk cId="4117970720" sldId="2076136647"/>
            <ac:cxnSpMk id="23" creationId="{26287B73-0FA6-4FC1-9F5A-F1B3BA40BB3F}"/>
          </ac:cxnSpMkLst>
        </pc:cxnChg>
        <pc:cxnChg chg="add del">
          <ac:chgData name="Renata Festa" userId="6f22df47-533b-4c2a-a3c1-7f9ad1d63e10" providerId="ADAL" clId="{7D997690-04A4-4675-83D7-2E1CC2ED1A4E}" dt="2020-03-24T13:55:20.944" v="1484"/>
          <ac:cxnSpMkLst>
            <pc:docMk/>
            <pc:sldMk cId="4117970720" sldId="2076136647"/>
            <ac:cxnSpMk id="43" creationId="{791C394E-D02A-43BA-9BDB-3DAFEC93604A}"/>
          </ac:cxnSpMkLst>
        </pc:cxnChg>
        <pc:cxnChg chg="add del">
          <ac:chgData name="Renata Festa" userId="6f22df47-533b-4c2a-a3c1-7f9ad1d63e10" providerId="ADAL" clId="{7D997690-04A4-4675-83D7-2E1CC2ED1A4E}" dt="2020-03-24T13:55:20.944" v="1484"/>
          <ac:cxnSpMkLst>
            <pc:docMk/>
            <pc:sldMk cId="4117970720" sldId="2076136647"/>
            <ac:cxnSpMk id="48" creationId="{E6F1C418-5A39-46B6-AF4C-6115EB482767}"/>
          </ac:cxnSpMkLst>
        </pc:cxnChg>
        <pc:cxnChg chg="add del">
          <ac:chgData name="Renata Festa" userId="6f22df47-533b-4c2a-a3c1-7f9ad1d63e10" providerId="ADAL" clId="{7D997690-04A4-4675-83D7-2E1CC2ED1A4E}" dt="2020-03-24T13:55:20.944" v="1484"/>
          <ac:cxnSpMkLst>
            <pc:docMk/>
            <pc:sldMk cId="4117970720" sldId="2076136647"/>
            <ac:cxnSpMk id="51" creationId="{EE429F52-C99D-4EBE-894A-E66A6A84FEE5}"/>
          </ac:cxnSpMkLst>
        </pc:cxnChg>
        <pc:cxnChg chg="add del">
          <ac:chgData name="Renata Festa" userId="6f22df47-533b-4c2a-a3c1-7f9ad1d63e10" providerId="ADAL" clId="{7D997690-04A4-4675-83D7-2E1CC2ED1A4E}" dt="2020-03-24T13:55:20.944" v="1484"/>
          <ac:cxnSpMkLst>
            <pc:docMk/>
            <pc:sldMk cId="4117970720" sldId="2076136647"/>
            <ac:cxnSpMk id="52" creationId="{DB345F62-50D2-4A66-9E9E-38D14651D2D9}"/>
          </ac:cxnSpMkLst>
        </pc:cxnChg>
        <pc:cxnChg chg="add del">
          <ac:chgData name="Renata Festa" userId="6f22df47-533b-4c2a-a3c1-7f9ad1d63e10" providerId="ADAL" clId="{7D997690-04A4-4675-83D7-2E1CC2ED1A4E}" dt="2020-03-24T13:55:20.944" v="1484"/>
          <ac:cxnSpMkLst>
            <pc:docMk/>
            <pc:sldMk cId="4117970720" sldId="2076136647"/>
            <ac:cxnSpMk id="53" creationId="{A8A8EE37-A95D-439E-8FC9-253A9117277F}"/>
          </ac:cxnSpMkLst>
        </pc:cxnChg>
        <pc:cxnChg chg="add del">
          <ac:chgData name="Renata Festa" userId="6f22df47-533b-4c2a-a3c1-7f9ad1d63e10" providerId="ADAL" clId="{7D997690-04A4-4675-83D7-2E1CC2ED1A4E}" dt="2020-03-24T13:55:20.944" v="1484"/>
          <ac:cxnSpMkLst>
            <pc:docMk/>
            <pc:sldMk cId="4117970720" sldId="2076136647"/>
            <ac:cxnSpMk id="60" creationId="{A7D4D277-E7E5-4383-BE7E-88D065A4302B}"/>
          </ac:cxnSpMkLst>
        </pc:cxnChg>
        <pc:cxnChg chg="add del">
          <ac:chgData name="Renata Festa" userId="6f22df47-533b-4c2a-a3c1-7f9ad1d63e10" providerId="ADAL" clId="{7D997690-04A4-4675-83D7-2E1CC2ED1A4E}" dt="2020-03-24T13:55:20.944" v="1484"/>
          <ac:cxnSpMkLst>
            <pc:docMk/>
            <pc:sldMk cId="4117970720" sldId="2076136647"/>
            <ac:cxnSpMk id="63" creationId="{600952CF-A424-4B37-B775-9CD41EBF932A}"/>
          </ac:cxnSpMkLst>
        </pc:cxnChg>
        <pc:cxnChg chg="add del">
          <ac:chgData name="Renata Festa" userId="6f22df47-533b-4c2a-a3c1-7f9ad1d63e10" providerId="ADAL" clId="{7D997690-04A4-4675-83D7-2E1CC2ED1A4E}" dt="2020-03-24T13:55:20.944" v="1484"/>
          <ac:cxnSpMkLst>
            <pc:docMk/>
            <pc:sldMk cId="4117970720" sldId="2076136647"/>
            <ac:cxnSpMk id="65" creationId="{378D069D-C649-4064-9090-88BB5170F009}"/>
          </ac:cxnSpMkLst>
        </pc:cxnChg>
        <pc:cxnChg chg="add del">
          <ac:chgData name="Renata Festa" userId="6f22df47-533b-4c2a-a3c1-7f9ad1d63e10" providerId="ADAL" clId="{7D997690-04A4-4675-83D7-2E1CC2ED1A4E}" dt="2020-03-24T13:55:20.944" v="1484"/>
          <ac:cxnSpMkLst>
            <pc:docMk/>
            <pc:sldMk cId="4117970720" sldId="2076136647"/>
            <ac:cxnSpMk id="110" creationId="{D9F9A330-45DC-4575-8F28-90D176DF2AF1}"/>
          </ac:cxnSpMkLst>
        </pc:cxnChg>
        <pc:cxnChg chg="add del">
          <ac:chgData name="Renata Festa" userId="6f22df47-533b-4c2a-a3c1-7f9ad1d63e10" providerId="ADAL" clId="{7D997690-04A4-4675-83D7-2E1CC2ED1A4E}" dt="2020-03-24T13:55:20.944" v="1484"/>
          <ac:cxnSpMkLst>
            <pc:docMk/>
            <pc:sldMk cId="4117970720" sldId="2076136647"/>
            <ac:cxnSpMk id="111" creationId="{8B0B4ACA-FE13-47EA-B0E2-619FE6BC118B}"/>
          </ac:cxnSpMkLst>
        </pc:cxnChg>
        <pc:cxnChg chg="add del">
          <ac:chgData name="Renata Festa" userId="6f22df47-533b-4c2a-a3c1-7f9ad1d63e10" providerId="ADAL" clId="{7D997690-04A4-4675-83D7-2E1CC2ED1A4E}" dt="2020-03-24T13:55:20.944" v="1484"/>
          <ac:cxnSpMkLst>
            <pc:docMk/>
            <pc:sldMk cId="4117970720" sldId="2076136647"/>
            <ac:cxnSpMk id="112" creationId="{3F48F510-50D0-43B4-A14D-C96961D1B7C5}"/>
          </ac:cxnSpMkLst>
        </pc:cxnChg>
        <pc:cxnChg chg="add del mod">
          <ac:chgData name="Renata Festa" userId="6f22df47-533b-4c2a-a3c1-7f9ad1d63e10" providerId="ADAL" clId="{7D997690-04A4-4675-83D7-2E1CC2ED1A4E}" dt="2020-03-24T13:55:37.257" v="1488"/>
          <ac:cxnSpMkLst>
            <pc:docMk/>
            <pc:sldMk cId="4117970720" sldId="2076136647"/>
            <ac:cxnSpMk id="132" creationId="{5C8C6498-F89D-4D98-A05D-05F9CCFFCA8E}"/>
          </ac:cxnSpMkLst>
        </pc:cxnChg>
        <pc:cxnChg chg="add del mod">
          <ac:chgData name="Renata Festa" userId="6f22df47-533b-4c2a-a3c1-7f9ad1d63e10" providerId="ADAL" clId="{7D997690-04A4-4675-83D7-2E1CC2ED1A4E}" dt="2020-03-24T13:55:37.257" v="1488"/>
          <ac:cxnSpMkLst>
            <pc:docMk/>
            <pc:sldMk cId="4117970720" sldId="2076136647"/>
            <ac:cxnSpMk id="133" creationId="{CDFDF90E-8728-4C08-8414-D682DAB45735}"/>
          </ac:cxnSpMkLst>
        </pc:cxnChg>
        <pc:cxnChg chg="add del mod">
          <ac:chgData name="Renata Festa" userId="6f22df47-533b-4c2a-a3c1-7f9ad1d63e10" providerId="ADAL" clId="{7D997690-04A4-4675-83D7-2E1CC2ED1A4E}" dt="2020-03-24T13:55:37.257" v="1488"/>
          <ac:cxnSpMkLst>
            <pc:docMk/>
            <pc:sldMk cId="4117970720" sldId="2076136647"/>
            <ac:cxnSpMk id="153" creationId="{546DE352-A838-4596-9BD5-1AB3697CB06C}"/>
          </ac:cxnSpMkLst>
        </pc:cxnChg>
        <pc:cxnChg chg="add del mod">
          <ac:chgData name="Renata Festa" userId="6f22df47-533b-4c2a-a3c1-7f9ad1d63e10" providerId="ADAL" clId="{7D997690-04A4-4675-83D7-2E1CC2ED1A4E}" dt="2020-03-24T13:55:37.257" v="1488"/>
          <ac:cxnSpMkLst>
            <pc:docMk/>
            <pc:sldMk cId="4117970720" sldId="2076136647"/>
            <ac:cxnSpMk id="158" creationId="{8717C3C1-E576-4866-A7C7-80FE34FD2B4C}"/>
          </ac:cxnSpMkLst>
        </pc:cxnChg>
        <pc:cxnChg chg="add del mod">
          <ac:chgData name="Renata Festa" userId="6f22df47-533b-4c2a-a3c1-7f9ad1d63e10" providerId="ADAL" clId="{7D997690-04A4-4675-83D7-2E1CC2ED1A4E}" dt="2020-03-24T13:55:37.257" v="1488"/>
          <ac:cxnSpMkLst>
            <pc:docMk/>
            <pc:sldMk cId="4117970720" sldId="2076136647"/>
            <ac:cxnSpMk id="161" creationId="{C40357B8-00CB-43CC-9B3B-D9E5BED5C88D}"/>
          </ac:cxnSpMkLst>
        </pc:cxnChg>
        <pc:cxnChg chg="add del mod">
          <ac:chgData name="Renata Festa" userId="6f22df47-533b-4c2a-a3c1-7f9ad1d63e10" providerId="ADAL" clId="{7D997690-04A4-4675-83D7-2E1CC2ED1A4E}" dt="2020-03-24T13:55:37.257" v="1488"/>
          <ac:cxnSpMkLst>
            <pc:docMk/>
            <pc:sldMk cId="4117970720" sldId="2076136647"/>
            <ac:cxnSpMk id="162" creationId="{DEFB2145-C467-4CED-83CE-67A5833512EB}"/>
          </ac:cxnSpMkLst>
        </pc:cxnChg>
        <pc:cxnChg chg="add del mod">
          <ac:chgData name="Renata Festa" userId="6f22df47-533b-4c2a-a3c1-7f9ad1d63e10" providerId="ADAL" clId="{7D997690-04A4-4675-83D7-2E1CC2ED1A4E}" dt="2020-03-24T13:55:37.257" v="1488"/>
          <ac:cxnSpMkLst>
            <pc:docMk/>
            <pc:sldMk cId="4117970720" sldId="2076136647"/>
            <ac:cxnSpMk id="163" creationId="{7B65CF80-4E79-4C47-A1E9-439D938A25E6}"/>
          </ac:cxnSpMkLst>
        </pc:cxnChg>
        <pc:cxnChg chg="add del mod">
          <ac:chgData name="Renata Festa" userId="6f22df47-533b-4c2a-a3c1-7f9ad1d63e10" providerId="ADAL" clId="{7D997690-04A4-4675-83D7-2E1CC2ED1A4E}" dt="2020-03-24T13:55:37.257" v="1488"/>
          <ac:cxnSpMkLst>
            <pc:docMk/>
            <pc:sldMk cId="4117970720" sldId="2076136647"/>
            <ac:cxnSpMk id="170" creationId="{64AE8224-352E-425F-A47C-155B8E341401}"/>
          </ac:cxnSpMkLst>
        </pc:cxnChg>
        <pc:cxnChg chg="add del mod">
          <ac:chgData name="Renata Festa" userId="6f22df47-533b-4c2a-a3c1-7f9ad1d63e10" providerId="ADAL" clId="{7D997690-04A4-4675-83D7-2E1CC2ED1A4E}" dt="2020-03-24T13:55:37.257" v="1488"/>
          <ac:cxnSpMkLst>
            <pc:docMk/>
            <pc:sldMk cId="4117970720" sldId="2076136647"/>
            <ac:cxnSpMk id="173" creationId="{CB76053D-2CBE-43DC-97DF-3C765B7C2C8C}"/>
          </ac:cxnSpMkLst>
        </pc:cxnChg>
        <pc:cxnChg chg="add del mod">
          <ac:chgData name="Renata Festa" userId="6f22df47-533b-4c2a-a3c1-7f9ad1d63e10" providerId="ADAL" clId="{7D997690-04A4-4675-83D7-2E1CC2ED1A4E}" dt="2020-03-24T13:55:37.257" v="1488"/>
          <ac:cxnSpMkLst>
            <pc:docMk/>
            <pc:sldMk cId="4117970720" sldId="2076136647"/>
            <ac:cxnSpMk id="175" creationId="{9FF50691-2F99-4E8E-AAFC-DD4AFAA75B15}"/>
          </ac:cxnSpMkLst>
        </pc:cxnChg>
        <pc:cxnChg chg="add del mod">
          <ac:chgData name="Renata Festa" userId="6f22df47-533b-4c2a-a3c1-7f9ad1d63e10" providerId="ADAL" clId="{7D997690-04A4-4675-83D7-2E1CC2ED1A4E}" dt="2020-03-24T13:55:37.257" v="1488"/>
          <ac:cxnSpMkLst>
            <pc:docMk/>
            <pc:sldMk cId="4117970720" sldId="2076136647"/>
            <ac:cxnSpMk id="220" creationId="{250D4755-3E87-484D-88BD-F4F55C384E04}"/>
          </ac:cxnSpMkLst>
        </pc:cxnChg>
        <pc:cxnChg chg="add del mod">
          <ac:chgData name="Renata Festa" userId="6f22df47-533b-4c2a-a3c1-7f9ad1d63e10" providerId="ADAL" clId="{7D997690-04A4-4675-83D7-2E1CC2ED1A4E}" dt="2020-03-24T13:55:37.257" v="1488"/>
          <ac:cxnSpMkLst>
            <pc:docMk/>
            <pc:sldMk cId="4117970720" sldId="2076136647"/>
            <ac:cxnSpMk id="221" creationId="{A8CC009C-9A14-465D-8C7D-82251BBB1176}"/>
          </ac:cxnSpMkLst>
        </pc:cxnChg>
        <pc:cxnChg chg="add del mod">
          <ac:chgData name="Renata Festa" userId="6f22df47-533b-4c2a-a3c1-7f9ad1d63e10" providerId="ADAL" clId="{7D997690-04A4-4675-83D7-2E1CC2ED1A4E}" dt="2020-03-24T13:55:37.257" v="1488"/>
          <ac:cxnSpMkLst>
            <pc:docMk/>
            <pc:sldMk cId="4117970720" sldId="2076136647"/>
            <ac:cxnSpMk id="222" creationId="{A3E72CE5-BC69-46CC-A851-E4BA8E48AEB3}"/>
          </ac:cxnSpMkLst>
        </pc:cxnChg>
        <pc:cxnChg chg="add del">
          <ac:chgData name="Renata Festa" userId="6f22df47-533b-4c2a-a3c1-7f9ad1d63e10" providerId="ADAL" clId="{7D997690-04A4-4675-83D7-2E1CC2ED1A4E}" dt="2020-03-24T13:55:39.188" v="1490"/>
          <ac:cxnSpMkLst>
            <pc:docMk/>
            <pc:sldMk cId="4117970720" sldId="2076136647"/>
            <ac:cxnSpMk id="242" creationId="{49D5217A-7FD0-4787-9557-939C15532C91}"/>
          </ac:cxnSpMkLst>
        </pc:cxnChg>
        <pc:cxnChg chg="add del">
          <ac:chgData name="Renata Festa" userId="6f22df47-533b-4c2a-a3c1-7f9ad1d63e10" providerId="ADAL" clId="{7D997690-04A4-4675-83D7-2E1CC2ED1A4E}" dt="2020-03-24T13:55:39.188" v="1490"/>
          <ac:cxnSpMkLst>
            <pc:docMk/>
            <pc:sldMk cId="4117970720" sldId="2076136647"/>
            <ac:cxnSpMk id="243" creationId="{16913EDD-2090-4E65-B03D-0B057DB6E514}"/>
          </ac:cxnSpMkLst>
        </pc:cxnChg>
        <pc:cxnChg chg="add del">
          <ac:chgData name="Renata Festa" userId="6f22df47-533b-4c2a-a3c1-7f9ad1d63e10" providerId="ADAL" clId="{7D997690-04A4-4675-83D7-2E1CC2ED1A4E}" dt="2020-03-24T13:55:39.188" v="1490"/>
          <ac:cxnSpMkLst>
            <pc:docMk/>
            <pc:sldMk cId="4117970720" sldId="2076136647"/>
            <ac:cxnSpMk id="263" creationId="{7E0F89AA-15A3-4200-989B-99BA4B5E0376}"/>
          </ac:cxnSpMkLst>
        </pc:cxnChg>
        <pc:cxnChg chg="add del">
          <ac:chgData name="Renata Festa" userId="6f22df47-533b-4c2a-a3c1-7f9ad1d63e10" providerId="ADAL" clId="{7D997690-04A4-4675-83D7-2E1CC2ED1A4E}" dt="2020-03-24T13:55:39.188" v="1490"/>
          <ac:cxnSpMkLst>
            <pc:docMk/>
            <pc:sldMk cId="4117970720" sldId="2076136647"/>
            <ac:cxnSpMk id="268" creationId="{5E56B7F1-AD27-4C08-A270-F4AA4CAC7A34}"/>
          </ac:cxnSpMkLst>
        </pc:cxnChg>
        <pc:cxnChg chg="add del">
          <ac:chgData name="Renata Festa" userId="6f22df47-533b-4c2a-a3c1-7f9ad1d63e10" providerId="ADAL" clId="{7D997690-04A4-4675-83D7-2E1CC2ED1A4E}" dt="2020-03-24T13:55:39.188" v="1490"/>
          <ac:cxnSpMkLst>
            <pc:docMk/>
            <pc:sldMk cId="4117970720" sldId="2076136647"/>
            <ac:cxnSpMk id="271" creationId="{EF449849-999D-4460-8E0B-A906492D0E53}"/>
          </ac:cxnSpMkLst>
        </pc:cxnChg>
        <pc:cxnChg chg="add del">
          <ac:chgData name="Renata Festa" userId="6f22df47-533b-4c2a-a3c1-7f9ad1d63e10" providerId="ADAL" clId="{7D997690-04A4-4675-83D7-2E1CC2ED1A4E}" dt="2020-03-24T13:55:39.188" v="1490"/>
          <ac:cxnSpMkLst>
            <pc:docMk/>
            <pc:sldMk cId="4117970720" sldId="2076136647"/>
            <ac:cxnSpMk id="272" creationId="{CD22773D-6DC4-4C07-96C9-0E5E2C10196A}"/>
          </ac:cxnSpMkLst>
        </pc:cxnChg>
        <pc:cxnChg chg="add del">
          <ac:chgData name="Renata Festa" userId="6f22df47-533b-4c2a-a3c1-7f9ad1d63e10" providerId="ADAL" clId="{7D997690-04A4-4675-83D7-2E1CC2ED1A4E}" dt="2020-03-24T13:55:39.188" v="1490"/>
          <ac:cxnSpMkLst>
            <pc:docMk/>
            <pc:sldMk cId="4117970720" sldId="2076136647"/>
            <ac:cxnSpMk id="273" creationId="{A5DB2AD5-C32B-4639-AADA-1AD6AB965A89}"/>
          </ac:cxnSpMkLst>
        </pc:cxnChg>
        <pc:cxnChg chg="add del">
          <ac:chgData name="Renata Festa" userId="6f22df47-533b-4c2a-a3c1-7f9ad1d63e10" providerId="ADAL" clId="{7D997690-04A4-4675-83D7-2E1CC2ED1A4E}" dt="2020-03-24T13:55:39.188" v="1490"/>
          <ac:cxnSpMkLst>
            <pc:docMk/>
            <pc:sldMk cId="4117970720" sldId="2076136647"/>
            <ac:cxnSpMk id="280" creationId="{6DDFED70-3514-4969-BBA1-36D678A71640}"/>
          </ac:cxnSpMkLst>
        </pc:cxnChg>
        <pc:cxnChg chg="add del">
          <ac:chgData name="Renata Festa" userId="6f22df47-533b-4c2a-a3c1-7f9ad1d63e10" providerId="ADAL" clId="{7D997690-04A4-4675-83D7-2E1CC2ED1A4E}" dt="2020-03-24T13:55:39.188" v="1490"/>
          <ac:cxnSpMkLst>
            <pc:docMk/>
            <pc:sldMk cId="4117970720" sldId="2076136647"/>
            <ac:cxnSpMk id="283" creationId="{A8ECB21F-04A2-4E13-8D08-DAB87F1885B2}"/>
          </ac:cxnSpMkLst>
        </pc:cxnChg>
        <pc:cxnChg chg="add del">
          <ac:chgData name="Renata Festa" userId="6f22df47-533b-4c2a-a3c1-7f9ad1d63e10" providerId="ADAL" clId="{7D997690-04A4-4675-83D7-2E1CC2ED1A4E}" dt="2020-03-24T13:55:39.188" v="1490"/>
          <ac:cxnSpMkLst>
            <pc:docMk/>
            <pc:sldMk cId="4117970720" sldId="2076136647"/>
            <ac:cxnSpMk id="285" creationId="{F3F8A1DD-54C8-4623-B994-B4E3B65FC775}"/>
          </ac:cxnSpMkLst>
        </pc:cxnChg>
        <pc:cxnChg chg="add del">
          <ac:chgData name="Renata Festa" userId="6f22df47-533b-4c2a-a3c1-7f9ad1d63e10" providerId="ADAL" clId="{7D997690-04A4-4675-83D7-2E1CC2ED1A4E}" dt="2020-03-24T13:55:39.188" v="1490"/>
          <ac:cxnSpMkLst>
            <pc:docMk/>
            <pc:sldMk cId="4117970720" sldId="2076136647"/>
            <ac:cxnSpMk id="330" creationId="{4DFFCDEF-B43E-426A-9BE4-15DC9F9C56C3}"/>
          </ac:cxnSpMkLst>
        </pc:cxnChg>
        <pc:cxnChg chg="add del">
          <ac:chgData name="Renata Festa" userId="6f22df47-533b-4c2a-a3c1-7f9ad1d63e10" providerId="ADAL" clId="{7D997690-04A4-4675-83D7-2E1CC2ED1A4E}" dt="2020-03-24T13:55:39.188" v="1490"/>
          <ac:cxnSpMkLst>
            <pc:docMk/>
            <pc:sldMk cId="4117970720" sldId="2076136647"/>
            <ac:cxnSpMk id="331" creationId="{79036C52-3C8A-43E3-BD42-AA9E3C5B0CC7}"/>
          </ac:cxnSpMkLst>
        </pc:cxnChg>
        <pc:cxnChg chg="add del">
          <ac:chgData name="Renata Festa" userId="6f22df47-533b-4c2a-a3c1-7f9ad1d63e10" providerId="ADAL" clId="{7D997690-04A4-4675-83D7-2E1CC2ED1A4E}" dt="2020-03-24T13:55:39.188" v="1490"/>
          <ac:cxnSpMkLst>
            <pc:docMk/>
            <pc:sldMk cId="4117970720" sldId="2076136647"/>
            <ac:cxnSpMk id="332" creationId="{5A02FD37-FFDB-4B38-AD5D-3FE2FFAF6246}"/>
          </ac:cxnSpMkLst>
        </pc:cxnChg>
        <pc:cxnChg chg="add mod">
          <ac:chgData name="Renata Festa" userId="6f22df47-533b-4c2a-a3c1-7f9ad1d63e10" providerId="ADAL" clId="{7D997690-04A4-4675-83D7-2E1CC2ED1A4E}" dt="2020-03-24T13:55:50.487" v="1492" actId="1076"/>
          <ac:cxnSpMkLst>
            <pc:docMk/>
            <pc:sldMk cId="4117970720" sldId="2076136647"/>
            <ac:cxnSpMk id="352" creationId="{7F794944-617B-41D7-B06A-516B5E1E4168}"/>
          </ac:cxnSpMkLst>
        </pc:cxnChg>
        <pc:cxnChg chg="add mod">
          <ac:chgData name="Renata Festa" userId="6f22df47-533b-4c2a-a3c1-7f9ad1d63e10" providerId="ADAL" clId="{7D997690-04A4-4675-83D7-2E1CC2ED1A4E}" dt="2020-03-24T13:55:50.487" v="1492" actId="1076"/>
          <ac:cxnSpMkLst>
            <pc:docMk/>
            <pc:sldMk cId="4117970720" sldId="2076136647"/>
            <ac:cxnSpMk id="353" creationId="{479114BF-3495-43F9-ADB8-0E51AEC42277}"/>
          </ac:cxnSpMkLst>
        </pc:cxnChg>
        <pc:cxnChg chg="add mod">
          <ac:chgData name="Renata Festa" userId="6f22df47-533b-4c2a-a3c1-7f9ad1d63e10" providerId="ADAL" clId="{7D997690-04A4-4675-83D7-2E1CC2ED1A4E}" dt="2020-03-24T13:55:50.487" v="1492" actId="1076"/>
          <ac:cxnSpMkLst>
            <pc:docMk/>
            <pc:sldMk cId="4117970720" sldId="2076136647"/>
            <ac:cxnSpMk id="373" creationId="{ABDC092F-2D4F-4FF1-8C3E-1AC8948F4C5A}"/>
          </ac:cxnSpMkLst>
        </pc:cxnChg>
        <pc:cxnChg chg="add mod">
          <ac:chgData name="Renata Festa" userId="6f22df47-533b-4c2a-a3c1-7f9ad1d63e10" providerId="ADAL" clId="{7D997690-04A4-4675-83D7-2E1CC2ED1A4E}" dt="2020-03-24T13:55:50.487" v="1492" actId="1076"/>
          <ac:cxnSpMkLst>
            <pc:docMk/>
            <pc:sldMk cId="4117970720" sldId="2076136647"/>
            <ac:cxnSpMk id="378" creationId="{02ACA5C1-C7E3-4A12-97B3-3C0E2055A24A}"/>
          </ac:cxnSpMkLst>
        </pc:cxnChg>
        <pc:cxnChg chg="add mod">
          <ac:chgData name="Renata Festa" userId="6f22df47-533b-4c2a-a3c1-7f9ad1d63e10" providerId="ADAL" clId="{7D997690-04A4-4675-83D7-2E1CC2ED1A4E}" dt="2020-03-24T13:55:50.487" v="1492" actId="1076"/>
          <ac:cxnSpMkLst>
            <pc:docMk/>
            <pc:sldMk cId="4117970720" sldId="2076136647"/>
            <ac:cxnSpMk id="381" creationId="{63EDA449-3A35-4604-9DB3-4E80A9911614}"/>
          </ac:cxnSpMkLst>
        </pc:cxnChg>
        <pc:cxnChg chg="add mod">
          <ac:chgData name="Renata Festa" userId="6f22df47-533b-4c2a-a3c1-7f9ad1d63e10" providerId="ADAL" clId="{7D997690-04A4-4675-83D7-2E1CC2ED1A4E}" dt="2020-03-24T13:55:50.487" v="1492" actId="1076"/>
          <ac:cxnSpMkLst>
            <pc:docMk/>
            <pc:sldMk cId="4117970720" sldId="2076136647"/>
            <ac:cxnSpMk id="382" creationId="{6432E6ED-C9E9-4333-A0DA-0772A412A03B}"/>
          </ac:cxnSpMkLst>
        </pc:cxnChg>
        <pc:cxnChg chg="add mod">
          <ac:chgData name="Renata Festa" userId="6f22df47-533b-4c2a-a3c1-7f9ad1d63e10" providerId="ADAL" clId="{7D997690-04A4-4675-83D7-2E1CC2ED1A4E}" dt="2020-03-24T13:55:50.487" v="1492" actId="1076"/>
          <ac:cxnSpMkLst>
            <pc:docMk/>
            <pc:sldMk cId="4117970720" sldId="2076136647"/>
            <ac:cxnSpMk id="383" creationId="{BCD026D3-2B3F-4593-8DE8-5997D15259F0}"/>
          </ac:cxnSpMkLst>
        </pc:cxnChg>
        <pc:cxnChg chg="add mod">
          <ac:chgData name="Renata Festa" userId="6f22df47-533b-4c2a-a3c1-7f9ad1d63e10" providerId="ADAL" clId="{7D997690-04A4-4675-83D7-2E1CC2ED1A4E}" dt="2020-03-24T13:56:39.911" v="1580" actId="1036"/>
          <ac:cxnSpMkLst>
            <pc:docMk/>
            <pc:sldMk cId="4117970720" sldId="2076136647"/>
            <ac:cxnSpMk id="390" creationId="{A33FB4D5-D8AD-4D1F-AA55-72263227CC2D}"/>
          </ac:cxnSpMkLst>
        </pc:cxnChg>
        <pc:cxnChg chg="add mod">
          <ac:chgData name="Renata Festa" userId="6f22df47-533b-4c2a-a3c1-7f9ad1d63e10" providerId="ADAL" clId="{7D997690-04A4-4675-83D7-2E1CC2ED1A4E}" dt="2020-03-24T13:56:39.911" v="1580" actId="1036"/>
          <ac:cxnSpMkLst>
            <pc:docMk/>
            <pc:sldMk cId="4117970720" sldId="2076136647"/>
            <ac:cxnSpMk id="393" creationId="{FDD6A0EF-B2C7-49ED-BDC2-5AE66DDC99F1}"/>
          </ac:cxnSpMkLst>
        </pc:cxnChg>
        <pc:cxnChg chg="add mod">
          <ac:chgData name="Renata Festa" userId="6f22df47-533b-4c2a-a3c1-7f9ad1d63e10" providerId="ADAL" clId="{7D997690-04A4-4675-83D7-2E1CC2ED1A4E}" dt="2020-03-24T13:55:50.487" v="1492" actId="1076"/>
          <ac:cxnSpMkLst>
            <pc:docMk/>
            <pc:sldMk cId="4117970720" sldId="2076136647"/>
            <ac:cxnSpMk id="395" creationId="{BD946D6B-3311-41F6-9BED-32E8E1A7CEF4}"/>
          </ac:cxnSpMkLst>
        </pc:cxnChg>
        <pc:cxnChg chg="add mod">
          <ac:chgData name="Renata Festa" userId="6f22df47-533b-4c2a-a3c1-7f9ad1d63e10" providerId="ADAL" clId="{7D997690-04A4-4675-83D7-2E1CC2ED1A4E}" dt="2020-03-24T13:55:50.487" v="1492" actId="1076"/>
          <ac:cxnSpMkLst>
            <pc:docMk/>
            <pc:sldMk cId="4117970720" sldId="2076136647"/>
            <ac:cxnSpMk id="440" creationId="{172D55A7-F8E6-4D75-BBF8-4BF6ECBEED91}"/>
          </ac:cxnSpMkLst>
        </pc:cxnChg>
        <pc:cxnChg chg="add mod">
          <ac:chgData name="Renata Festa" userId="6f22df47-533b-4c2a-a3c1-7f9ad1d63e10" providerId="ADAL" clId="{7D997690-04A4-4675-83D7-2E1CC2ED1A4E}" dt="2020-03-24T13:55:50.487" v="1492" actId="1076"/>
          <ac:cxnSpMkLst>
            <pc:docMk/>
            <pc:sldMk cId="4117970720" sldId="2076136647"/>
            <ac:cxnSpMk id="441" creationId="{517CD353-EC74-4788-A5B9-2F5ECF68BFC8}"/>
          </ac:cxnSpMkLst>
        </pc:cxnChg>
        <pc:cxnChg chg="add mod">
          <ac:chgData name="Renata Festa" userId="6f22df47-533b-4c2a-a3c1-7f9ad1d63e10" providerId="ADAL" clId="{7D997690-04A4-4675-83D7-2E1CC2ED1A4E}" dt="2020-03-24T13:55:50.487" v="1492" actId="1076"/>
          <ac:cxnSpMkLst>
            <pc:docMk/>
            <pc:sldMk cId="4117970720" sldId="2076136647"/>
            <ac:cxnSpMk id="442" creationId="{BDC9842B-413F-482A-B5C2-58CE2A607C96}"/>
          </ac:cxnSpMkLst>
        </pc:cxnChg>
      </pc:sldChg>
      <pc:sldChg chg="addSp delSp modSp add mod modAnim modShow">
        <pc:chgData name="Renata Festa" userId="6f22df47-533b-4c2a-a3c1-7f9ad1d63e10" providerId="ADAL" clId="{7D997690-04A4-4675-83D7-2E1CC2ED1A4E}" dt="2020-03-24T14:01:23.079" v="1643" actId="729"/>
        <pc:sldMkLst>
          <pc:docMk/>
          <pc:sldMk cId="3912474819" sldId="2076136648"/>
        </pc:sldMkLst>
        <pc:spChg chg="mod">
          <ac:chgData name="Renata Festa" userId="6f22df47-533b-4c2a-a3c1-7f9ad1d63e10" providerId="ADAL" clId="{7D997690-04A4-4675-83D7-2E1CC2ED1A4E}" dt="2020-03-24T13:57:06.136" v="1582"/>
          <ac:spMkLst>
            <pc:docMk/>
            <pc:sldMk cId="3912474819" sldId="2076136648"/>
            <ac:spMk id="2" creationId="{EB67312A-9819-43C6-8D84-D9136E6CFFCC}"/>
          </ac:spMkLst>
        </pc:spChg>
        <pc:spChg chg="del">
          <ac:chgData name="Renata Festa" userId="6f22df47-533b-4c2a-a3c1-7f9ad1d63e10" providerId="ADAL" clId="{7D997690-04A4-4675-83D7-2E1CC2ED1A4E}" dt="2020-03-24T13:58:56.118" v="1605" actId="478"/>
          <ac:spMkLst>
            <pc:docMk/>
            <pc:sldMk cId="3912474819" sldId="2076136648"/>
            <ac:spMk id="3" creationId="{F35E8CBB-5A7D-4DEF-BAF7-8DD5D042F9E0}"/>
          </ac:spMkLst>
        </pc:spChg>
        <pc:spChg chg="del">
          <ac:chgData name="Renata Festa" userId="6f22df47-533b-4c2a-a3c1-7f9ad1d63e10" providerId="ADAL" clId="{7D997690-04A4-4675-83D7-2E1CC2ED1A4E}" dt="2020-03-24T13:58:53.499" v="1604" actId="478"/>
          <ac:spMkLst>
            <pc:docMk/>
            <pc:sldMk cId="3912474819" sldId="2076136648"/>
            <ac:spMk id="4" creationId="{F3616A99-090F-45E1-9334-58D58B148205}"/>
          </ac:spMkLst>
        </pc:spChg>
        <pc:spChg chg="add del mod">
          <ac:chgData name="Renata Festa" userId="6f22df47-533b-4c2a-a3c1-7f9ad1d63e10" providerId="ADAL" clId="{7D997690-04A4-4675-83D7-2E1CC2ED1A4E}" dt="2020-03-24T13:57:43.493" v="1588"/>
          <ac:spMkLst>
            <pc:docMk/>
            <pc:sldMk cId="3912474819" sldId="2076136648"/>
            <ac:spMk id="5" creationId="{25E0B0F9-D228-4A79-847F-5E057FB433C5}"/>
          </ac:spMkLst>
        </pc:spChg>
        <pc:spChg chg="add del mod">
          <ac:chgData name="Renata Festa" userId="6f22df47-533b-4c2a-a3c1-7f9ad1d63e10" providerId="ADAL" clId="{7D997690-04A4-4675-83D7-2E1CC2ED1A4E}" dt="2020-03-24T13:57:43.493" v="1588"/>
          <ac:spMkLst>
            <pc:docMk/>
            <pc:sldMk cId="3912474819" sldId="2076136648"/>
            <ac:spMk id="6" creationId="{CCB03E6F-C9DB-4973-B940-08D020FF3D10}"/>
          </ac:spMkLst>
        </pc:spChg>
        <pc:spChg chg="add del mod">
          <ac:chgData name="Renata Festa" userId="6f22df47-533b-4c2a-a3c1-7f9ad1d63e10" providerId="ADAL" clId="{7D997690-04A4-4675-83D7-2E1CC2ED1A4E}" dt="2020-03-24T13:57:43.493" v="1588"/>
          <ac:spMkLst>
            <pc:docMk/>
            <pc:sldMk cId="3912474819" sldId="2076136648"/>
            <ac:spMk id="7" creationId="{A7AD2336-88D5-469B-AE20-0898A97882B3}"/>
          </ac:spMkLst>
        </pc:spChg>
        <pc:spChg chg="add del mod">
          <ac:chgData name="Renata Festa" userId="6f22df47-533b-4c2a-a3c1-7f9ad1d63e10" providerId="ADAL" clId="{7D997690-04A4-4675-83D7-2E1CC2ED1A4E}" dt="2020-03-24T13:57:43.493" v="1588"/>
          <ac:spMkLst>
            <pc:docMk/>
            <pc:sldMk cId="3912474819" sldId="2076136648"/>
            <ac:spMk id="8" creationId="{B187A8CD-20C9-4AED-813C-E4386FC4B1BF}"/>
          </ac:spMkLst>
        </pc:spChg>
        <pc:spChg chg="add del mod">
          <ac:chgData name="Renata Festa" userId="6f22df47-533b-4c2a-a3c1-7f9ad1d63e10" providerId="ADAL" clId="{7D997690-04A4-4675-83D7-2E1CC2ED1A4E}" dt="2020-03-24T13:57:43.493" v="1588"/>
          <ac:spMkLst>
            <pc:docMk/>
            <pc:sldMk cId="3912474819" sldId="2076136648"/>
            <ac:spMk id="10" creationId="{F63EB241-BCA7-455A-B3B5-03523FE4DDCE}"/>
          </ac:spMkLst>
        </pc:spChg>
        <pc:spChg chg="add del mod">
          <ac:chgData name="Renata Festa" userId="6f22df47-533b-4c2a-a3c1-7f9ad1d63e10" providerId="ADAL" clId="{7D997690-04A4-4675-83D7-2E1CC2ED1A4E}" dt="2020-03-24T13:57:43.493" v="1588"/>
          <ac:spMkLst>
            <pc:docMk/>
            <pc:sldMk cId="3912474819" sldId="2076136648"/>
            <ac:spMk id="12" creationId="{AE32DE89-2ABE-4D28-9069-68C3C258EF0A}"/>
          </ac:spMkLst>
        </pc:spChg>
        <pc:spChg chg="add del mod">
          <ac:chgData name="Renata Festa" userId="6f22df47-533b-4c2a-a3c1-7f9ad1d63e10" providerId="ADAL" clId="{7D997690-04A4-4675-83D7-2E1CC2ED1A4E}" dt="2020-03-24T13:57:43.493" v="1588"/>
          <ac:spMkLst>
            <pc:docMk/>
            <pc:sldMk cId="3912474819" sldId="2076136648"/>
            <ac:spMk id="13" creationId="{1C1F0622-359F-4BC1-A6E4-E1186C4FFE49}"/>
          </ac:spMkLst>
        </pc:spChg>
        <pc:spChg chg="add del mod">
          <ac:chgData name="Renata Festa" userId="6f22df47-533b-4c2a-a3c1-7f9ad1d63e10" providerId="ADAL" clId="{7D997690-04A4-4675-83D7-2E1CC2ED1A4E}" dt="2020-03-24T13:57:43.493" v="1588"/>
          <ac:spMkLst>
            <pc:docMk/>
            <pc:sldMk cId="3912474819" sldId="2076136648"/>
            <ac:spMk id="14" creationId="{D3E321ED-3C79-435F-B0A4-E04B8B3A6ACA}"/>
          </ac:spMkLst>
        </pc:spChg>
        <pc:spChg chg="add del mod">
          <ac:chgData name="Renata Festa" userId="6f22df47-533b-4c2a-a3c1-7f9ad1d63e10" providerId="ADAL" clId="{7D997690-04A4-4675-83D7-2E1CC2ED1A4E}" dt="2020-03-24T13:57:43.493" v="1588"/>
          <ac:spMkLst>
            <pc:docMk/>
            <pc:sldMk cId="3912474819" sldId="2076136648"/>
            <ac:spMk id="15" creationId="{777EC066-C91C-497F-AA66-5A0A28B0892A}"/>
          </ac:spMkLst>
        </pc:spChg>
        <pc:spChg chg="add del mod">
          <ac:chgData name="Renata Festa" userId="6f22df47-533b-4c2a-a3c1-7f9ad1d63e10" providerId="ADAL" clId="{7D997690-04A4-4675-83D7-2E1CC2ED1A4E}" dt="2020-03-24T13:57:43.493" v="1588"/>
          <ac:spMkLst>
            <pc:docMk/>
            <pc:sldMk cId="3912474819" sldId="2076136648"/>
            <ac:spMk id="16" creationId="{8CE764D4-7A90-4394-B463-EDB4963A175E}"/>
          </ac:spMkLst>
        </pc:spChg>
        <pc:spChg chg="add del mod">
          <ac:chgData name="Renata Festa" userId="6f22df47-533b-4c2a-a3c1-7f9ad1d63e10" providerId="ADAL" clId="{7D997690-04A4-4675-83D7-2E1CC2ED1A4E}" dt="2020-03-24T13:57:43.493" v="1588"/>
          <ac:spMkLst>
            <pc:docMk/>
            <pc:sldMk cId="3912474819" sldId="2076136648"/>
            <ac:spMk id="20" creationId="{12806AF4-0CA0-4A7E-9BB4-8D19A6FBDD7A}"/>
          </ac:spMkLst>
        </pc:spChg>
        <pc:spChg chg="add del mod">
          <ac:chgData name="Renata Festa" userId="6f22df47-533b-4c2a-a3c1-7f9ad1d63e10" providerId="ADAL" clId="{7D997690-04A4-4675-83D7-2E1CC2ED1A4E}" dt="2020-03-24T13:57:43.493" v="1588"/>
          <ac:spMkLst>
            <pc:docMk/>
            <pc:sldMk cId="3912474819" sldId="2076136648"/>
            <ac:spMk id="21" creationId="{4B1FC7A7-1C67-4E59-963B-B1FA01D765FC}"/>
          </ac:spMkLst>
        </pc:spChg>
        <pc:spChg chg="add del mod">
          <ac:chgData name="Renata Festa" userId="6f22df47-533b-4c2a-a3c1-7f9ad1d63e10" providerId="ADAL" clId="{7D997690-04A4-4675-83D7-2E1CC2ED1A4E}" dt="2020-03-24T13:57:43.493" v="1588"/>
          <ac:spMkLst>
            <pc:docMk/>
            <pc:sldMk cId="3912474819" sldId="2076136648"/>
            <ac:spMk id="22" creationId="{50E53BB2-24B4-4E88-BAAA-A24B5EE59D62}"/>
          </ac:spMkLst>
        </pc:spChg>
        <pc:spChg chg="add del mod">
          <ac:chgData name="Renata Festa" userId="6f22df47-533b-4c2a-a3c1-7f9ad1d63e10" providerId="ADAL" clId="{7D997690-04A4-4675-83D7-2E1CC2ED1A4E}" dt="2020-03-24T13:57:43.493" v="1588"/>
          <ac:spMkLst>
            <pc:docMk/>
            <pc:sldMk cId="3912474819" sldId="2076136648"/>
            <ac:spMk id="23" creationId="{E3998158-125B-4B10-9A52-A2D4C95A26B3}"/>
          </ac:spMkLst>
        </pc:spChg>
        <pc:spChg chg="add del mod">
          <ac:chgData name="Renata Festa" userId="6f22df47-533b-4c2a-a3c1-7f9ad1d63e10" providerId="ADAL" clId="{7D997690-04A4-4675-83D7-2E1CC2ED1A4E}" dt="2020-03-24T13:57:43.493" v="1588"/>
          <ac:spMkLst>
            <pc:docMk/>
            <pc:sldMk cId="3912474819" sldId="2076136648"/>
            <ac:spMk id="24" creationId="{54093D5D-3C29-4C4F-9C0E-15ECA33DCCD0}"/>
          </ac:spMkLst>
        </pc:spChg>
        <pc:spChg chg="add del mod">
          <ac:chgData name="Renata Festa" userId="6f22df47-533b-4c2a-a3c1-7f9ad1d63e10" providerId="ADAL" clId="{7D997690-04A4-4675-83D7-2E1CC2ED1A4E}" dt="2020-03-24T13:57:43.493" v="1588"/>
          <ac:spMkLst>
            <pc:docMk/>
            <pc:sldMk cId="3912474819" sldId="2076136648"/>
            <ac:spMk id="25" creationId="{9D9234D0-5889-45EE-A769-ACE96B33A6F5}"/>
          </ac:spMkLst>
        </pc:spChg>
        <pc:spChg chg="add del mod">
          <ac:chgData name="Renata Festa" userId="6f22df47-533b-4c2a-a3c1-7f9ad1d63e10" providerId="ADAL" clId="{7D997690-04A4-4675-83D7-2E1CC2ED1A4E}" dt="2020-03-24T13:57:43.493" v="1588"/>
          <ac:spMkLst>
            <pc:docMk/>
            <pc:sldMk cId="3912474819" sldId="2076136648"/>
            <ac:spMk id="29" creationId="{7FA37B4A-9146-4C69-8FAA-D182C812FD7A}"/>
          </ac:spMkLst>
        </pc:spChg>
        <pc:spChg chg="add mod">
          <ac:chgData name="Renata Festa" userId="6f22df47-533b-4c2a-a3c1-7f9ad1d63e10" providerId="ADAL" clId="{7D997690-04A4-4675-83D7-2E1CC2ED1A4E}" dt="2020-03-24T13:58:30.530" v="1603" actId="1035"/>
          <ac:spMkLst>
            <pc:docMk/>
            <pc:sldMk cId="3912474819" sldId="2076136648"/>
            <ac:spMk id="30" creationId="{20FE8C2F-F098-4EF9-8B29-D1D41FC3A0E3}"/>
          </ac:spMkLst>
        </pc:spChg>
        <pc:spChg chg="add mod">
          <ac:chgData name="Renata Festa" userId="6f22df47-533b-4c2a-a3c1-7f9ad1d63e10" providerId="ADAL" clId="{7D997690-04A4-4675-83D7-2E1CC2ED1A4E}" dt="2020-03-24T13:58:30.530" v="1603" actId="1035"/>
          <ac:spMkLst>
            <pc:docMk/>
            <pc:sldMk cId="3912474819" sldId="2076136648"/>
            <ac:spMk id="31" creationId="{2BDEE49F-CDC6-4582-AE14-DC0F5672DF07}"/>
          </ac:spMkLst>
        </pc:spChg>
        <pc:spChg chg="add">
          <ac:chgData name="Renata Festa" userId="6f22df47-533b-4c2a-a3c1-7f9ad1d63e10" providerId="ADAL" clId="{7D997690-04A4-4675-83D7-2E1CC2ED1A4E}" dt="2020-03-24T13:57:45.844" v="1589"/>
          <ac:spMkLst>
            <pc:docMk/>
            <pc:sldMk cId="3912474819" sldId="2076136648"/>
            <ac:spMk id="32" creationId="{4B9ED7AD-7B2B-4BF4-B5C5-CD2183D9B9E3}"/>
          </ac:spMkLst>
        </pc:spChg>
        <pc:spChg chg="add mod">
          <ac:chgData name="Renata Festa" userId="6f22df47-533b-4c2a-a3c1-7f9ad1d63e10" providerId="ADAL" clId="{7D997690-04A4-4675-83D7-2E1CC2ED1A4E}" dt="2020-03-24T13:58:17.099" v="1599" actId="1035"/>
          <ac:spMkLst>
            <pc:docMk/>
            <pc:sldMk cId="3912474819" sldId="2076136648"/>
            <ac:spMk id="33" creationId="{2279A206-F057-495E-89CB-D6ACC05C63AC}"/>
          </ac:spMkLst>
        </pc:spChg>
        <pc:spChg chg="add">
          <ac:chgData name="Renata Festa" userId="6f22df47-533b-4c2a-a3c1-7f9ad1d63e10" providerId="ADAL" clId="{7D997690-04A4-4675-83D7-2E1CC2ED1A4E}" dt="2020-03-24T13:57:45.844" v="1589"/>
          <ac:spMkLst>
            <pc:docMk/>
            <pc:sldMk cId="3912474819" sldId="2076136648"/>
            <ac:spMk id="35" creationId="{8C8FC641-E600-4ADC-BCAF-6686E25C966F}"/>
          </ac:spMkLst>
        </pc:spChg>
        <pc:spChg chg="add mod">
          <ac:chgData name="Renata Festa" userId="6f22df47-533b-4c2a-a3c1-7f9ad1d63e10" providerId="ADAL" clId="{7D997690-04A4-4675-83D7-2E1CC2ED1A4E}" dt="2020-03-24T13:58:30.530" v="1603" actId="1035"/>
          <ac:spMkLst>
            <pc:docMk/>
            <pc:sldMk cId="3912474819" sldId="2076136648"/>
            <ac:spMk id="37" creationId="{25E2F294-BAE0-4A9F-9636-DD939DFFF644}"/>
          </ac:spMkLst>
        </pc:spChg>
        <pc:spChg chg="add mod">
          <ac:chgData name="Renata Festa" userId="6f22df47-533b-4c2a-a3c1-7f9ad1d63e10" providerId="ADAL" clId="{7D997690-04A4-4675-83D7-2E1CC2ED1A4E}" dt="2020-03-24T13:58:30.530" v="1603" actId="1035"/>
          <ac:spMkLst>
            <pc:docMk/>
            <pc:sldMk cId="3912474819" sldId="2076136648"/>
            <ac:spMk id="38" creationId="{DD0CD82C-9AD9-4793-8106-D52B17E2A820}"/>
          </ac:spMkLst>
        </pc:spChg>
        <pc:spChg chg="add mod">
          <ac:chgData name="Renata Festa" userId="6f22df47-533b-4c2a-a3c1-7f9ad1d63e10" providerId="ADAL" clId="{7D997690-04A4-4675-83D7-2E1CC2ED1A4E}" dt="2020-03-24T13:58:30.530" v="1603" actId="1035"/>
          <ac:spMkLst>
            <pc:docMk/>
            <pc:sldMk cId="3912474819" sldId="2076136648"/>
            <ac:spMk id="39" creationId="{4FF91FB2-420D-4B07-A8A6-882D9363A241}"/>
          </ac:spMkLst>
        </pc:spChg>
        <pc:spChg chg="add mod">
          <ac:chgData name="Renata Festa" userId="6f22df47-533b-4c2a-a3c1-7f9ad1d63e10" providerId="ADAL" clId="{7D997690-04A4-4675-83D7-2E1CC2ED1A4E}" dt="2020-03-24T13:57:58.491" v="1593" actId="1076"/>
          <ac:spMkLst>
            <pc:docMk/>
            <pc:sldMk cId="3912474819" sldId="2076136648"/>
            <ac:spMk id="40" creationId="{F328055E-C54D-4BDD-924C-45CCF30FDE64}"/>
          </ac:spMkLst>
        </pc:spChg>
        <pc:spChg chg="add mod">
          <ac:chgData name="Renata Festa" userId="6f22df47-533b-4c2a-a3c1-7f9ad1d63e10" providerId="ADAL" clId="{7D997690-04A4-4675-83D7-2E1CC2ED1A4E}" dt="2020-03-24T13:58:25.925" v="1601" actId="1035"/>
          <ac:spMkLst>
            <pc:docMk/>
            <pc:sldMk cId="3912474819" sldId="2076136648"/>
            <ac:spMk id="41" creationId="{CAFEC835-E896-438A-BEFD-373C53A29909}"/>
          </ac:spMkLst>
        </pc:spChg>
        <pc:spChg chg="add">
          <ac:chgData name="Renata Festa" userId="6f22df47-533b-4c2a-a3c1-7f9ad1d63e10" providerId="ADAL" clId="{7D997690-04A4-4675-83D7-2E1CC2ED1A4E}" dt="2020-03-24T13:57:45.844" v="1589"/>
          <ac:spMkLst>
            <pc:docMk/>
            <pc:sldMk cId="3912474819" sldId="2076136648"/>
            <ac:spMk id="45" creationId="{32BD41BB-B1CC-4E30-8EB7-B5735E64530A}"/>
          </ac:spMkLst>
        </pc:spChg>
        <pc:spChg chg="add">
          <ac:chgData name="Renata Festa" userId="6f22df47-533b-4c2a-a3c1-7f9ad1d63e10" providerId="ADAL" clId="{7D997690-04A4-4675-83D7-2E1CC2ED1A4E}" dt="2020-03-24T13:57:45.844" v="1589"/>
          <ac:spMkLst>
            <pc:docMk/>
            <pc:sldMk cId="3912474819" sldId="2076136648"/>
            <ac:spMk id="46" creationId="{96B2AD80-DCB3-4B93-8019-C0BC6EE7F759}"/>
          </ac:spMkLst>
        </pc:spChg>
        <pc:spChg chg="add">
          <ac:chgData name="Renata Festa" userId="6f22df47-533b-4c2a-a3c1-7f9ad1d63e10" providerId="ADAL" clId="{7D997690-04A4-4675-83D7-2E1CC2ED1A4E}" dt="2020-03-24T13:57:45.844" v="1589"/>
          <ac:spMkLst>
            <pc:docMk/>
            <pc:sldMk cId="3912474819" sldId="2076136648"/>
            <ac:spMk id="47" creationId="{35DB58E8-771A-49A3-9E4A-BA5A11EAD6D5}"/>
          </ac:spMkLst>
        </pc:spChg>
        <pc:spChg chg="add mod">
          <ac:chgData name="Renata Festa" userId="6f22df47-533b-4c2a-a3c1-7f9ad1d63e10" providerId="ADAL" clId="{7D997690-04A4-4675-83D7-2E1CC2ED1A4E}" dt="2020-03-24T13:58:30.530" v="1603" actId="1035"/>
          <ac:spMkLst>
            <pc:docMk/>
            <pc:sldMk cId="3912474819" sldId="2076136648"/>
            <ac:spMk id="48" creationId="{B01364BC-ED4B-4082-AA0A-36E14785331E}"/>
          </ac:spMkLst>
        </pc:spChg>
        <pc:spChg chg="add mod">
          <ac:chgData name="Renata Festa" userId="6f22df47-533b-4c2a-a3c1-7f9ad1d63e10" providerId="ADAL" clId="{7D997690-04A4-4675-83D7-2E1CC2ED1A4E}" dt="2020-03-24T13:58:30.530" v="1603" actId="1035"/>
          <ac:spMkLst>
            <pc:docMk/>
            <pc:sldMk cId="3912474819" sldId="2076136648"/>
            <ac:spMk id="49" creationId="{F39D143D-E8EB-46A7-902A-E173B9DAC06A}"/>
          </ac:spMkLst>
        </pc:spChg>
        <pc:spChg chg="add mod">
          <ac:chgData name="Renata Festa" userId="6f22df47-533b-4c2a-a3c1-7f9ad1d63e10" providerId="ADAL" clId="{7D997690-04A4-4675-83D7-2E1CC2ED1A4E}" dt="2020-03-24T13:58:30.530" v="1603" actId="1035"/>
          <ac:spMkLst>
            <pc:docMk/>
            <pc:sldMk cId="3912474819" sldId="2076136648"/>
            <ac:spMk id="50" creationId="{0D406352-E44B-4461-B253-FEB5AAB5399B}"/>
          </ac:spMkLst>
        </pc:spChg>
        <pc:spChg chg="add mod">
          <ac:chgData name="Renata Festa" userId="6f22df47-533b-4c2a-a3c1-7f9ad1d63e10" providerId="ADAL" clId="{7D997690-04A4-4675-83D7-2E1CC2ED1A4E}" dt="2020-03-24T13:57:55.647" v="1591" actId="14100"/>
          <ac:spMkLst>
            <pc:docMk/>
            <pc:sldMk cId="3912474819" sldId="2076136648"/>
            <ac:spMk id="54" creationId="{D2666140-1842-489E-A63F-18AF0F32DF7A}"/>
          </ac:spMkLst>
        </pc:spChg>
        <pc:cxnChg chg="add del mod">
          <ac:chgData name="Renata Festa" userId="6f22df47-533b-4c2a-a3c1-7f9ad1d63e10" providerId="ADAL" clId="{7D997690-04A4-4675-83D7-2E1CC2ED1A4E}" dt="2020-03-24T13:57:43.493" v="1588"/>
          <ac:cxnSpMkLst>
            <pc:docMk/>
            <pc:sldMk cId="3912474819" sldId="2076136648"/>
            <ac:cxnSpMk id="9" creationId="{A6E6FE9B-8794-486A-B9B1-72BCFD6D6733}"/>
          </ac:cxnSpMkLst>
        </pc:cxnChg>
        <pc:cxnChg chg="add del mod">
          <ac:chgData name="Renata Festa" userId="6f22df47-533b-4c2a-a3c1-7f9ad1d63e10" providerId="ADAL" clId="{7D997690-04A4-4675-83D7-2E1CC2ED1A4E}" dt="2020-03-24T13:57:43.493" v="1588"/>
          <ac:cxnSpMkLst>
            <pc:docMk/>
            <pc:sldMk cId="3912474819" sldId="2076136648"/>
            <ac:cxnSpMk id="11" creationId="{983444F1-42A2-4983-895F-ADF355FBFC50}"/>
          </ac:cxnSpMkLst>
        </pc:cxnChg>
        <pc:cxnChg chg="add del mod">
          <ac:chgData name="Renata Festa" userId="6f22df47-533b-4c2a-a3c1-7f9ad1d63e10" providerId="ADAL" clId="{7D997690-04A4-4675-83D7-2E1CC2ED1A4E}" dt="2020-03-24T13:57:43.493" v="1588"/>
          <ac:cxnSpMkLst>
            <pc:docMk/>
            <pc:sldMk cId="3912474819" sldId="2076136648"/>
            <ac:cxnSpMk id="17" creationId="{9563DAE2-99DB-4248-96C1-774AE3E54547}"/>
          </ac:cxnSpMkLst>
        </pc:cxnChg>
        <pc:cxnChg chg="add del mod">
          <ac:chgData name="Renata Festa" userId="6f22df47-533b-4c2a-a3c1-7f9ad1d63e10" providerId="ADAL" clId="{7D997690-04A4-4675-83D7-2E1CC2ED1A4E}" dt="2020-03-24T13:57:43.493" v="1588"/>
          <ac:cxnSpMkLst>
            <pc:docMk/>
            <pc:sldMk cId="3912474819" sldId="2076136648"/>
            <ac:cxnSpMk id="18" creationId="{C1A26C5C-61C5-4A70-813C-95632845C7E6}"/>
          </ac:cxnSpMkLst>
        </pc:cxnChg>
        <pc:cxnChg chg="add del mod">
          <ac:chgData name="Renata Festa" userId="6f22df47-533b-4c2a-a3c1-7f9ad1d63e10" providerId="ADAL" clId="{7D997690-04A4-4675-83D7-2E1CC2ED1A4E}" dt="2020-03-24T13:57:43.493" v="1588"/>
          <ac:cxnSpMkLst>
            <pc:docMk/>
            <pc:sldMk cId="3912474819" sldId="2076136648"/>
            <ac:cxnSpMk id="19" creationId="{30F5E2BE-0ACA-4AAE-9993-BDC8297E709C}"/>
          </ac:cxnSpMkLst>
        </pc:cxnChg>
        <pc:cxnChg chg="add del mod">
          <ac:chgData name="Renata Festa" userId="6f22df47-533b-4c2a-a3c1-7f9ad1d63e10" providerId="ADAL" clId="{7D997690-04A4-4675-83D7-2E1CC2ED1A4E}" dt="2020-03-24T13:57:43.493" v="1588"/>
          <ac:cxnSpMkLst>
            <pc:docMk/>
            <pc:sldMk cId="3912474819" sldId="2076136648"/>
            <ac:cxnSpMk id="26" creationId="{AB5A8522-F2F5-4913-AE5E-BE4D335E6752}"/>
          </ac:cxnSpMkLst>
        </pc:cxnChg>
        <pc:cxnChg chg="add del mod">
          <ac:chgData name="Renata Festa" userId="6f22df47-533b-4c2a-a3c1-7f9ad1d63e10" providerId="ADAL" clId="{7D997690-04A4-4675-83D7-2E1CC2ED1A4E}" dt="2020-03-24T13:57:43.493" v="1588"/>
          <ac:cxnSpMkLst>
            <pc:docMk/>
            <pc:sldMk cId="3912474819" sldId="2076136648"/>
            <ac:cxnSpMk id="27" creationId="{0AEECB6C-E37C-4379-9EE5-C57EFEACD8D2}"/>
          </ac:cxnSpMkLst>
        </pc:cxnChg>
        <pc:cxnChg chg="add del mod">
          <ac:chgData name="Renata Festa" userId="6f22df47-533b-4c2a-a3c1-7f9ad1d63e10" providerId="ADAL" clId="{7D997690-04A4-4675-83D7-2E1CC2ED1A4E}" dt="2020-03-24T13:57:43.493" v="1588"/>
          <ac:cxnSpMkLst>
            <pc:docMk/>
            <pc:sldMk cId="3912474819" sldId="2076136648"/>
            <ac:cxnSpMk id="28" creationId="{7A6B8368-8A3B-4BC9-B457-6E9424538241}"/>
          </ac:cxnSpMkLst>
        </pc:cxnChg>
        <pc:cxnChg chg="add mod">
          <ac:chgData name="Renata Festa" userId="6f22df47-533b-4c2a-a3c1-7f9ad1d63e10" providerId="ADAL" clId="{7D997690-04A4-4675-83D7-2E1CC2ED1A4E}" dt="2020-03-24T13:58:21.732" v="1600" actId="14100"/>
          <ac:cxnSpMkLst>
            <pc:docMk/>
            <pc:sldMk cId="3912474819" sldId="2076136648"/>
            <ac:cxnSpMk id="34" creationId="{7BF7A291-CF6D-4FC4-84FD-E1B07A849365}"/>
          </ac:cxnSpMkLst>
        </pc:cxnChg>
        <pc:cxnChg chg="add mod">
          <ac:chgData name="Renata Festa" userId="6f22df47-533b-4c2a-a3c1-7f9ad1d63e10" providerId="ADAL" clId="{7D997690-04A4-4675-83D7-2E1CC2ED1A4E}" dt="2020-03-24T13:58:17.099" v="1599" actId="1035"/>
          <ac:cxnSpMkLst>
            <pc:docMk/>
            <pc:sldMk cId="3912474819" sldId="2076136648"/>
            <ac:cxnSpMk id="36" creationId="{5F897FC9-3B5F-4FAF-9286-8A4ECB56C4CF}"/>
          </ac:cxnSpMkLst>
        </pc:cxnChg>
        <pc:cxnChg chg="add mod">
          <ac:chgData name="Renata Festa" userId="6f22df47-533b-4c2a-a3c1-7f9ad1d63e10" providerId="ADAL" clId="{7D997690-04A4-4675-83D7-2E1CC2ED1A4E}" dt="2020-03-24T13:58:25.925" v="1601" actId="1035"/>
          <ac:cxnSpMkLst>
            <pc:docMk/>
            <pc:sldMk cId="3912474819" sldId="2076136648"/>
            <ac:cxnSpMk id="42" creationId="{DA01F0DD-CBEC-48EA-87F2-E6568C2D83E6}"/>
          </ac:cxnSpMkLst>
        </pc:cxnChg>
        <pc:cxnChg chg="add mod">
          <ac:chgData name="Renata Festa" userId="6f22df47-533b-4c2a-a3c1-7f9ad1d63e10" providerId="ADAL" clId="{7D997690-04A4-4675-83D7-2E1CC2ED1A4E}" dt="2020-03-24T13:57:58.491" v="1593" actId="1076"/>
          <ac:cxnSpMkLst>
            <pc:docMk/>
            <pc:sldMk cId="3912474819" sldId="2076136648"/>
            <ac:cxnSpMk id="43" creationId="{33AEE563-8B1C-4827-B981-6468AF0DEB29}"/>
          </ac:cxnSpMkLst>
        </pc:cxnChg>
        <pc:cxnChg chg="add mod">
          <ac:chgData name="Renata Festa" userId="6f22df47-533b-4c2a-a3c1-7f9ad1d63e10" providerId="ADAL" clId="{7D997690-04A4-4675-83D7-2E1CC2ED1A4E}" dt="2020-03-24T13:58:30.530" v="1603" actId="1035"/>
          <ac:cxnSpMkLst>
            <pc:docMk/>
            <pc:sldMk cId="3912474819" sldId="2076136648"/>
            <ac:cxnSpMk id="44" creationId="{6C8741AF-0FB5-44D6-9D9A-08536FE429E3}"/>
          </ac:cxnSpMkLst>
        </pc:cxnChg>
        <pc:cxnChg chg="add mod">
          <ac:chgData name="Renata Festa" userId="6f22df47-533b-4c2a-a3c1-7f9ad1d63e10" providerId="ADAL" clId="{7D997690-04A4-4675-83D7-2E1CC2ED1A4E}" dt="2020-03-24T13:58:30.530" v="1603" actId="1035"/>
          <ac:cxnSpMkLst>
            <pc:docMk/>
            <pc:sldMk cId="3912474819" sldId="2076136648"/>
            <ac:cxnSpMk id="51" creationId="{B4730560-1AC6-4003-AA19-BD16540AD008}"/>
          </ac:cxnSpMkLst>
        </pc:cxnChg>
        <pc:cxnChg chg="add mod">
          <ac:chgData name="Renata Festa" userId="6f22df47-533b-4c2a-a3c1-7f9ad1d63e10" providerId="ADAL" clId="{7D997690-04A4-4675-83D7-2E1CC2ED1A4E}" dt="2020-03-24T13:58:30.530" v="1603" actId="1035"/>
          <ac:cxnSpMkLst>
            <pc:docMk/>
            <pc:sldMk cId="3912474819" sldId="2076136648"/>
            <ac:cxnSpMk id="52" creationId="{668BA6B4-2BF5-47C5-84C3-53165B061637}"/>
          </ac:cxnSpMkLst>
        </pc:cxnChg>
        <pc:cxnChg chg="add mod">
          <ac:chgData name="Renata Festa" userId="6f22df47-533b-4c2a-a3c1-7f9ad1d63e10" providerId="ADAL" clId="{7D997690-04A4-4675-83D7-2E1CC2ED1A4E}" dt="2020-03-24T13:58:30.530" v="1603" actId="1035"/>
          <ac:cxnSpMkLst>
            <pc:docMk/>
            <pc:sldMk cId="3912474819" sldId="2076136648"/>
            <ac:cxnSpMk id="53" creationId="{DE4DF61B-13E1-40F8-9B94-EB8DF1882094}"/>
          </ac:cxnSpMkLst>
        </pc:cxnChg>
      </pc:sldChg>
      <pc:sldChg chg="addSp delSp modSp add mod modAnim modShow">
        <pc:chgData name="Renata Festa" userId="6f22df47-533b-4c2a-a3c1-7f9ad1d63e10" providerId="ADAL" clId="{7D997690-04A4-4675-83D7-2E1CC2ED1A4E}" dt="2020-03-24T14:02:52.354" v="1651" actId="729"/>
        <pc:sldMkLst>
          <pc:docMk/>
          <pc:sldMk cId="3350445597" sldId="2076136649"/>
        </pc:sldMkLst>
        <pc:spChg chg="mod">
          <ac:chgData name="Renata Festa" userId="6f22df47-533b-4c2a-a3c1-7f9ad1d63e10" providerId="ADAL" clId="{7D997690-04A4-4675-83D7-2E1CC2ED1A4E}" dt="2020-03-24T14:01:53.172" v="1644"/>
          <ac:spMkLst>
            <pc:docMk/>
            <pc:sldMk cId="3350445597" sldId="2076136649"/>
            <ac:spMk id="2" creationId="{EB67312A-9819-43C6-8D84-D9136E6CFFCC}"/>
          </ac:spMkLst>
        </pc:spChg>
        <pc:spChg chg="del">
          <ac:chgData name="Renata Festa" userId="6f22df47-533b-4c2a-a3c1-7f9ad1d63e10" providerId="ADAL" clId="{7D997690-04A4-4675-83D7-2E1CC2ED1A4E}" dt="2020-03-24T14:01:54.651" v="1645" actId="478"/>
          <ac:spMkLst>
            <pc:docMk/>
            <pc:sldMk cId="3350445597" sldId="2076136649"/>
            <ac:spMk id="3" creationId="{F35E8CBB-5A7D-4DEF-BAF7-8DD5D042F9E0}"/>
          </ac:spMkLst>
        </pc:spChg>
        <pc:spChg chg="del">
          <ac:chgData name="Renata Festa" userId="6f22df47-533b-4c2a-a3c1-7f9ad1d63e10" providerId="ADAL" clId="{7D997690-04A4-4675-83D7-2E1CC2ED1A4E}" dt="2020-03-24T14:02:28.591" v="1650" actId="478"/>
          <ac:spMkLst>
            <pc:docMk/>
            <pc:sldMk cId="3350445597" sldId="2076136649"/>
            <ac:spMk id="4" creationId="{F3616A99-090F-45E1-9334-58D58B148205}"/>
          </ac:spMkLst>
        </pc:spChg>
        <pc:spChg chg="add mod">
          <ac:chgData name="Renata Festa" userId="6f22df47-533b-4c2a-a3c1-7f9ad1d63e10" providerId="ADAL" clId="{7D997690-04A4-4675-83D7-2E1CC2ED1A4E}" dt="2020-03-24T14:02:13.063" v="1647" actId="1076"/>
          <ac:spMkLst>
            <pc:docMk/>
            <pc:sldMk cId="3350445597" sldId="2076136649"/>
            <ac:spMk id="5" creationId="{648960F2-D710-4705-A24E-4C05C0D0285D}"/>
          </ac:spMkLst>
        </pc:spChg>
        <pc:spChg chg="add mod">
          <ac:chgData name="Renata Festa" userId="6f22df47-533b-4c2a-a3c1-7f9ad1d63e10" providerId="ADAL" clId="{7D997690-04A4-4675-83D7-2E1CC2ED1A4E}" dt="2020-03-24T14:02:13.063" v="1647" actId="1076"/>
          <ac:spMkLst>
            <pc:docMk/>
            <pc:sldMk cId="3350445597" sldId="2076136649"/>
            <ac:spMk id="6" creationId="{EDDF3216-0C76-4C81-81F5-920D7D639465}"/>
          </ac:spMkLst>
        </pc:spChg>
        <pc:spChg chg="add mod">
          <ac:chgData name="Renata Festa" userId="6f22df47-533b-4c2a-a3c1-7f9ad1d63e10" providerId="ADAL" clId="{7D997690-04A4-4675-83D7-2E1CC2ED1A4E}" dt="2020-03-24T14:02:13.063" v="1647" actId="1076"/>
          <ac:spMkLst>
            <pc:docMk/>
            <pc:sldMk cId="3350445597" sldId="2076136649"/>
            <ac:spMk id="7" creationId="{5F9ED4D4-DD2C-45CE-8865-0430E02CB99E}"/>
          </ac:spMkLst>
        </pc:spChg>
        <pc:spChg chg="add mod">
          <ac:chgData name="Renata Festa" userId="6f22df47-533b-4c2a-a3c1-7f9ad1d63e10" providerId="ADAL" clId="{7D997690-04A4-4675-83D7-2E1CC2ED1A4E}" dt="2020-03-24T14:02:13.063" v="1647" actId="1076"/>
          <ac:spMkLst>
            <pc:docMk/>
            <pc:sldMk cId="3350445597" sldId="2076136649"/>
            <ac:spMk id="8" creationId="{FB341D55-2AD7-4ED8-935F-9D242F0F8BA8}"/>
          </ac:spMkLst>
        </pc:spChg>
        <pc:spChg chg="add mod">
          <ac:chgData name="Renata Festa" userId="6f22df47-533b-4c2a-a3c1-7f9ad1d63e10" providerId="ADAL" clId="{7D997690-04A4-4675-83D7-2E1CC2ED1A4E}" dt="2020-03-24T14:02:13.063" v="1647" actId="1076"/>
          <ac:spMkLst>
            <pc:docMk/>
            <pc:sldMk cId="3350445597" sldId="2076136649"/>
            <ac:spMk id="9" creationId="{E9B946C4-DAEF-4CFE-8552-4E5319A2FB5A}"/>
          </ac:spMkLst>
        </pc:spChg>
        <pc:spChg chg="add mod">
          <ac:chgData name="Renata Festa" userId="6f22df47-533b-4c2a-a3c1-7f9ad1d63e10" providerId="ADAL" clId="{7D997690-04A4-4675-83D7-2E1CC2ED1A4E}" dt="2020-03-24T14:02:13.063" v="1647" actId="1076"/>
          <ac:spMkLst>
            <pc:docMk/>
            <pc:sldMk cId="3350445597" sldId="2076136649"/>
            <ac:spMk id="10" creationId="{A02B509C-35B9-40CD-829B-F28209A9B084}"/>
          </ac:spMkLst>
        </pc:spChg>
        <pc:spChg chg="add mod">
          <ac:chgData name="Renata Festa" userId="6f22df47-533b-4c2a-a3c1-7f9ad1d63e10" providerId="ADAL" clId="{7D997690-04A4-4675-83D7-2E1CC2ED1A4E}" dt="2020-03-24T14:02:13.063" v="1647" actId="1076"/>
          <ac:spMkLst>
            <pc:docMk/>
            <pc:sldMk cId="3350445597" sldId="2076136649"/>
            <ac:spMk id="11" creationId="{0E97386B-C314-42EB-85EA-ECA14F775054}"/>
          </ac:spMkLst>
        </pc:spChg>
        <pc:spChg chg="add mod">
          <ac:chgData name="Renata Festa" userId="6f22df47-533b-4c2a-a3c1-7f9ad1d63e10" providerId="ADAL" clId="{7D997690-04A4-4675-83D7-2E1CC2ED1A4E}" dt="2020-03-24T14:02:13.063" v="1647" actId="1076"/>
          <ac:spMkLst>
            <pc:docMk/>
            <pc:sldMk cId="3350445597" sldId="2076136649"/>
            <ac:spMk id="12" creationId="{589FC2AE-5687-426E-95E9-DCFF411AFA67}"/>
          </ac:spMkLst>
        </pc:spChg>
        <pc:spChg chg="add mod">
          <ac:chgData name="Renata Festa" userId="6f22df47-533b-4c2a-a3c1-7f9ad1d63e10" providerId="ADAL" clId="{7D997690-04A4-4675-83D7-2E1CC2ED1A4E}" dt="2020-03-24T14:02:13.063" v="1647" actId="1076"/>
          <ac:spMkLst>
            <pc:docMk/>
            <pc:sldMk cId="3350445597" sldId="2076136649"/>
            <ac:spMk id="13" creationId="{14929ED8-8CAC-4A2A-969C-B752C037E9D8}"/>
          </ac:spMkLst>
        </pc:spChg>
        <pc:spChg chg="add mod">
          <ac:chgData name="Renata Festa" userId="6f22df47-533b-4c2a-a3c1-7f9ad1d63e10" providerId="ADAL" clId="{7D997690-04A4-4675-83D7-2E1CC2ED1A4E}" dt="2020-03-24T14:02:13.063" v="1647" actId="1076"/>
          <ac:spMkLst>
            <pc:docMk/>
            <pc:sldMk cId="3350445597" sldId="2076136649"/>
            <ac:spMk id="14" creationId="{E2CECF42-F8F0-476C-BD4F-29FFEC4F4146}"/>
          </ac:spMkLst>
        </pc:spChg>
        <pc:spChg chg="add mod">
          <ac:chgData name="Renata Festa" userId="6f22df47-533b-4c2a-a3c1-7f9ad1d63e10" providerId="ADAL" clId="{7D997690-04A4-4675-83D7-2E1CC2ED1A4E}" dt="2020-03-24T14:02:13.063" v="1647" actId="1076"/>
          <ac:spMkLst>
            <pc:docMk/>
            <pc:sldMk cId="3350445597" sldId="2076136649"/>
            <ac:spMk id="15" creationId="{7F3F0D34-001E-4C21-9FC7-ED6B08377D32}"/>
          </ac:spMkLst>
        </pc:spChg>
        <pc:spChg chg="add mod">
          <ac:chgData name="Renata Festa" userId="6f22df47-533b-4c2a-a3c1-7f9ad1d63e10" providerId="ADAL" clId="{7D997690-04A4-4675-83D7-2E1CC2ED1A4E}" dt="2020-03-24T14:02:13.063" v="1647" actId="1076"/>
          <ac:spMkLst>
            <pc:docMk/>
            <pc:sldMk cId="3350445597" sldId="2076136649"/>
            <ac:spMk id="27" creationId="{2C27524F-3E01-4BEF-AFB4-7130EF28FA46}"/>
          </ac:spMkLst>
        </pc:spChg>
        <pc:spChg chg="add mod">
          <ac:chgData name="Renata Festa" userId="6f22df47-533b-4c2a-a3c1-7f9ad1d63e10" providerId="ADAL" clId="{7D997690-04A4-4675-83D7-2E1CC2ED1A4E}" dt="2020-03-24T14:02:13.063" v="1647" actId="1076"/>
          <ac:spMkLst>
            <pc:docMk/>
            <pc:sldMk cId="3350445597" sldId="2076136649"/>
            <ac:spMk id="28" creationId="{D40B245B-EE14-4DE2-8282-EAC72C1D33D2}"/>
          </ac:spMkLst>
        </pc:spChg>
        <pc:spChg chg="add mod">
          <ac:chgData name="Renata Festa" userId="6f22df47-533b-4c2a-a3c1-7f9ad1d63e10" providerId="ADAL" clId="{7D997690-04A4-4675-83D7-2E1CC2ED1A4E}" dt="2020-03-24T14:02:13.063" v="1647" actId="1076"/>
          <ac:spMkLst>
            <pc:docMk/>
            <pc:sldMk cId="3350445597" sldId="2076136649"/>
            <ac:spMk id="29" creationId="{2719EC51-A1C0-4710-9249-4671A6C998E7}"/>
          </ac:spMkLst>
        </pc:spChg>
        <pc:spChg chg="add mod">
          <ac:chgData name="Renata Festa" userId="6f22df47-533b-4c2a-a3c1-7f9ad1d63e10" providerId="ADAL" clId="{7D997690-04A4-4675-83D7-2E1CC2ED1A4E}" dt="2020-03-24T14:02:13.063" v="1647" actId="1076"/>
          <ac:spMkLst>
            <pc:docMk/>
            <pc:sldMk cId="3350445597" sldId="2076136649"/>
            <ac:spMk id="30" creationId="{1B478718-4532-4715-A801-0CF4D19E14B6}"/>
          </ac:spMkLst>
        </pc:spChg>
        <pc:spChg chg="add mod">
          <ac:chgData name="Renata Festa" userId="6f22df47-533b-4c2a-a3c1-7f9ad1d63e10" providerId="ADAL" clId="{7D997690-04A4-4675-83D7-2E1CC2ED1A4E}" dt="2020-03-24T14:02:13.063" v="1647" actId="1076"/>
          <ac:spMkLst>
            <pc:docMk/>
            <pc:sldMk cId="3350445597" sldId="2076136649"/>
            <ac:spMk id="31" creationId="{A5F5E7FD-9596-4FA5-8EEF-EF42481CD757}"/>
          </ac:spMkLst>
        </pc:spChg>
        <pc:spChg chg="add mod">
          <ac:chgData name="Renata Festa" userId="6f22df47-533b-4c2a-a3c1-7f9ad1d63e10" providerId="ADAL" clId="{7D997690-04A4-4675-83D7-2E1CC2ED1A4E}" dt="2020-03-24T14:02:13.063" v="1647" actId="1076"/>
          <ac:spMkLst>
            <pc:docMk/>
            <pc:sldMk cId="3350445597" sldId="2076136649"/>
            <ac:spMk id="32" creationId="{BC2A9929-3CFE-40BE-9535-ED449ACBDE9C}"/>
          </ac:spMkLst>
        </pc:spChg>
        <pc:spChg chg="add mod">
          <ac:chgData name="Renata Festa" userId="6f22df47-533b-4c2a-a3c1-7f9ad1d63e10" providerId="ADAL" clId="{7D997690-04A4-4675-83D7-2E1CC2ED1A4E}" dt="2020-03-24T14:02:13.063" v="1647" actId="1076"/>
          <ac:spMkLst>
            <pc:docMk/>
            <pc:sldMk cId="3350445597" sldId="2076136649"/>
            <ac:spMk id="33" creationId="{2B672D20-F961-47C1-A317-214FA2599D94}"/>
          </ac:spMkLst>
        </pc:spChg>
        <pc:spChg chg="add mod">
          <ac:chgData name="Renata Festa" userId="6f22df47-533b-4c2a-a3c1-7f9ad1d63e10" providerId="ADAL" clId="{7D997690-04A4-4675-83D7-2E1CC2ED1A4E}" dt="2020-03-24T14:02:13.063" v="1647" actId="1076"/>
          <ac:spMkLst>
            <pc:docMk/>
            <pc:sldMk cId="3350445597" sldId="2076136649"/>
            <ac:spMk id="34" creationId="{F84A8B63-9873-4248-938E-E0666430308D}"/>
          </ac:spMkLst>
        </pc:spChg>
        <pc:spChg chg="add mod">
          <ac:chgData name="Renata Festa" userId="6f22df47-533b-4c2a-a3c1-7f9ad1d63e10" providerId="ADAL" clId="{7D997690-04A4-4675-83D7-2E1CC2ED1A4E}" dt="2020-03-24T14:02:13.063" v="1647" actId="1076"/>
          <ac:spMkLst>
            <pc:docMk/>
            <pc:sldMk cId="3350445597" sldId="2076136649"/>
            <ac:spMk id="35" creationId="{D62F7DA1-8C30-49BF-915C-8E1EED0C7E00}"/>
          </ac:spMkLst>
        </pc:spChg>
        <pc:spChg chg="add mod">
          <ac:chgData name="Renata Festa" userId="6f22df47-533b-4c2a-a3c1-7f9ad1d63e10" providerId="ADAL" clId="{7D997690-04A4-4675-83D7-2E1CC2ED1A4E}" dt="2020-03-24T14:02:13.063" v="1647" actId="1076"/>
          <ac:spMkLst>
            <pc:docMk/>
            <pc:sldMk cId="3350445597" sldId="2076136649"/>
            <ac:spMk id="36" creationId="{BFC0E118-879A-45A0-BEE6-C437D4FE73C3}"/>
          </ac:spMkLst>
        </pc:spChg>
        <pc:spChg chg="add mod">
          <ac:chgData name="Renata Festa" userId="6f22df47-533b-4c2a-a3c1-7f9ad1d63e10" providerId="ADAL" clId="{7D997690-04A4-4675-83D7-2E1CC2ED1A4E}" dt="2020-03-24T14:02:13.063" v="1647" actId="1076"/>
          <ac:spMkLst>
            <pc:docMk/>
            <pc:sldMk cId="3350445597" sldId="2076136649"/>
            <ac:spMk id="37" creationId="{97CE7372-E71F-43C2-AC3D-5FD059D08B01}"/>
          </ac:spMkLst>
        </pc:spChg>
        <pc:spChg chg="add mod">
          <ac:chgData name="Renata Festa" userId="6f22df47-533b-4c2a-a3c1-7f9ad1d63e10" providerId="ADAL" clId="{7D997690-04A4-4675-83D7-2E1CC2ED1A4E}" dt="2020-03-24T14:02:13.063" v="1647" actId="1076"/>
          <ac:spMkLst>
            <pc:docMk/>
            <pc:sldMk cId="3350445597" sldId="2076136649"/>
            <ac:spMk id="38" creationId="{44B34F95-425F-4B5A-86CE-0017BD57F01A}"/>
          </ac:spMkLst>
        </pc:spChg>
        <pc:spChg chg="add mod">
          <ac:chgData name="Renata Festa" userId="6f22df47-533b-4c2a-a3c1-7f9ad1d63e10" providerId="ADAL" clId="{7D997690-04A4-4675-83D7-2E1CC2ED1A4E}" dt="2020-03-24T14:02:13.063" v="1647" actId="1076"/>
          <ac:spMkLst>
            <pc:docMk/>
            <pc:sldMk cId="3350445597" sldId="2076136649"/>
            <ac:spMk id="39" creationId="{CDC5DFFA-903E-4360-8036-9AFD71F49303}"/>
          </ac:spMkLst>
        </pc:spChg>
        <pc:spChg chg="add mod">
          <ac:chgData name="Renata Festa" userId="6f22df47-533b-4c2a-a3c1-7f9ad1d63e10" providerId="ADAL" clId="{7D997690-04A4-4675-83D7-2E1CC2ED1A4E}" dt="2020-03-24T14:02:13.063" v="1647" actId="1076"/>
          <ac:spMkLst>
            <pc:docMk/>
            <pc:sldMk cId="3350445597" sldId="2076136649"/>
            <ac:spMk id="40" creationId="{3A80CF1D-0731-49AA-8787-0E4F5447659E}"/>
          </ac:spMkLst>
        </pc:spChg>
        <pc:spChg chg="add mod">
          <ac:chgData name="Renata Festa" userId="6f22df47-533b-4c2a-a3c1-7f9ad1d63e10" providerId="ADAL" clId="{7D997690-04A4-4675-83D7-2E1CC2ED1A4E}" dt="2020-03-24T14:02:13.063" v="1647" actId="1076"/>
          <ac:spMkLst>
            <pc:docMk/>
            <pc:sldMk cId="3350445597" sldId="2076136649"/>
            <ac:spMk id="41" creationId="{D34F226C-BFB7-429B-B4AE-EA6BAB063D93}"/>
          </ac:spMkLst>
        </pc:spChg>
        <pc:spChg chg="add mod">
          <ac:chgData name="Renata Festa" userId="6f22df47-533b-4c2a-a3c1-7f9ad1d63e10" providerId="ADAL" clId="{7D997690-04A4-4675-83D7-2E1CC2ED1A4E}" dt="2020-03-24T14:02:24.320" v="1649" actId="14100"/>
          <ac:spMkLst>
            <pc:docMk/>
            <pc:sldMk cId="3350445597" sldId="2076136649"/>
            <ac:spMk id="42" creationId="{7D9828DD-EF7F-470E-999D-FE57EC1FB43B}"/>
          </ac:spMkLst>
        </pc:spChg>
        <pc:grpChg chg="add mod">
          <ac:chgData name="Renata Festa" userId="6f22df47-533b-4c2a-a3c1-7f9ad1d63e10" providerId="ADAL" clId="{7D997690-04A4-4675-83D7-2E1CC2ED1A4E}" dt="2020-03-24T14:02:13.063" v="1647" actId="1076"/>
          <ac:grpSpMkLst>
            <pc:docMk/>
            <pc:sldMk cId="3350445597" sldId="2076136649"/>
            <ac:grpSpMk id="16" creationId="{1575FD2D-A647-49CA-AE6E-76AE3D1DA640}"/>
          </ac:grpSpMkLst>
        </pc:grpChg>
      </pc:sldChg>
      <pc:sldChg chg="addSp delSp modSp add mod">
        <pc:chgData name="Renata Festa" userId="6f22df47-533b-4c2a-a3c1-7f9ad1d63e10" providerId="ADAL" clId="{7D997690-04A4-4675-83D7-2E1CC2ED1A4E}" dt="2020-03-24T14:04:10.031" v="1679" actId="478"/>
        <pc:sldMkLst>
          <pc:docMk/>
          <pc:sldMk cId="1561879338" sldId="2076136650"/>
        </pc:sldMkLst>
        <pc:spChg chg="mod">
          <ac:chgData name="Renata Festa" userId="6f22df47-533b-4c2a-a3c1-7f9ad1d63e10" providerId="ADAL" clId="{7D997690-04A4-4675-83D7-2E1CC2ED1A4E}" dt="2020-03-24T14:03:03.870" v="1654"/>
          <ac:spMkLst>
            <pc:docMk/>
            <pc:sldMk cId="1561879338" sldId="2076136650"/>
            <ac:spMk id="2" creationId="{EB67312A-9819-43C6-8D84-D9136E6CFFCC}"/>
          </ac:spMkLst>
        </pc:spChg>
        <pc:spChg chg="del">
          <ac:chgData name="Renata Festa" userId="6f22df47-533b-4c2a-a3c1-7f9ad1d63e10" providerId="ADAL" clId="{7D997690-04A4-4675-83D7-2E1CC2ED1A4E}" dt="2020-03-24T14:03:05.331" v="1655" actId="478"/>
          <ac:spMkLst>
            <pc:docMk/>
            <pc:sldMk cId="1561879338" sldId="2076136650"/>
            <ac:spMk id="3" creationId="{F35E8CBB-5A7D-4DEF-BAF7-8DD5D042F9E0}"/>
          </ac:spMkLst>
        </pc:spChg>
        <pc:spChg chg="del">
          <ac:chgData name="Renata Festa" userId="6f22df47-533b-4c2a-a3c1-7f9ad1d63e10" providerId="ADAL" clId="{7D997690-04A4-4675-83D7-2E1CC2ED1A4E}" dt="2020-03-24T14:04:10.031" v="1679" actId="478"/>
          <ac:spMkLst>
            <pc:docMk/>
            <pc:sldMk cId="1561879338" sldId="2076136650"/>
            <ac:spMk id="4" creationId="{F3616A99-090F-45E1-9334-58D58B148205}"/>
          </ac:spMkLst>
        </pc:spChg>
        <pc:spChg chg="add del">
          <ac:chgData name="Renata Festa" userId="6f22df47-533b-4c2a-a3c1-7f9ad1d63e10" providerId="ADAL" clId="{7D997690-04A4-4675-83D7-2E1CC2ED1A4E}" dt="2020-03-24T14:03:11.922" v="1657"/>
          <ac:spMkLst>
            <pc:docMk/>
            <pc:sldMk cId="1561879338" sldId="2076136650"/>
            <ac:spMk id="5" creationId="{ECEA1298-D609-433A-9332-EDB462974260}"/>
          </ac:spMkLst>
        </pc:spChg>
        <pc:spChg chg="add del">
          <ac:chgData name="Renata Festa" userId="6f22df47-533b-4c2a-a3c1-7f9ad1d63e10" providerId="ADAL" clId="{7D997690-04A4-4675-83D7-2E1CC2ED1A4E}" dt="2020-03-24T14:03:11.922" v="1657"/>
          <ac:spMkLst>
            <pc:docMk/>
            <pc:sldMk cId="1561879338" sldId="2076136650"/>
            <ac:spMk id="6" creationId="{D50E67A9-1AB1-42B8-A5FA-7FADFED8FE01}"/>
          </ac:spMkLst>
        </pc:spChg>
        <pc:spChg chg="add del">
          <ac:chgData name="Renata Festa" userId="6f22df47-533b-4c2a-a3c1-7f9ad1d63e10" providerId="ADAL" clId="{7D997690-04A4-4675-83D7-2E1CC2ED1A4E}" dt="2020-03-24T14:03:11.922" v="1657"/>
          <ac:spMkLst>
            <pc:docMk/>
            <pc:sldMk cId="1561879338" sldId="2076136650"/>
            <ac:spMk id="7" creationId="{662E1CC2-CA80-4028-BAC2-9E9C0082A470}"/>
          </ac:spMkLst>
        </pc:spChg>
        <pc:spChg chg="add del">
          <ac:chgData name="Renata Festa" userId="6f22df47-533b-4c2a-a3c1-7f9ad1d63e10" providerId="ADAL" clId="{7D997690-04A4-4675-83D7-2E1CC2ED1A4E}" dt="2020-03-24T14:03:11.922" v="1657"/>
          <ac:spMkLst>
            <pc:docMk/>
            <pc:sldMk cId="1561879338" sldId="2076136650"/>
            <ac:spMk id="8" creationId="{F86C5AFE-02C0-45A8-B660-4BC27ABAFBE7}"/>
          </ac:spMkLst>
        </pc:spChg>
        <pc:spChg chg="add del">
          <ac:chgData name="Renata Festa" userId="6f22df47-533b-4c2a-a3c1-7f9ad1d63e10" providerId="ADAL" clId="{7D997690-04A4-4675-83D7-2E1CC2ED1A4E}" dt="2020-03-24T14:03:11.922" v="1657"/>
          <ac:spMkLst>
            <pc:docMk/>
            <pc:sldMk cId="1561879338" sldId="2076136650"/>
            <ac:spMk id="9" creationId="{1CF49188-1AD8-42B2-9C94-B7D25D935AC9}"/>
          </ac:spMkLst>
        </pc:spChg>
        <pc:spChg chg="add del">
          <ac:chgData name="Renata Festa" userId="6f22df47-533b-4c2a-a3c1-7f9ad1d63e10" providerId="ADAL" clId="{7D997690-04A4-4675-83D7-2E1CC2ED1A4E}" dt="2020-03-24T14:03:11.922" v="1657"/>
          <ac:spMkLst>
            <pc:docMk/>
            <pc:sldMk cId="1561879338" sldId="2076136650"/>
            <ac:spMk id="10" creationId="{69CC20DB-AA8B-4498-81B4-625BBEF560CB}"/>
          </ac:spMkLst>
        </pc:spChg>
        <pc:spChg chg="add del">
          <ac:chgData name="Renata Festa" userId="6f22df47-533b-4c2a-a3c1-7f9ad1d63e10" providerId="ADAL" clId="{7D997690-04A4-4675-83D7-2E1CC2ED1A4E}" dt="2020-03-24T14:03:11.922" v="1657"/>
          <ac:spMkLst>
            <pc:docMk/>
            <pc:sldMk cId="1561879338" sldId="2076136650"/>
            <ac:spMk id="46" creationId="{244024E6-1CD5-4D7F-BA32-15F159D8CD3F}"/>
          </ac:spMkLst>
        </pc:spChg>
        <pc:spChg chg="add del">
          <ac:chgData name="Renata Festa" userId="6f22df47-533b-4c2a-a3c1-7f9ad1d63e10" providerId="ADAL" clId="{7D997690-04A4-4675-83D7-2E1CC2ED1A4E}" dt="2020-03-24T14:03:11.922" v="1657"/>
          <ac:spMkLst>
            <pc:docMk/>
            <pc:sldMk cId="1561879338" sldId="2076136650"/>
            <ac:spMk id="58" creationId="{BF5391A7-E0ED-4E38-9793-E92FA76A2D02}"/>
          </ac:spMkLst>
        </pc:spChg>
        <pc:spChg chg="add del">
          <ac:chgData name="Renata Festa" userId="6f22df47-533b-4c2a-a3c1-7f9ad1d63e10" providerId="ADAL" clId="{7D997690-04A4-4675-83D7-2E1CC2ED1A4E}" dt="2020-03-24T14:03:11.922" v="1657"/>
          <ac:spMkLst>
            <pc:docMk/>
            <pc:sldMk cId="1561879338" sldId="2076136650"/>
            <ac:spMk id="65" creationId="{26A4A7D4-7876-412E-9E99-8B624A810376}"/>
          </ac:spMkLst>
        </pc:spChg>
        <pc:spChg chg="add del">
          <ac:chgData name="Renata Festa" userId="6f22df47-533b-4c2a-a3c1-7f9ad1d63e10" providerId="ADAL" clId="{7D997690-04A4-4675-83D7-2E1CC2ED1A4E}" dt="2020-03-24T14:03:11.922" v="1657"/>
          <ac:spMkLst>
            <pc:docMk/>
            <pc:sldMk cId="1561879338" sldId="2076136650"/>
            <ac:spMk id="67" creationId="{9FDE33B8-A699-4ABF-98CC-7CD4063ACE0F}"/>
          </ac:spMkLst>
        </pc:spChg>
        <pc:spChg chg="add mod">
          <ac:chgData name="Renata Festa" userId="6f22df47-533b-4c2a-a3c1-7f9ad1d63e10" providerId="ADAL" clId="{7D997690-04A4-4675-83D7-2E1CC2ED1A4E}" dt="2020-03-24T14:03:23.295" v="1659" actId="1076"/>
          <ac:spMkLst>
            <pc:docMk/>
            <pc:sldMk cId="1561879338" sldId="2076136650"/>
            <ac:spMk id="81" creationId="{7B9BBCC3-35E2-4586-8A00-048872DA3794}"/>
          </ac:spMkLst>
        </pc:spChg>
        <pc:spChg chg="add mod">
          <ac:chgData name="Renata Festa" userId="6f22df47-533b-4c2a-a3c1-7f9ad1d63e10" providerId="ADAL" clId="{7D997690-04A4-4675-83D7-2E1CC2ED1A4E}" dt="2020-03-24T14:03:57.412" v="1677" actId="1037"/>
          <ac:spMkLst>
            <pc:docMk/>
            <pc:sldMk cId="1561879338" sldId="2076136650"/>
            <ac:spMk id="82" creationId="{34EAAEEF-F189-400B-BD62-2F6B0E952EFA}"/>
          </ac:spMkLst>
        </pc:spChg>
        <pc:spChg chg="add mod">
          <ac:chgData name="Renata Festa" userId="6f22df47-533b-4c2a-a3c1-7f9ad1d63e10" providerId="ADAL" clId="{7D997690-04A4-4675-83D7-2E1CC2ED1A4E}" dt="2020-03-24T14:03:50.707" v="1675" actId="1037"/>
          <ac:spMkLst>
            <pc:docMk/>
            <pc:sldMk cId="1561879338" sldId="2076136650"/>
            <ac:spMk id="83" creationId="{B6165ED1-C1D4-44E3-A905-5993EDD6C5E0}"/>
          </ac:spMkLst>
        </pc:spChg>
        <pc:spChg chg="add mod">
          <ac:chgData name="Renata Festa" userId="6f22df47-533b-4c2a-a3c1-7f9ad1d63e10" providerId="ADAL" clId="{7D997690-04A4-4675-83D7-2E1CC2ED1A4E}" dt="2020-03-24T14:03:23.295" v="1659" actId="1076"/>
          <ac:spMkLst>
            <pc:docMk/>
            <pc:sldMk cId="1561879338" sldId="2076136650"/>
            <ac:spMk id="84" creationId="{B2AC7D1C-BA84-42F7-A231-621BC39940C7}"/>
          </ac:spMkLst>
        </pc:spChg>
        <pc:spChg chg="add mod">
          <ac:chgData name="Renata Festa" userId="6f22df47-533b-4c2a-a3c1-7f9ad1d63e10" providerId="ADAL" clId="{7D997690-04A4-4675-83D7-2E1CC2ED1A4E}" dt="2020-03-24T14:03:57.412" v="1677" actId="1037"/>
          <ac:spMkLst>
            <pc:docMk/>
            <pc:sldMk cId="1561879338" sldId="2076136650"/>
            <ac:spMk id="85" creationId="{6E464EA9-76D3-49BF-BB57-CC13C416E9FC}"/>
          </ac:spMkLst>
        </pc:spChg>
        <pc:spChg chg="add mod">
          <ac:chgData name="Renata Festa" userId="6f22df47-533b-4c2a-a3c1-7f9ad1d63e10" providerId="ADAL" clId="{7D997690-04A4-4675-83D7-2E1CC2ED1A4E}" dt="2020-03-24T14:03:50.707" v="1675" actId="1037"/>
          <ac:spMkLst>
            <pc:docMk/>
            <pc:sldMk cId="1561879338" sldId="2076136650"/>
            <ac:spMk id="86" creationId="{A5782B3D-0577-491C-A1B2-2A15B7ABBF9A}"/>
          </ac:spMkLst>
        </pc:spChg>
        <pc:spChg chg="add mod">
          <ac:chgData name="Renata Festa" userId="6f22df47-533b-4c2a-a3c1-7f9ad1d63e10" providerId="ADAL" clId="{7D997690-04A4-4675-83D7-2E1CC2ED1A4E}" dt="2020-03-24T14:04:02.858" v="1678" actId="1076"/>
          <ac:spMkLst>
            <pc:docMk/>
            <pc:sldMk cId="1561879338" sldId="2076136650"/>
            <ac:spMk id="122" creationId="{ACDBF215-2101-472D-B04B-A62C0F4CABA8}"/>
          </ac:spMkLst>
        </pc:spChg>
        <pc:spChg chg="add mod">
          <ac:chgData name="Renata Festa" userId="6f22df47-533b-4c2a-a3c1-7f9ad1d63e10" providerId="ADAL" clId="{7D997690-04A4-4675-83D7-2E1CC2ED1A4E}" dt="2020-03-24T14:03:50.707" v="1675" actId="1037"/>
          <ac:spMkLst>
            <pc:docMk/>
            <pc:sldMk cId="1561879338" sldId="2076136650"/>
            <ac:spMk id="134" creationId="{B66733A1-FDEF-4312-81B0-77DCF42050F3}"/>
          </ac:spMkLst>
        </pc:spChg>
        <pc:spChg chg="add mod">
          <ac:chgData name="Renata Festa" userId="6f22df47-533b-4c2a-a3c1-7f9ad1d63e10" providerId="ADAL" clId="{7D997690-04A4-4675-83D7-2E1CC2ED1A4E}" dt="2020-03-24T14:03:57.412" v="1677" actId="1037"/>
          <ac:spMkLst>
            <pc:docMk/>
            <pc:sldMk cId="1561879338" sldId="2076136650"/>
            <ac:spMk id="141" creationId="{2857A800-F8D2-4BAD-875D-7A136668CF39}"/>
          </ac:spMkLst>
        </pc:spChg>
        <pc:spChg chg="add mod">
          <ac:chgData name="Renata Festa" userId="6f22df47-533b-4c2a-a3c1-7f9ad1d63e10" providerId="ADAL" clId="{7D997690-04A4-4675-83D7-2E1CC2ED1A4E}" dt="2020-03-24T14:03:50.707" v="1675" actId="1037"/>
          <ac:spMkLst>
            <pc:docMk/>
            <pc:sldMk cId="1561879338" sldId="2076136650"/>
            <ac:spMk id="143" creationId="{30C9A96D-40B6-4769-BD26-1A5624D0C928}"/>
          </ac:spMkLst>
        </pc:spChg>
        <pc:grpChg chg="add del">
          <ac:chgData name="Renata Festa" userId="6f22df47-533b-4c2a-a3c1-7f9ad1d63e10" providerId="ADAL" clId="{7D997690-04A4-4675-83D7-2E1CC2ED1A4E}" dt="2020-03-24T14:03:11.922" v="1657"/>
          <ac:grpSpMkLst>
            <pc:docMk/>
            <pc:sldMk cId="1561879338" sldId="2076136650"/>
            <ac:grpSpMk id="11" creationId="{522F7A4A-C0DF-4201-AD14-2DBE05740C55}"/>
          </ac:grpSpMkLst>
        </pc:grpChg>
        <pc:grpChg chg="add del">
          <ac:chgData name="Renata Festa" userId="6f22df47-533b-4c2a-a3c1-7f9ad1d63e10" providerId="ADAL" clId="{7D997690-04A4-4675-83D7-2E1CC2ED1A4E}" dt="2020-03-24T14:03:11.922" v="1657"/>
          <ac:grpSpMkLst>
            <pc:docMk/>
            <pc:sldMk cId="1561879338" sldId="2076136650"/>
            <ac:grpSpMk id="15" creationId="{C6CA1C05-358A-438F-BD19-BF05322A7A86}"/>
          </ac:grpSpMkLst>
        </pc:grpChg>
        <pc:grpChg chg="add del">
          <ac:chgData name="Renata Festa" userId="6f22df47-533b-4c2a-a3c1-7f9ad1d63e10" providerId="ADAL" clId="{7D997690-04A4-4675-83D7-2E1CC2ED1A4E}" dt="2020-03-24T14:03:11.922" v="1657"/>
          <ac:grpSpMkLst>
            <pc:docMk/>
            <pc:sldMk cId="1561879338" sldId="2076136650"/>
            <ac:grpSpMk id="39" creationId="{DF3A27E9-2B4E-48FA-A798-BBED8AF3236A}"/>
          </ac:grpSpMkLst>
        </pc:grpChg>
        <pc:grpChg chg="add del">
          <ac:chgData name="Renata Festa" userId="6f22df47-533b-4c2a-a3c1-7f9ad1d63e10" providerId="ADAL" clId="{7D997690-04A4-4675-83D7-2E1CC2ED1A4E}" dt="2020-03-24T14:03:11.922" v="1657"/>
          <ac:grpSpMkLst>
            <pc:docMk/>
            <pc:sldMk cId="1561879338" sldId="2076136650"/>
            <ac:grpSpMk id="47" creationId="{26BB769F-1FE9-4CFE-ABB5-CD649A45A588}"/>
          </ac:grpSpMkLst>
        </pc:grpChg>
        <pc:grpChg chg="add del">
          <ac:chgData name="Renata Festa" userId="6f22df47-533b-4c2a-a3c1-7f9ad1d63e10" providerId="ADAL" clId="{7D997690-04A4-4675-83D7-2E1CC2ED1A4E}" dt="2020-03-24T14:03:11.922" v="1657"/>
          <ac:grpSpMkLst>
            <pc:docMk/>
            <pc:sldMk cId="1561879338" sldId="2076136650"/>
            <ac:grpSpMk id="59" creationId="{A981A1B6-5080-4ED2-B3ED-EE22C00BE057}"/>
          </ac:grpSpMkLst>
        </pc:grpChg>
        <pc:grpChg chg="add del">
          <ac:chgData name="Renata Festa" userId="6f22df47-533b-4c2a-a3c1-7f9ad1d63e10" providerId="ADAL" clId="{7D997690-04A4-4675-83D7-2E1CC2ED1A4E}" dt="2020-03-24T14:03:11.922" v="1657"/>
          <ac:grpSpMkLst>
            <pc:docMk/>
            <pc:sldMk cId="1561879338" sldId="2076136650"/>
            <ac:grpSpMk id="68" creationId="{7EDDB2AF-6B31-4454-B0BE-3E8805ABC750}"/>
          </ac:grpSpMkLst>
        </pc:grpChg>
        <pc:grpChg chg="add mod">
          <ac:chgData name="Renata Festa" userId="6f22df47-533b-4c2a-a3c1-7f9ad1d63e10" providerId="ADAL" clId="{7D997690-04A4-4675-83D7-2E1CC2ED1A4E}" dt="2020-03-24T14:03:23.295" v="1659" actId="1076"/>
          <ac:grpSpMkLst>
            <pc:docMk/>
            <pc:sldMk cId="1561879338" sldId="2076136650"/>
            <ac:grpSpMk id="87" creationId="{D457F020-40A5-4972-8FA4-D3C72C86C7F3}"/>
          </ac:grpSpMkLst>
        </pc:grpChg>
        <pc:grpChg chg="add mod">
          <ac:chgData name="Renata Festa" userId="6f22df47-533b-4c2a-a3c1-7f9ad1d63e10" providerId="ADAL" clId="{7D997690-04A4-4675-83D7-2E1CC2ED1A4E}" dt="2020-03-24T14:03:57.412" v="1677" actId="1037"/>
          <ac:grpSpMkLst>
            <pc:docMk/>
            <pc:sldMk cId="1561879338" sldId="2076136650"/>
            <ac:grpSpMk id="91" creationId="{4C00EDDE-C56F-4CFD-BAC2-8823CFBCDC7A}"/>
          </ac:grpSpMkLst>
        </pc:grpChg>
        <pc:grpChg chg="add mod">
          <ac:chgData name="Renata Festa" userId="6f22df47-533b-4c2a-a3c1-7f9ad1d63e10" providerId="ADAL" clId="{7D997690-04A4-4675-83D7-2E1CC2ED1A4E}" dt="2020-03-24T14:03:50.707" v="1675" actId="1037"/>
          <ac:grpSpMkLst>
            <pc:docMk/>
            <pc:sldMk cId="1561879338" sldId="2076136650"/>
            <ac:grpSpMk id="115" creationId="{283F12B4-FBF0-4BD4-A3ED-D7917575CA6E}"/>
          </ac:grpSpMkLst>
        </pc:grpChg>
        <pc:grpChg chg="add mod">
          <ac:chgData name="Renata Festa" userId="6f22df47-533b-4c2a-a3c1-7f9ad1d63e10" providerId="ADAL" clId="{7D997690-04A4-4675-83D7-2E1CC2ED1A4E}" dt="2020-03-24T14:03:50.707" v="1675" actId="1037"/>
          <ac:grpSpMkLst>
            <pc:docMk/>
            <pc:sldMk cId="1561879338" sldId="2076136650"/>
            <ac:grpSpMk id="123" creationId="{DA608B19-6265-4122-AD2A-AD6895FF6905}"/>
          </ac:grpSpMkLst>
        </pc:grpChg>
        <pc:grpChg chg="mod">
          <ac:chgData name="Renata Festa" userId="6f22df47-533b-4c2a-a3c1-7f9ad1d63e10" providerId="ADAL" clId="{7D997690-04A4-4675-83D7-2E1CC2ED1A4E}" dt="2020-03-24T14:03:50.707" v="1675" actId="1037"/>
          <ac:grpSpMkLst>
            <pc:docMk/>
            <pc:sldMk cId="1561879338" sldId="2076136650"/>
            <ac:grpSpMk id="125" creationId="{CD7DE1BA-F7A9-424D-9CF1-93AFF7CE99FD}"/>
          </ac:grpSpMkLst>
        </pc:grpChg>
        <pc:grpChg chg="add mod">
          <ac:chgData name="Renata Festa" userId="6f22df47-533b-4c2a-a3c1-7f9ad1d63e10" providerId="ADAL" clId="{7D997690-04A4-4675-83D7-2E1CC2ED1A4E}" dt="2020-03-24T14:03:57.412" v="1677" actId="1037"/>
          <ac:grpSpMkLst>
            <pc:docMk/>
            <pc:sldMk cId="1561879338" sldId="2076136650"/>
            <ac:grpSpMk id="135" creationId="{300587C1-56F7-4E61-91AE-5480031C2395}"/>
          </ac:grpSpMkLst>
        </pc:grpChg>
        <pc:grpChg chg="mod">
          <ac:chgData name="Renata Festa" userId="6f22df47-533b-4c2a-a3c1-7f9ad1d63e10" providerId="ADAL" clId="{7D997690-04A4-4675-83D7-2E1CC2ED1A4E}" dt="2020-03-24T14:03:57.412" v="1677" actId="1037"/>
          <ac:grpSpMkLst>
            <pc:docMk/>
            <pc:sldMk cId="1561879338" sldId="2076136650"/>
            <ac:grpSpMk id="137" creationId="{D23EF651-791C-4EE1-BC8F-A4D216A63563}"/>
          </ac:grpSpMkLst>
        </pc:grpChg>
        <pc:grpChg chg="add mod">
          <ac:chgData name="Renata Festa" userId="6f22df47-533b-4c2a-a3c1-7f9ad1d63e10" providerId="ADAL" clId="{7D997690-04A4-4675-83D7-2E1CC2ED1A4E}" dt="2020-03-24T14:03:50.707" v="1675" actId="1037"/>
          <ac:grpSpMkLst>
            <pc:docMk/>
            <pc:sldMk cId="1561879338" sldId="2076136650"/>
            <ac:grpSpMk id="144" creationId="{B210184B-9A3B-411F-AF59-351F4197EBC9}"/>
          </ac:grpSpMkLst>
        </pc:grpChg>
        <pc:grpChg chg="mod">
          <ac:chgData name="Renata Festa" userId="6f22df47-533b-4c2a-a3c1-7f9ad1d63e10" providerId="ADAL" clId="{7D997690-04A4-4675-83D7-2E1CC2ED1A4E}" dt="2020-03-24T14:03:50.707" v="1675" actId="1037"/>
          <ac:grpSpMkLst>
            <pc:docMk/>
            <pc:sldMk cId="1561879338" sldId="2076136650"/>
            <ac:grpSpMk id="146" creationId="{AB75F4D1-0E6E-46D1-9BC9-B5CB59429D56}"/>
          </ac:grpSpMkLst>
        </pc:grpChg>
        <pc:cxnChg chg="add del">
          <ac:chgData name="Renata Festa" userId="6f22df47-533b-4c2a-a3c1-7f9ad1d63e10" providerId="ADAL" clId="{7D997690-04A4-4675-83D7-2E1CC2ED1A4E}" dt="2020-03-24T14:03:11.922" v="1657"/>
          <ac:cxnSpMkLst>
            <pc:docMk/>
            <pc:sldMk cId="1561879338" sldId="2076136650"/>
            <ac:cxnSpMk id="66" creationId="{1F0E4900-76CF-4A01-8EC8-B5139799ACDD}"/>
          </ac:cxnSpMkLst>
        </pc:cxnChg>
        <pc:cxnChg chg="add del">
          <ac:chgData name="Renata Festa" userId="6f22df47-533b-4c2a-a3c1-7f9ad1d63e10" providerId="ADAL" clId="{7D997690-04A4-4675-83D7-2E1CC2ED1A4E}" dt="2020-03-24T14:03:11.922" v="1657"/>
          <ac:cxnSpMkLst>
            <pc:docMk/>
            <pc:sldMk cId="1561879338" sldId="2076136650"/>
            <ac:cxnSpMk id="79" creationId="{24D11FA6-9DB8-4A28-9FBF-90AC6C10955D}"/>
          </ac:cxnSpMkLst>
        </pc:cxnChg>
        <pc:cxnChg chg="add del">
          <ac:chgData name="Renata Festa" userId="6f22df47-533b-4c2a-a3c1-7f9ad1d63e10" providerId="ADAL" clId="{7D997690-04A4-4675-83D7-2E1CC2ED1A4E}" dt="2020-03-24T14:03:11.922" v="1657"/>
          <ac:cxnSpMkLst>
            <pc:docMk/>
            <pc:sldMk cId="1561879338" sldId="2076136650"/>
            <ac:cxnSpMk id="80" creationId="{E40E2B85-E54A-4133-9177-308611CD5C7B}"/>
          </ac:cxnSpMkLst>
        </pc:cxnChg>
        <pc:cxnChg chg="add mod">
          <ac:chgData name="Renata Festa" userId="6f22df47-533b-4c2a-a3c1-7f9ad1d63e10" providerId="ADAL" clId="{7D997690-04A4-4675-83D7-2E1CC2ED1A4E}" dt="2020-03-24T14:03:41.140" v="1671" actId="1037"/>
          <ac:cxnSpMkLst>
            <pc:docMk/>
            <pc:sldMk cId="1561879338" sldId="2076136650"/>
            <ac:cxnSpMk id="142" creationId="{C36C51C8-CC7C-49EF-811B-022D3B33BBA4}"/>
          </ac:cxnSpMkLst>
        </pc:cxnChg>
        <pc:cxnChg chg="add mod">
          <ac:chgData name="Renata Festa" userId="6f22df47-533b-4c2a-a3c1-7f9ad1d63e10" providerId="ADAL" clId="{7D997690-04A4-4675-83D7-2E1CC2ED1A4E}" dt="2020-03-24T14:03:50.707" v="1675" actId="1037"/>
          <ac:cxnSpMkLst>
            <pc:docMk/>
            <pc:sldMk cId="1561879338" sldId="2076136650"/>
            <ac:cxnSpMk id="155" creationId="{B1A7A6F9-B73E-4E45-B883-98ED00305FAF}"/>
          </ac:cxnSpMkLst>
        </pc:cxnChg>
        <pc:cxnChg chg="add mod">
          <ac:chgData name="Renata Festa" userId="6f22df47-533b-4c2a-a3c1-7f9ad1d63e10" providerId="ADAL" clId="{7D997690-04A4-4675-83D7-2E1CC2ED1A4E}" dt="2020-03-24T14:03:23.295" v="1659" actId="1076"/>
          <ac:cxnSpMkLst>
            <pc:docMk/>
            <pc:sldMk cId="1561879338" sldId="2076136650"/>
            <ac:cxnSpMk id="156" creationId="{E8F39CC5-7401-4DDE-AEE0-8EF1114EE8A5}"/>
          </ac:cxnSpMkLst>
        </pc:cxnChg>
      </pc:sldChg>
      <pc:sldChg chg="addSp delSp modSp add mod addCm modCm">
        <pc:chgData name="Renata Festa" userId="6f22df47-533b-4c2a-a3c1-7f9ad1d63e10" providerId="ADAL" clId="{7D997690-04A4-4675-83D7-2E1CC2ED1A4E}" dt="2020-03-24T14:06:09.961" v="1687"/>
        <pc:sldMkLst>
          <pc:docMk/>
          <pc:sldMk cId="2991361673" sldId="2076136651"/>
        </pc:sldMkLst>
        <pc:spChg chg="mod">
          <ac:chgData name="Renata Festa" userId="6f22df47-533b-4c2a-a3c1-7f9ad1d63e10" providerId="ADAL" clId="{7D997690-04A4-4675-83D7-2E1CC2ED1A4E}" dt="2020-03-24T14:04:31.450" v="1680"/>
          <ac:spMkLst>
            <pc:docMk/>
            <pc:sldMk cId="2991361673" sldId="2076136651"/>
            <ac:spMk id="2" creationId="{EB67312A-9819-43C6-8D84-D9136E6CFFCC}"/>
          </ac:spMkLst>
        </pc:spChg>
        <pc:spChg chg="mod">
          <ac:chgData name="Renata Festa" userId="6f22df47-533b-4c2a-a3c1-7f9ad1d63e10" providerId="ADAL" clId="{7D997690-04A4-4675-83D7-2E1CC2ED1A4E}" dt="2020-03-24T14:04:35.769" v="1681"/>
          <ac:spMkLst>
            <pc:docMk/>
            <pc:sldMk cId="2991361673" sldId="2076136651"/>
            <ac:spMk id="3" creationId="{F35E8CBB-5A7D-4DEF-BAF7-8DD5D042F9E0}"/>
          </ac:spMkLst>
        </pc:spChg>
        <pc:spChg chg="del">
          <ac:chgData name="Renata Festa" userId="6f22df47-533b-4c2a-a3c1-7f9ad1d63e10" providerId="ADAL" clId="{7D997690-04A4-4675-83D7-2E1CC2ED1A4E}" dt="2020-03-24T14:05:14.055" v="1684" actId="478"/>
          <ac:spMkLst>
            <pc:docMk/>
            <pc:sldMk cId="2991361673" sldId="2076136651"/>
            <ac:spMk id="4" creationId="{F3616A99-090F-45E1-9334-58D58B148205}"/>
          </ac:spMkLst>
        </pc:spChg>
        <pc:spChg chg="add mod">
          <ac:chgData name="Renata Festa" userId="6f22df47-533b-4c2a-a3c1-7f9ad1d63e10" providerId="ADAL" clId="{7D997690-04A4-4675-83D7-2E1CC2ED1A4E}" dt="2020-03-24T14:05:10.995" v="1683" actId="1076"/>
          <ac:spMkLst>
            <pc:docMk/>
            <pc:sldMk cId="2991361673" sldId="2076136651"/>
            <ac:spMk id="5" creationId="{5E5054A8-068C-4039-9AD0-83B203203CF3}"/>
          </ac:spMkLst>
        </pc:spChg>
        <pc:spChg chg="add mod">
          <ac:chgData name="Renata Festa" userId="6f22df47-533b-4c2a-a3c1-7f9ad1d63e10" providerId="ADAL" clId="{7D997690-04A4-4675-83D7-2E1CC2ED1A4E}" dt="2020-03-24T14:05:10.995" v="1683" actId="1076"/>
          <ac:spMkLst>
            <pc:docMk/>
            <pc:sldMk cId="2991361673" sldId="2076136651"/>
            <ac:spMk id="6" creationId="{9354CD68-1845-414D-9177-CF6F27DEE6C8}"/>
          </ac:spMkLst>
        </pc:spChg>
        <pc:spChg chg="add mod">
          <ac:chgData name="Renata Festa" userId="6f22df47-533b-4c2a-a3c1-7f9ad1d63e10" providerId="ADAL" clId="{7D997690-04A4-4675-83D7-2E1CC2ED1A4E}" dt="2020-03-24T14:05:42.132" v="1685" actId="33524"/>
          <ac:spMkLst>
            <pc:docMk/>
            <pc:sldMk cId="2991361673" sldId="2076136651"/>
            <ac:spMk id="7" creationId="{EB1C2D44-8D47-49D0-A313-EE015A33F673}"/>
          </ac:spMkLst>
        </pc:spChg>
        <pc:spChg chg="add mod">
          <ac:chgData name="Renata Festa" userId="6f22df47-533b-4c2a-a3c1-7f9ad1d63e10" providerId="ADAL" clId="{7D997690-04A4-4675-83D7-2E1CC2ED1A4E}" dt="2020-03-24T14:05:10.995" v="1683" actId="1076"/>
          <ac:spMkLst>
            <pc:docMk/>
            <pc:sldMk cId="2991361673" sldId="2076136651"/>
            <ac:spMk id="8" creationId="{F5D37C52-D790-4006-9F4E-701747614A1F}"/>
          </ac:spMkLst>
        </pc:spChg>
        <pc:spChg chg="add mod">
          <ac:chgData name="Renata Festa" userId="6f22df47-533b-4c2a-a3c1-7f9ad1d63e10" providerId="ADAL" clId="{7D997690-04A4-4675-83D7-2E1CC2ED1A4E}" dt="2020-03-24T14:05:10.995" v="1683" actId="1076"/>
          <ac:spMkLst>
            <pc:docMk/>
            <pc:sldMk cId="2991361673" sldId="2076136651"/>
            <ac:spMk id="9" creationId="{737B506D-E62B-44EA-A77C-B6A7A1075A01}"/>
          </ac:spMkLst>
        </pc:spChg>
        <pc:spChg chg="add mod">
          <ac:chgData name="Renata Festa" userId="6f22df47-533b-4c2a-a3c1-7f9ad1d63e10" providerId="ADAL" clId="{7D997690-04A4-4675-83D7-2E1CC2ED1A4E}" dt="2020-03-24T14:05:10.995" v="1683" actId="1076"/>
          <ac:spMkLst>
            <pc:docMk/>
            <pc:sldMk cId="2991361673" sldId="2076136651"/>
            <ac:spMk id="10" creationId="{ECF33CC8-CA5C-409F-8DCB-4EDBC558CD57}"/>
          </ac:spMkLst>
        </pc:spChg>
        <pc:spChg chg="add mod">
          <ac:chgData name="Renata Festa" userId="6f22df47-533b-4c2a-a3c1-7f9ad1d63e10" providerId="ADAL" clId="{7D997690-04A4-4675-83D7-2E1CC2ED1A4E}" dt="2020-03-24T14:05:10.995" v="1683" actId="1076"/>
          <ac:spMkLst>
            <pc:docMk/>
            <pc:sldMk cId="2991361673" sldId="2076136651"/>
            <ac:spMk id="11" creationId="{EF7E51C9-97A0-4CB6-9B96-851447BE2000}"/>
          </ac:spMkLst>
        </pc:spChg>
        <pc:spChg chg="add mod">
          <ac:chgData name="Renata Festa" userId="6f22df47-533b-4c2a-a3c1-7f9ad1d63e10" providerId="ADAL" clId="{7D997690-04A4-4675-83D7-2E1CC2ED1A4E}" dt="2020-03-24T14:05:10.995" v="1683" actId="1076"/>
          <ac:spMkLst>
            <pc:docMk/>
            <pc:sldMk cId="2991361673" sldId="2076136651"/>
            <ac:spMk id="12" creationId="{CE3117BB-2D4A-4742-AFB1-E57C2D4357B4}"/>
          </ac:spMkLst>
        </pc:spChg>
        <pc:spChg chg="add mod">
          <ac:chgData name="Renata Festa" userId="6f22df47-533b-4c2a-a3c1-7f9ad1d63e10" providerId="ADAL" clId="{7D997690-04A4-4675-83D7-2E1CC2ED1A4E}" dt="2020-03-24T14:05:10.995" v="1683" actId="1076"/>
          <ac:spMkLst>
            <pc:docMk/>
            <pc:sldMk cId="2991361673" sldId="2076136651"/>
            <ac:spMk id="13" creationId="{BA28DA39-E18C-484E-83ED-01A92ED4457E}"/>
          </ac:spMkLst>
        </pc:spChg>
        <pc:spChg chg="add mod">
          <ac:chgData name="Renata Festa" userId="6f22df47-533b-4c2a-a3c1-7f9ad1d63e10" providerId="ADAL" clId="{7D997690-04A4-4675-83D7-2E1CC2ED1A4E}" dt="2020-03-24T14:05:10.995" v="1683" actId="1076"/>
          <ac:spMkLst>
            <pc:docMk/>
            <pc:sldMk cId="2991361673" sldId="2076136651"/>
            <ac:spMk id="14" creationId="{B609B650-4DF8-4A46-94AC-7AB92DD0DD0A}"/>
          </ac:spMkLst>
        </pc:spChg>
        <pc:spChg chg="add mod">
          <ac:chgData name="Renata Festa" userId="6f22df47-533b-4c2a-a3c1-7f9ad1d63e10" providerId="ADAL" clId="{7D997690-04A4-4675-83D7-2E1CC2ED1A4E}" dt="2020-03-24T14:05:10.995" v="1683" actId="1076"/>
          <ac:spMkLst>
            <pc:docMk/>
            <pc:sldMk cId="2991361673" sldId="2076136651"/>
            <ac:spMk id="15" creationId="{3C464D10-9567-4B14-8189-0DE2B7DAF07F}"/>
          </ac:spMkLst>
        </pc:spChg>
        <pc:spChg chg="add mod">
          <ac:chgData name="Renata Festa" userId="6f22df47-533b-4c2a-a3c1-7f9ad1d63e10" providerId="ADAL" clId="{7D997690-04A4-4675-83D7-2E1CC2ED1A4E}" dt="2020-03-24T14:05:10.995" v="1683" actId="1076"/>
          <ac:spMkLst>
            <pc:docMk/>
            <pc:sldMk cId="2991361673" sldId="2076136651"/>
            <ac:spMk id="16" creationId="{D98DF606-3F54-495A-A4A7-0BB443098D6F}"/>
          </ac:spMkLst>
        </pc:spChg>
        <pc:grpChg chg="add mod">
          <ac:chgData name="Renata Festa" userId="6f22df47-533b-4c2a-a3c1-7f9ad1d63e10" providerId="ADAL" clId="{7D997690-04A4-4675-83D7-2E1CC2ED1A4E}" dt="2020-03-24T14:05:10.995" v="1683" actId="1076"/>
          <ac:grpSpMkLst>
            <pc:docMk/>
            <pc:sldMk cId="2991361673" sldId="2076136651"/>
            <ac:grpSpMk id="17" creationId="{987B2E9A-BBD2-453E-A030-7EF4917AC83A}"/>
          </ac:grpSpMkLst>
        </pc:grpChg>
        <pc:grpChg chg="add mod">
          <ac:chgData name="Renata Festa" userId="6f22df47-533b-4c2a-a3c1-7f9ad1d63e10" providerId="ADAL" clId="{7D997690-04A4-4675-83D7-2E1CC2ED1A4E}" dt="2020-03-24T14:05:10.995" v="1683" actId="1076"/>
          <ac:grpSpMkLst>
            <pc:docMk/>
            <pc:sldMk cId="2991361673" sldId="2076136651"/>
            <ac:grpSpMk id="20" creationId="{F61796CB-F8EC-4E8C-A600-74A83002B88C}"/>
          </ac:grpSpMkLst>
        </pc:grpChg>
      </pc:sldChg>
      <pc:sldChg chg="addSp delSp modSp add mod modAnim">
        <pc:chgData name="Renata Festa" userId="6f22df47-533b-4c2a-a3c1-7f9ad1d63e10" providerId="ADAL" clId="{7D997690-04A4-4675-83D7-2E1CC2ED1A4E}" dt="2020-03-24T14:07:59.099" v="1726" actId="478"/>
        <pc:sldMkLst>
          <pc:docMk/>
          <pc:sldMk cId="2575335592" sldId="2076136652"/>
        </pc:sldMkLst>
        <pc:spChg chg="mod">
          <ac:chgData name="Renata Festa" userId="6f22df47-533b-4c2a-a3c1-7f9ad1d63e10" providerId="ADAL" clId="{7D997690-04A4-4675-83D7-2E1CC2ED1A4E}" dt="2020-03-24T14:06:32.676" v="1697"/>
          <ac:spMkLst>
            <pc:docMk/>
            <pc:sldMk cId="2575335592" sldId="2076136652"/>
            <ac:spMk id="2" creationId="{EB67312A-9819-43C6-8D84-D9136E6CFFCC}"/>
          </ac:spMkLst>
        </pc:spChg>
        <pc:spChg chg="del">
          <ac:chgData name="Renata Festa" userId="6f22df47-533b-4c2a-a3c1-7f9ad1d63e10" providerId="ADAL" clId="{7D997690-04A4-4675-83D7-2E1CC2ED1A4E}" dt="2020-03-24T14:07:59.099" v="1726" actId="478"/>
          <ac:spMkLst>
            <pc:docMk/>
            <pc:sldMk cId="2575335592" sldId="2076136652"/>
            <ac:spMk id="3" creationId="{F35E8CBB-5A7D-4DEF-BAF7-8DD5D042F9E0}"/>
          </ac:spMkLst>
        </pc:spChg>
        <pc:spChg chg="del">
          <ac:chgData name="Renata Festa" userId="6f22df47-533b-4c2a-a3c1-7f9ad1d63e10" providerId="ADAL" clId="{7D997690-04A4-4675-83D7-2E1CC2ED1A4E}" dt="2020-03-24T14:07:57.798" v="1725" actId="478"/>
          <ac:spMkLst>
            <pc:docMk/>
            <pc:sldMk cId="2575335592" sldId="2076136652"/>
            <ac:spMk id="4" creationId="{F3616A99-090F-45E1-9334-58D58B148205}"/>
          </ac:spMkLst>
        </pc:spChg>
        <pc:grpChg chg="add mod">
          <ac:chgData name="Renata Festa" userId="6f22df47-533b-4c2a-a3c1-7f9ad1d63e10" providerId="ADAL" clId="{7D997690-04A4-4675-83D7-2E1CC2ED1A4E}" dt="2020-03-24T14:07:02.051" v="1711" actId="1035"/>
          <ac:grpSpMkLst>
            <pc:docMk/>
            <pc:sldMk cId="2575335592" sldId="2076136652"/>
            <ac:grpSpMk id="5" creationId="{8CA8FB75-65B7-4971-A08C-9BA868E0CBF3}"/>
          </ac:grpSpMkLst>
        </pc:grpChg>
        <pc:graphicFrameChg chg="add mod">
          <ac:chgData name="Renata Festa" userId="6f22df47-533b-4c2a-a3c1-7f9ad1d63e10" providerId="ADAL" clId="{7D997690-04A4-4675-83D7-2E1CC2ED1A4E}" dt="2020-03-24T14:07:53.725" v="1724" actId="14100"/>
          <ac:graphicFrameMkLst>
            <pc:docMk/>
            <pc:sldMk cId="2575335592" sldId="2076136652"/>
            <ac:graphicFrameMk id="87" creationId="{9792F5B8-D284-4E2F-8E89-9BB7C415AF50}"/>
          </ac:graphicFrameMkLst>
        </pc:graphicFrameChg>
      </pc:sldChg>
      <pc:sldChg chg="addSp delSp modSp add mod modShow">
        <pc:chgData name="Renata Festa" userId="6f22df47-533b-4c2a-a3c1-7f9ad1d63e10" providerId="ADAL" clId="{7D997690-04A4-4675-83D7-2E1CC2ED1A4E}" dt="2020-03-24T14:09:16.319" v="1752" actId="729"/>
        <pc:sldMkLst>
          <pc:docMk/>
          <pc:sldMk cId="3603536025" sldId="2076136653"/>
        </pc:sldMkLst>
        <pc:spChg chg="mod">
          <ac:chgData name="Renata Festa" userId="6f22df47-533b-4c2a-a3c1-7f9ad1d63e10" providerId="ADAL" clId="{7D997690-04A4-4675-83D7-2E1CC2ED1A4E}" dt="2020-03-24T14:08:14.806" v="1727"/>
          <ac:spMkLst>
            <pc:docMk/>
            <pc:sldMk cId="3603536025" sldId="2076136653"/>
            <ac:spMk id="2" creationId="{EB67312A-9819-43C6-8D84-D9136E6CFFCC}"/>
          </ac:spMkLst>
        </pc:spChg>
        <pc:spChg chg="del">
          <ac:chgData name="Renata Festa" userId="6f22df47-533b-4c2a-a3c1-7f9ad1d63e10" providerId="ADAL" clId="{7D997690-04A4-4675-83D7-2E1CC2ED1A4E}" dt="2020-03-24T14:08:36.098" v="1737" actId="478"/>
          <ac:spMkLst>
            <pc:docMk/>
            <pc:sldMk cId="3603536025" sldId="2076136653"/>
            <ac:spMk id="3" creationId="{F35E8CBB-5A7D-4DEF-BAF7-8DD5D042F9E0}"/>
          </ac:spMkLst>
        </pc:spChg>
        <pc:spChg chg="del">
          <ac:chgData name="Renata Festa" userId="6f22df47-533b-4c2a-a3c1-7f9ad1d63e10" providerId="ADAL" clId="{7D997690-04A4-4675-83D7-2E1CC2ED1A4E}" dt="2020-03-24T14:08:41.472" v="1738" actId="478"/>
          <ac:spMkLst>
            <pc:docMk/>
            <pc:sldMk cId="3603536025" sldId="2076136653"/>
            <ac:spMk id="4" creationId="{F3616A99-090F-45E1-9334-58D58B148205}"/>
          </ac:spMkLst>
        </pc:spChg>
        <pc:spChg chg="add mod">
          <ac:chgData name="Renata Festa" userId="6f22df47-533b-4c2a-a3c1-7f9ad1d63e10" providerId="ADAL" clId="{7D997690-04A4-4675-83D7-2E1CC2ED1A4E}" dt="2020-03-24T14:08:58.011" v="1750" actId="14100"/>
          <ac:spMkLst>
            <pc:docMk/>
            <pc:sldMk cId="3603536025" sldId="2076136653"/>
            <ac:spMk id="5" creationId="{EB804A8F-CAFE-4B2B-B34F-27C501ACD35A}"/>
          </ac:spMkLst>
        </pc:spChg>
        <pc:spChg chg="add mod">
          <ac:chgData name="Renata Festa" userId="6f22df47-533b-4c2a-a3c1-7f9ad1d63e10" providerId="ADAL" clId="{7D997690-04A4-4675-83D7-2E1CC2ED1A4E}" dt="2020-03-24T14:08:55.475" v="1749" actId="14100"/>
          <ac:spMkLst>
            <pc:docMk/>
            <pc:sldMk cId="3603536025" sldId="2076136653"/>
            <ac:spMk id="6" creationId="{AEB97432-1155-4267-9675-64EB1E428714}"/>
          </ac:spMkLst>
        </pc:spChg>
        <pc:spChg chg="add mod">
          <ac:chgData name="Renata Festa" userId="6f22df47-533b-4c2a-a3c1-7f9ad1d63e10" providerId="ADAL" clId="{7D997690-04A4-4675-83D7-2E1CC2ED1A4E}" dt="2020-03-24T14:09:00.203" v="1751" actId="14100"/>
          <ac:spMkLst>
            <pc:docMk/>
            <pc:sldMk cId="3603536025" sldId="2076136653"/>
            <ac:spMk id="7" creationId="{E8E90D33-0450-43EF-9771-6EB04916852A}"/>
          </ac:spMkLst>
        </pc:spChg>
        <pc:grpChg chg="add mod">
          <ac:chgData name="Renata Festa" userId="6f22df47-533b-4c2a-a3c1-7f9ad1d63e10" providerId="ADAL" clId="{7D997690-04A4-4675-83D7-2E1CC2ED1A4E}" dt="2020-03-24T14:08:50.905" v="1748" actId="1038"/>
          <ac:grpSpMkLst>
            <pc:docMk/>
            <pc:sldMk cId="3603536025" sldId="2076136653"/>
            <ac:grpSpMk id="8" creationId="{C095A3E0-15E5-46E5-9EBC-CCD30D28737C}"/>
          </ac:grpSpMkLst>
        </pc:grpChg>
        <pc:grpChg chg="mod">
          <ac:chgData name="Renata Festa" userId="6f22df47-533b-4c2a-a3c1-7f9ad1d63e10" providerId="ADAL" clId="{7D997690-04A4-4675-83D7-2E1CC2ED1A4E}" dt="2020-03-24T14:08:50.905" v="1748" actId="1038"/>
          <ac:grpSpMkLst>
            <pc:docMk/>
            <pc:sldMk cId="3603536025" sldId="2076136653"/>
            <ac:grpSpMk id="9" creationId="{CD5E3E01-1C87-4771-816F-122099EBB8A2}"/>
          </ac:grpSpMkLst>
        </pc:grpChg>
        <pc:grpChg chg="add mod">
          <ac:chgData name="Renata Festa" userId="6f22df47-533b-4c2a-a3c1-7f9ad1d63e10" providerId="ADAL" clId="{7D997690-04A4-4675-83D7-2E1CC2ED1A4E}" dt="2020-03-24T14:08:50.905" v="1748" actId="1038"/>
          <ac:grpSpMkLst>
            <pc:docMk/>
            <pc:sldMk cId="3603536025" sldId="2076136653"/>
            <ac:grpSpMk id="13" creationId="{7FCF5734-7361-47B4-9CED-8705B2DB03A8}"/>
          </ac:grpSpMkLst>
        </pc:grpChg>
        <pc:grpChg chg="mod">
          <ac:chgData name="Renata Festa" userId="6f22df47-533b-4c2a-a3c1-7f9ad1d63e10" providerId="ADAL" clId="{7D997690-04A4-4675-83D7-2E1CC2ED1A4E}" dt="2020-03-24T14:08:50.905" v="1748" actId="1038"/>
          <ac:grpSpMkLst>
            <pc:docMk/>
            <pc:sldMk cId="3603536025" sldId="2076136653"/>
            <ac:grpSpMk id="14" creationId="{06F5FA2E-E651-4B15-BC06-C24CDF8F1BA5}"/>
          </ac:grpSpMkLst>
        </pc:grpChg>
        <pc:grpChg chg="mod">
          <ac:chgData name="Renata Festa" userId="6f22df47-533b-4c2a-a3c1-7f9ad1d63e10" providerId="ADAL" clId="{7D997690-04A4-4675-83D7-2E1CC2ED1A4E}" dt="2020-03-24T14:08:50.905" v="1748" actId="1038"/>
          <ac:grpSpMkLst>
            <pc:docMk/>
            <pc:sldMk cId="3603536025" sldId="2076136653"/>
            <ac:grpSpMk id="21" creationId="{805CD25F-9E88-4D4F-8A12-C9313E121B86}"/>
          </ac:grpSpMkLst>
        </pc:grpChg>
        <pc:grpChg chg="mod">
          <ac:chgData name="Renata Festa" userId="6f22df47-533b-4c2a-a3c1-7f9ad1d63e10" providerId="ADAL" clId="{7D997690-04A4-4675-83D7-2E1CC2ED1A4E}" dt="2020-03-24T14:08:50.905" v="1748" actId="1038"/>
          <ac:grpSpMkLst>
            <pc:docMk/>
            <pc:sldMk cId="3603536025" sldId="2076136653"/>
            <ac:grpSpMk id="22" creationId="{782D93C1-42E9-4D25-B800-1FE52B4F1409}"/>
          </ac:grpSpMkLst>
        </pc:grpChg>
        <pc:grpChg chg="add mod">
          <ac:chgData name="Renata Festa" userId="6f22df47-533b-4c2a-a3c1-7f9ad1d63e10" providerId="ADAL" clId="{7D997690-04A4-4675-83D7-2E1CC2ED1A4E}" dt="2020-03-24T14:08:50.905" v="1748" actId="1038"/>
          <ac:grpSpMkLst>
            <pc:docMk/>
            <pc:sldMk cId="3603536025" sldId="2076136653"/>
            <ac:grpSpMk id="29" creationId="{CCB3FD96-1F91-4416-8465-321B28A1000F}"/>
          </ac:grpSpMkLst>
        </pc:grpChg>
        <pc:graphicFrameChg chg="add mod">
          <ac:chgData name="Renata Festa" userId="6f22df47-533b-4c2a-a3c1-7f9ad1d63e10" providerId="ADAL" clId="{7D997690-04A4-4675-83D7-2E1CC2ED1A4E}" dt="2020-03-24T14:08:34.509" v="1736" actId="1038"/>
          <ac:graphicFrameMkLst>
            <pc:docMk/>
            <pc:sldMk cId="3603536025" sldId="2076136653"/>
            <ac:graphicFrameMk id="32" creationId="{097FFDBD-561F-44BA-92DC-70CD33F4E8E6}"/>
          </ac:graphicFrameMkLst>
        </pc:graphicFrameChg>
      </pc:sldChg>
      <pc:sldChg chg="addSp delSp modSp add mod">
        <pc:chgData name="Renata Festa" userId="6f22df47-533b-4c2a-a3c1-7f9ad1d63e10" providerId="ADAL" clId="{7D997690-04A4-4675-83D7-2E1CC2ED1A4E}" dt="2020-03-24T14:22:49.134" v="1779" actId="478"/>
        <pc:sldMkLst>
          <pc:docMk/>
          <pc:sldMk cId="3992590962" sldId="2076136654"/>
        </pc:sldMkLst>
        <pc:spChg chg="mod">
          <ac:chgData name="Renata Festa" userId="6f22df47-533b-4c2a-a3c1-7f9ad1d63e10" providerId="ADAL" clId="{7D997690-04A4-4675-83D7-2E1CC2ED1A4E}" dt="2020-03-24T14:09:31.720" v="1754" actId="404"/>
          <ac:spMkLst>
            <pc:docMk/>
            <pc:sldMk cId="3992590962" sldId="2076136654"/>
            <ac:spMk id="2" creationId="{EB67312A-9819-43C6-8D84-D9136E6CFFCC}"/>
          </ac:spMkLst>
        </pc:spChg>
        <pc:spChg chg="del">
          <ac:chgData name="Renata Festa" userId="6f22df47-533b-4c2a-a3c1-7f9ad1d63e10" providerId="ADAL" clId="{7D997690-04A4-4675-83D7-2E1CC2ED1A4E}" dt="2020-03-24T14:09:39.737" v="1755" actId="478"/>
          <ac:spMkLst>
            <pc:docMk/>
            <pc:sldMk cId="3992590962" sldId="2076136654"/>
            <ac:spMk id="3" creationId="{F35E8CBB-5A7D-4DEF-BAF7-8DD5D042F9E0}"/>
          </ac:spMkLst>
        </pc:spChg>
        <pc:spChg chg="del mod">
          <ac:chgData name="Renata Festa" userId="6f22df47-533b-4c2a-a3c1-7f9ad1d63e10" providerId="ADAL" clId="{7D997690-04A4-4675-83D7-2E1CC2ED1A4E}" dt="2020-03-24T14:21:47.428" v="1768" actId="12084"/>
          <ac:spMkLst>
            <pc:docMk/>
            <pc:sldMk cId="3992590962" sldId="2076136654"/>
            <ac:spMk id="4" creationId="{F3616A99-090F-45E1-9334-58D58B148205}"/>
          </ac:spMkLst>
        </pc:spChg>
        <pc:spChg chg="add del mod">
          <ac:chgData name="Renata Festa" userId="6f22df47-533b-4c2a-a3c1-7f9ad1d63e10" providerId="ADAL" clId="{7D997690-04A4-4675-83D7-2E1CC2ED1A4E}" dt="2020-03-24T14:22:49.134" v="1779" actId="478"/>
          <ac:spMkLst>
            <pc:docMk/>
            <pc:sldMk cId="3992590962" sldId="2076136654"/>
            <ac:spMk id="6" creationId="{8C3DE97E-191F-4610-A22D-EB12E421AFB9}"/>
          </ac:spMkLst>
        </pc:spChg>
        <pc:graphicFrameChg chg="add mod">
          <ac:chgData name="Renata Festa" userId="6f22df47-533b-4c2a-a3c1-7f9ad1d63e10" providerId="ADAL" clId="{7D997690-04A4-4675-83D7-2E1CC2ED1A4E}" dt="2020-03-24T14:22:20.884" v="1777"/>
          <ac:graphicFrameMkLst>
            <pc:docMk/>
            <pc:sldMk cId="3992590962" sldId="2076136654"/>
            <ac:graphicFrameMk id="5" creationId="{ACFBD576-BC35-470F-AD93-9943AE29C551}"/>
          </ac:graphicFrameMkLst>
        </pc:graphicFrameChg>
        <pc:picChg chg="add mod">
          <ac:chgData name="Renata Festa" userId="6f22df47-533b-4c2a-a3c1-7f9ad1d63e10" providerId="ADAL" clId="{7D997690-04A4-4675-83D7-2E1CC2ED1A4E}" dt="2020-03-24T14:22:25.908" v="1778" actId="14100"/>
          <ac:picMkLst>
            <pc:docMk/>
            <pc:sldMk cId="3992590962" sldId="2076136654"/>
            <ac:picMk id="7" creationId="{981E1BA5-16D9-426B-9B9E-1E78119B58F9}"/>
          </ac:picMkLst>
        </pc:picChg>
      </pc:sldChg>
      <pc:sldChg chg="addSp delSp modSp add mod">
        <pc:chgData name="Renata Festa" userId="6f22df47-533b-4c2a-a3c1-7f9ad1d63e10" providerId="ADAL" clId="{7D997690-04A4-4675-83D7-2E1CC2ED1A4E}" dt="2020-03-24T14:23:56.272" v="1792" actId="1076"/>
        <pc:sldMkLst>
          <pc:docMk/>
          <pc:sldMk cId="4236357783" sldId="2076136655"/>
        </pc:sldMkLst>
        <pc:spChg chg="mod">
          <ac:chgData name="Renata Festa" userId="6f22df47-533b-4c2a-a3c1-7f9ad1d63e10" providerId="ADAL" clId="{7D997690-04A4-4675-83D7-2E1CC2ED1A4E}" dt="2020-03-24T14:22:57.391" v="1780"/>
          <ac:spMkLst>
            <pc:docMk/>
            <pc:sldMk cId="4236357783" sldId="2076136655"/>
            <ac:spMk id="2" creationId="{EB67312A-9819-43C6-8D84-D9136E6CFFCC}"/>
          </ac:spMkLst>
        </pc:spChg>
        <pc:spChg chg="del">
          <ac:chgData name="Renata Festa" userId="6f22df47-533b-4c2a-a3c1-7f9ad1d63e10" providerId="ADAL" clId="{7D997690-04A4-4675-83D7-2E1CC2ED1A4E}" dt="2020-03-24T14:23:04.244" v="1781" actId="478"/>
          <ac:spMkLst>
            <pc:docMk/>
            <pc:sldMk cId="4236357783" sldId="2076136655"/>
            <ac:spMk id="3" creationId="{F35E8CBB-5A7D-4DEF-BAF7-8DD5D042F9E0}"/>
          </ac:spMkLst>
        </pc:spChg>
        <pc:spChg chg="del mod">
          <ac:chgData name="Renata Festa" userId="6f22df47-533b-4c2a-a3c1-7f9ad1d63e10" providerId="ADAL" clId="{7D997690-04A4-4675-83D7-2E1CC2ED1A4E}" dt="2020-03-24T14:23:42.863" v="1787" actId="12084"/>
          <ac:spMkLst>
            <pc:docMk/>
            <pc:sldMk cId="4236357783" sldId="2076136655"/>
            <ac:spMk id="4" creationId="{F3616A99-090F-45E1-9334-58D58B148205}"/>
          </ac:spMkLst>
        </pc:spChg>
        <pc:graphicFrameChg chg="add mod">
          <ac:chgData name="Renata Festa" userId="6f22df47-533b-4c2a-a3c1-7f9ad1d63e10" providerId="ADAL" clId="{7D997690-04A4-4675-83D7-2E1CC2ED1A4E}" dt="2020-03-24T14:23:42.863" v="1787" actId="12084"/>
          <ac:graphicFrameMkLst>
            <pc:docMk/>
            <pc:sldMk cId="4236357783" sldId="2076136655"/>
            <ac:graphicFrameMk id="5" creationId="{99F96923-6F93-4314-845E-DE2C51DDCED2}"/>
          </ac:graphicFrameMkLst>
        </pc:graphicFrameChg>
        <pc:picChg chg="add mod">
          <ac:chgData name="Renata Festa" userId="6f22df47-533b-4c2a-a3c1-7f9ad1d63e10" providerId="ADAL" clId="{7D997690-04A4-4675-83D7-2E1CC2ED1A4E}" dt="2020-03-24T14:23:56.272" v="1792" actId="1076"/>
          <ac:picMkLst>
            <pc:docMk/>
            <pc:sldMk cId="4236357783" sldId="2076136655"/>
            <ac:picMk id="6" creationId="{D78615AF-EC7D-4D2C-AE5B-FBD591AB97D5}"/>
          </ac:picMkLst>
        </pc:picChg>
      </pc:sldChg>
      <pc:sldChg chg="add del">
        <pc:chgData name="Renata Festa" userId="6f22df47-533b-4c2a-a3c1-7f9ad1d63e10" providerId="ADAL" clId="{7D997690-04A4-4675-83D7-2E1CC2ED1A4E}" dt="2020-03-24T14:26:11.423" v="1812" actId="47"/>
        <pc:sldMkLst>
          <pc:docMk/>
          <pc:sldMk cId="2776068189" sldId="2076136656"/>
        </pc:sldMkLst>
      </pc:sldChg>
      <pc:sldChg chg="add del">
        <pc:chgData name="Renata Festa" userId="6f22df47-533b-4c2a-a3c1-7f9ad1d63e10" providerId="ADAL" clId="{7D997690-04A4-4675-83D7-2E1CC2ED1A4E}" dt="2020-03-24T14:26:11.847" v="1813" actId="47"/>
        <pc:sldMkLst>
          <pc:docMk/>
          <pc:sldMk cId="276951047" sldId="2076136657"/>
        </pc:sldMkLst>
      </pc:sldChg>
      <pc:sldChg chg="add del">
        <pc:chgData name="Renata Festa" userId="6f22df47-533b-4c2a-a3c1-7f9ad1d63e10" providerId="ADAL" clId="{7D997690-04A4-4675-83D7-2E1CC2ED1A4E}" dt="2020-03-24T14:26:12.307" v="1814" actId="47"/>
        <pc:sldMkLst>
          <pc:docMk/>
          <pc:sldMk cId="2954409032" sldId="2076136658"/>
        </pc:sldMkLst>
      </pc:sldChg>
      <pc:sldChg chg="add del">
        <pc:chgData name="Renata Festa" userId="6f22df47-533b-4c2a-a3c1-7f9ad1d63e10" providerId="ADAL" clId="{7D997690-04A4-4675-83D7-2E1CC2ED1A4E}" dt="2020-03-24T14:26:13.583" v="1815" actId="47"/>
        <pc:sldMkLst>
          <pc:docMk/>
          <pc:sldMk cId="2364849535" sldId="2076136659"/>
        </pc:sldMkLst>
      </pc:sldChg>
      <pc:sldChg chg="add del">
        <pc:chgData name="Renata Festa" userId="6f22df47-533b-4c2a-a3c1-7f9ad1d63e10" providerId="ADAL" clId="{7D997690-04A4-4675-83D7-2E1CC2ED1A4E}" dt="2020-03-24T14:26:14.059" v="1816" actId="47"/>
        <pc:sldMkLst>
          <pc:docMk/>
          <pc:sldMk cId="2697629418" sldId="2076136660"/>
        </pc:sldMkLst>
      </pc:sldChg>
      <pc:sldChg chg="add del">
        <pc:chgData name="Renata Festa" userId="6f22df47-533b-4c2a-a3c1-7f9ad1d63e10" providerId="ADAL" clId="{7D997690-04A4-4675-83D7-2E1CC2ED1A4E}" dt="2020-03-24T14:26:15.534" v="1817" actId="47"/>
        <pc:sldMkLst>
          <pc:docMk/>
          <pc:sldMk cId="1274441334" sldId="2076136661"/>
        </pc:sldMkLst>
      </pc:sldChg>
      <pc:sldChg chg="modSp add mod modAnim modShow">
        <pc:chgData name="Renata Festa" userId="6f22df47-533b-4c2a-a3c1-7f9ad1d63e10" providerId="ADAL" clId="{7D997690-04A4-4675-83D7-2E1CC2ED1A4E}" dt="2020-03-25T17:03:44.556" v="4937"/>
        <pc:sldMkLst>
          <pc:docMk/>
          <pc:sldMk cId="2622412200" sldId="2076136662"/>
        </pc:sldMkLst>
        <pc:graphicFrameChg chg="mod">
          <ac:chgData name="Renata Festa" userId="6f22df47-533b-4c2a-a3c1-7f9ad1d63e10" providerId="ADAL" clId="{7D997690-04A4-4675-83D7-2E1CC2ED1A4E}" dt="2020-03-24T14:25:20.578" v="1804" actId="12100"/>
          <ac:graphicFrameMkLst>
            <pc:docMk/>
            <pc:sldMk cId="2622412200" sldId="2076136662"/>
            <ac:graphicFrameMk id="3" creationId="{9484E1FE-7534-495E-863C-657A46F5E628}"/>
          </ac:graphicFrameMkLst>
        </pc:graphicFrameChg>
      </pc:sldChg>
      <pc:sldChg chg="addSp delSp modSp add mod delAnim modAnim">
        <pc:chgData name="Renata Festa" userId="6f22df47-533b-4c2a-a3c1-7f9ad1d63e10" providerId="ADAL" clId="{7D997690-04A4-4675-83D7-2E1CC2ED1A4E}" dt="2020-03-24T14:30:13.977" v="1862"/>
        <pc:sldMkLst>
          <pc:docMk/>
          <pc:sldMk cId="576151350" sldId="2076136663"/>
        </pc:sldMkLst>
        <pc:spChg chg="mod">
          <ac:chgData name="Renata Festa" userId="6f22df47-533b-4c2a-a3c1-7f9ad1d63e10" providerId="ADAL" clId="{7D997690-04A4-4675-83D7-2E1CC2ED1A4E}" dt="2020-03-24T14:28:15.987" v="1839"/>
          <ac:spMkLst>
            <pc:docMk/>
            <pc:sldMk cId="576151350" sldId="2076136663"/>
            <ac:spMk id="2" creationId="{EB67312A-9819-43C6-8D84-D9136E6CFFCC}"/>
          </ac:spMkLst>
        </pc:spChg>
        <pc:spChg chg="del">
          <ac:chgData name="Renata Festa" userId="6f22df47-533b-4c2a-a3c1-7f9ad1d63e10" providerId="ADAL" clId="{7D997690-04A4-4675-83D7-2E1CC2ED1A4E}" dt="2020-03-24T14:28:17.723" v="1840" actId="478"/>
          <ac:spMkLst>
            <pc:docMk/>
            <pc:sldMk cId="576151350" sldId="2076136663"/>
            <ac:spMk id="3" creationId="{F35E8CBB-5A7D-4DEF-BAF7-8DD5D042F9E0}"/>
          </ac:spMkLst>
        </pc:spChg>
        <pc:spChg chg="add del mod">
          <ac:chgData name="Renata Festa" userId="6f22df47-533b-4c2a-a3c1-7f9ad1d63e10" providerId="ADAL" clId="{7D997690-04A4-4675-83D7-2E1CC2ED1A4E}" dt="2020-03-24T14:29:00.310" v="1848" actId="12084"/>
          <ac:spMkLst>
            <pc:docMk/>
            <pc:sldMk cId="576151350" sldId="2076136663"/>
            <ac:spMk id="4" creationId="{F3616A99-090F-45E1-9334-58D58B148205}"/>
          </ac:spMkLst>
        </pc:spChg>
        <pc:graphicFrameChg chg="add del mod">
          <ac:chgData name="Renata Festa" userId="6f22df47-533b-4c2a-a3c1-7f9ad1d63e10" providerId="ADAL" clId="{7D997690-04A4-4675-83D7-2E1CC2ED1A4E}" dt="2020-03-24T14:28:52.771" v="1846" actId="12084"/>
          <ac:graphicFrameMkLst>
            <pc:docMk/>
            <pc:sldMk cId="576151350" sldId="2076136663"/>
            <ac:graphicFrameMk id="5" creationId="{EC7EBDF1-FFDF-43C9-84C2-EB7A13C60F4B}"/>
          </ac:graphicFrameMkLst>
        </pc:graphicFrameChg>
        <pc:graphicFrameChg chg="add mod">
          <ac:chgData name="Renata Festa" userId="6f22df47-533b-4c2a-a3c1-7f9ad1d63e10" providerId="ADAL" clId="{7D997690-04A4-4675-83D7-2E1CC2ED1A4E}" dt="2020-03-24T14:29:03.644" v="1849"/>
          <ac:graphicFrameMkLst>
            <pc:docMk/>
            <pc:sldMk cId="576151350" sldId="2076136663"/>
            <ac:graphicFrameMk id="6" creationId="{B0CC26BA-DFB8-43D6-B002-070DD5FC78D2}"/>
          </ac:graphicFrameMkLst>
        </pc:graphicFrameChg>
        <pc:picChg chg="add del mod">
          <ac:chgData name="Renata Festa" userId="6f22df47-533b-4c2a-a3c1-7f9ad1d63e10" providerId="ADAL" clId="{7D997690-04A4-4675-83D7-2E1CC2ED1A4E}" dt="2020-03-24T14:29:40.095" v="1853" actId="478"/>
          <ac:picMkLst>
            <pc:docMk/>
            <pc:sldMk cId="576151350" sldId="2076136663"/>
            <ac:picMk id="7" creationId="{09A17588-1B8B-4CC9-B57A-0CB297149C65}"/>
          </ac:picMkLst>
        </pc:picChg>
        <pc:picChg chg="add mod">
          <ac:chgData name="Renata Festa" userId="6f22df47-533b-4c2a-a3c1-7f9ad1d63e10" providerId="ADAL" clId="{7D997690-04A4-4675-83D7-2E1CC2ED1A4E}" dt="2020-03-24T14:29:44.552" v="1855" actId="1076"/>
          <ac:picMkLst>
            <pc:docMk/>
            <pc:sldMk cId="576151350" sldId="2076136663"/>
            <ac:picMk id="8" creationId="{2B73BF74-E397-4001-8709-3EF04EE5AAF5}"/>
          </ac:picMkLst>
        </pc:picChg>
        <pc:picChg chg="add mod">
          <ac:chgData name="Renata Festa" userId="6f22df47-533b-4c2a-a3c1-7f9ad1d63e10" providerId="ADAL" clId="{7D997690-04A4-4675-83D7-2E1CC2ED1A4E}" dt="2020-03-24T14:29:46.550" v="1856" actId="1076"/>
          <ac:picMkLst>
            <pc:docMk/>
            <pc:sldMk cId="576151350" sldId="2076136663"/>
            <ac:picMk id="9" creationId="{ACB00820-7537-4EA3-9ADD-D3AFC498FFFB}"/>
          </ac:picMkLst>
        </pc:picChg>
        <pc:picChg chg="add mod">
          <ac:chgData name="Renata Festa" userId="6f22df47-533b-4c2a-a3c1-7f9ad1d63e10" providerId="ADAL" clId="{7D997690-04A4-4675-83D7-2E1CC2ED1A4E}" dt="2020-03-24T14:29:53.519" v="1859" actId="1076"/>
          <ac:picMkLst>
            <pc:docMk/>
            <pc:sldMk cId="576151350" sldId="2076136663"/>
            <ac:picMk id="10" creationId="{40AE1FF2-9AE9-4DA6-9147-EF71D0D8249F}"/>
          </ac:picMkLst>
        </pc:picChg>
      </pc:sldChg>
      <pc:sldChg chg="addSp delSp modSp add mod">
        <pc:chgData name="Renata Festa" userId="6f22df47-533b-4c2a-a3c1-7f9ad1d63e10" providerId="ADAL" clId="{7D997690-04A4-4675-83D7-2E1CC2ED1A4E}" dt="2020-03-24T14:31:10.085" v="1868" actId="478"/>
        <pc:sldMkLst>
          <pc:docMk/>
          <pc:sldMk cId="3049863206" sldId="2076136664"/>
        </pc:sldMkLst>
        <pc:spChg chg="mod">
          <ac:chgData name="Renata Festa" userId="6f22df47-533b-4c2a-a3c1-7f9ad1d63e10" providerId="ADAL" clId="{7D997690-04A4-4675-83D7-2E1CC2ED1A4E}" dt="2020-03-24T14:30:38.369" v="1863"/>
          <ac:spMkLst>
            <pc:docMk/>
            <pc:sldMk cId="3049863206" sldId="2076136664"/>
            <ac:spMk id="2" creationId="{EB67312A-9819-43C6-8D84-D9136E6CFFCC}"/>
          </ac:spMkLst>
        </pc:spChg>
        <pc:spChg chg="del">
          <ac:chgData name="Renata Festa" userId="6f22df47-533b-4c2a-a3c1-7f9ad1d63e10" providerId="ADAL" clId="{7D997690-04A4-4675-83D7-2E1CC2ED1A4E}" dt="2020-03-24T14:30:40.385" v="1864" actId="478"/>
          <ac:spMkLst>
            <pc:docMk/>
            <pc:sldMk cId="3049863206" sldId="2076136664"/>
            <ac:spMk id="3" creationId="{F35E8CBB-5A7D-4DEF-BAF7-8DD5D042F9E0}"/>
          </ac:spMkLst>
        </pc:spChg>
        <pc:spChg chg="del">
          <ac:chgData name="Renata Festa" userId="6f22df47-533b-4c2a-a3c1-7f9ad1d63e10" providerId="ADAL" clId="{7D997690-04A4-4675-83D7-2E1CC2ED1A4E}" dt="2020-03-24T14:31:10.085" v="1868" actId="478"/>
          <ac:spMkLst>
            <pc:docMk/>
            <pc:sldMk cId="3049863206" sldId="2076136664"/>
            <ac:spMk id="4" creationId="{F3616A99-090F-45E1-9334-58D58B148205}"/>
          </ac:spMkLst>
        </pc:spChg>
        <pc:grpChg chg="add mod">
          <ac:chgData name="Renata Festa" userId="6f22df47-533b-4c2a-a3c1-7f9ad1d63e10" providerId="ADAL" clId="{7D997690-04A4-4675-83D7-2E1CC2ED1A4E}" dt="2020-03-24T14:31:06.192" v="1867" actId="1076"/>
          <ac:grpSpMkLst>
            <pc:docMk/>
            <pc:sldMk cId="3049863206" sldId="2076136664"/>
            <ac:grpSpMk id="6" creationId="{FEB1A156-ED79-4838-A564-8DC6D6BE9B89}"/>
          </ac:grpSpMkLst>
        </pc:grpChg>
        <pc:picChg chg="add mod">
          <ac:chgData name="Renata Festa" userId="6f22df47-533b-4c2a-a3c1-7f9ad1d63e10" providerId="ADAL" clId="{7D997690-04A4-4675-83D7-2E1CC2ED1A4E}" dt="2020-03-24T14:31:06.192" v="1867" actId="1076"/>
          <ac:picMkLst>
            <pc:docMk/>
            <pc:sldMk cId="3049863206" sldId="2076136664"/>
            <ac:picMk id="5" creationId="{95C89BAA-9700-4A56-BF3F-1F548076870A}"/>
          </ac:picMkLst>
        </pc:picChg>
      </pc:sldChg>
      <pc:sldChg chg="addSp delSp modSp add mod">
        <pc:chgData name="Renata Festa" userId="6f22df47-533b-4c2a-a3c1-7f9ad1d63e10" providerId="ADAL" clId="{7D997690-04A4-4675-83D7-2E1CC2ED1A4E}" dt="2020-03-24T14:34:38.596" v="1903" actId="478"/>
        <pc:sldMkLst>
          <pc:docMk/>
          <pc:sldMk cId="1771447696" sldId="2076136665"/>
        </pc:sldMkLst>
        <pc:spChg chg="mod">
          <ac:chgData name="Renata Festa" userId="6f22df47-533b-4c2a-a3c1-7f9ad1d63e10" providerId="ADAL" clId="{7D997690-04A4-4675-83D7-2E1CC2ED1A4E}" dt="2020-03-24T14:31:23.263" v="1869"/>
          <ac:spMkLst>
            <pc:docMk/>
            <pc:sldMk cId="1771447696" sldId="2076136665"/>
            <ac:spMk id="2" creationId="{EB67312A-9819-43C6-8D84-D9136E6CFFCC}"/>
          </ac:spMkLst>
        </pc:spChg>
        <pc:spChg chg="del">
          <ac:chgData name="Renata Festa" userId="6f22df47-533b-4c2a-a3c1-7f9ad1d63e10" providerId="ADAL" clId="{7D997690-04A4-4675-83D7-2E1CC2ED1A4E}" dt="2020-03-24T14:32:04.038" v="1871" actId="478"/>
          <ac:spMkLst>
            <pc:docMk/>
            <pc:sldMk cId="1771447696" sldId="2076136665"/>
            <ac:spMk id="3" creationId="{F35E8CBB-5A7D-4DEF-BAF7-8DD5D042F9E0}"/>
          </ac:spMkLst>
        </pc:spChg>
        <pc:spChg chg="del">
          <ac:chgData name="Renata Festa" userId="6f22df47-533b-4c2a-a3c1-7f9ad1d63e10" providerId="ADAL" clId="{7D997690-04A4-4675-83D7-2E1CC2ED1A4E}" dt="2020-03-24T14:34:38.596" v="1903" actId="478"/>
          <ac:spMkLst>
            <pc:docMk/>
            <pc:sldMk cId="1771447696" sldId="2076136665"/>
            <ac:spMk id="4" creationId="{F3616A99-090F-45E1-9334-58D58B148205}"/>
          </ac:spMkLst>
        </pc:spChg>
        <pc:spChg chg="add mod">
          <ac:chgData name="Renata Festa" userId="6f22df47-533b-4c2a-a3c1-7f9ad1d63e10" providerId="ADAL" clId="{7D997690-04A4-4675-83D7-2E1CC2ED1A4E}" dt="2020-03-24T14:34:10.190" v="1899" actId="255"/>
          <ac:spMkLst>
            <pc:docMk/>
            <pc:sldMk cId="1771447696" sldId="2076136665"/>
            <ac:spMk id="5" creationId="{1B692013-58F1-4632-9235-6717EE2F51AE}"/>
          </ac:spMkLst>
        </pc:spChg>
        <pc:spChg chg="add mod">
          <ac:chgData name="Renata Festa" userId="6f22df47-533b-4c2a-a3c1-7f9ad1d63e10" providerId="ADAL" clId="{7D997690-04A4-4675-83D7-2E1CC2ED1A4E}" dt="2020-03-24T14:34:22.257" v="1902" actId="1035"/>
          <ac:spMkLst>
            <pc:docMk/>
            <pc:sldMk cId="1771447696" sldId="2076136665"/>
            <ac:spMk id="6" creationId="{66466FC2-9E0C-4FEC-8A90-3FC7EE50CB7B}"/>
          </ac:spMkLst>
        </pc:spChg>
        <pc:graphicFrameChg chg="add mod">
          <ac:chgData name="Renata Festa" userId="6f22df47-533b-4c2a-a3c1-7f9ad1d63e10" providerId="ADAL" clId="{7D997690-04A4-4675-83D7-2E1CC2ED1A4E}" dt="2020-03-24T14:32:09.234" v="1873" actId="14100"/>
          <ac:graphicFrameMkLst>
            <pc:docMk/>
            <pc:sldMk cId="1771447696" sldId="2076136665"/>
            <ac:graphicFrameMk id="7" creationId="{64378160-055A-44F2-8448-BDD4510F54B6}"/>
          </ac:graphicFrameMkLst>
        </pc:graphicFrameChg>
        <pc:picChg chg="add mod">
          <ac:chgData name="Renata Festa" userId="6f22df47-533b-4c2a-a3c1-7f9ad1d63e10" providerId="ADAL" clId="{7D997690-04A4-4675-83D7-2E1CC2ED1A4E}" dt="2020-03-24T14:32:17.426" v="1874" actId="14100"/>
          <ac:picMkLst>
            <pc:docMk/>
            <pc:sldMk cId="1771447696" sldId="2076136665"/>
            <ac:picMk id="8" creationId="{DB20293E-6905-4CEF-B912-B88E0BF99EC3}"/>
          </ac:picMkLst>
        </pc:picChg>
      </pc:sldChg>
      <pc:sldChg chg="add del">
        <pc:chgData name="Renata Festa" userId="6f22df47-533b-4c2a-a3c1-7f9ad1d63e10" providerId="ADAL" clId="{7D997690-04A4-4675-83D7-2E1CC2ED1A4E}" dt="2020-03-24T14:36:05.716" v="1919" actId="47"/>
        <pc:sldMkLst>
          <pc:docMk/>
          <pc:sldMk cId="998567750" sldId="2076136666"/>
        </pc:sldMkLst>
      </pc:sldChg>
      <pc:sldChg chg="add del">
        <pc:chgData name="Renata Festa" userId="6f22df47-533b-4c2a-a3c1-7f9ad1d63e10" providerId="ADAL" clId="{7D997690-04A4-4675-83D7-2E1CC2ED1A4E}" dt="2020-03-24T14:36:05.993" v="1920" actId="47"/>
        <pc:sldMkLst>
          <pc:docMk/>
          <pc:sldMk cId="3989791203" sldId="2076136667"/>
        </pc:sldMkLst>
      </pc:sldChg>
      <pc:sldChg chg="modSp add mod modNotesTx">
        <pc:chgData name="Renata Festa" userId="6f22df47-533b-4c2a-a3c1-7f9ad1d63e10" providerId="ADAL" clId="{7D997690-04A4-4675-83D7-2E1CC2ED1A4E}" dt="2020-03-24T14:35:11.403" v="1910" actId="20577"/>
        <pc:sldMkLst>
          <pc:docMk/>
          <pc:sldMk cId="2839060334" sldId="2076136668"/>
        </pc:sldMkLst>
        <pc:spChg chg="mod">
          <ac:chgData name="Renata Festa" userId="6f22df47-533b-4c2a-a3c1-7f9ad1d63e10" providerId="ADAL" clId="{7D997690-04A4-4675-83D7-2E1CC2ED1A4E}" dt="2020-03-24T14:34:57.380" v="1906"/>
          <ac:spMkLst>
            <pc:docMk/>
            <pc:sldMk cId="2839060334" sldId="2076136668"/>
            <ac:spMk id="3" creationId="{8F64A22E-2B43-4FC6-AF08-0CDB3F9E9269}"/>
          </ac:spMkLst>
        </pc:spChg>
        <pc:spChg chg="mod">
          <ac:chgData name="Renata Festa" userId="6f22df47-533b-4c2a-a3c1-7f9ad1d63e10" providerId="ADAL" clId="{7D997690-04A4-4675-83D7-2E1CC2ED1A4E}" dt="2020-03-24T14:35:04.791" v="1907" actId="12"/>
          <ac:spMkLst>
            <pc:docMk/>
            <pc:sldMk cId="2839060334" sldId="2076136668"/>
            <ac:spMk id="6" creationId="{637E159C-9ACF-48AE-927A-D5FB13695C7F}"/>
          </ac:spMkLst>
        </pc:spChg>
      </pc:sldChg>
      <pc:sldChg chg="modSp add mod">
        <pc:chgData name="Renata Festa" userId="6f22df47-533b-4c2a-a3c1-7f9ad1d63e10" providerId="ADAL" clId="{7D997690-04A4-4675-83D7-2E1CC2ED1A4E}" dt="2020-03-24T14:35:42.622" v="1918" actId="20577"/>
        <pc:sldMkLst>
          <pc:docMk/>
          <pc:sldMk cId="2024735957" sldId="2076136669"/>
        </pc:sldMkLst>
        <pc:spChg chg="mod">
          <ac:chgData name="Renata Festa" userId="6f22df47-533b-4c2a-a3c1-7f9ad1d63e10" providerId="ADAL" clId="{7D997690-04A4-4675-83D7-2E1CC2ED1A4E}" dt="2020-03-24T14:35:28.997" v="1912"/>
          <ac:spMkLst>
            <pc:docMk/>
            <pc:sldMk cId="2024735957" sldId="2076136669"/>
            <ac:spMk id="2" creationId="{BC57B38C-8413-4861-A4F5-7DF656AEAD0D}"/>
          </ac:spMkLst>
        </pc:spChg>
        <pc:spChg chg="mod">
          <ac:chgData name="Renata Festa" userId="6f22df47-533b-4c2a-a3c1-7f9ad1d63e10" providerId="ADAL" clId="{7D997690-04A4-4675-83D7-2E1CC2ED1A4E}" dt="2020-03-24T14:35:42.622" v="1918" actId="20577"/>
          <ac:spMkLst>
            <pc:docMk/>
            <pc:sldMk cId="2024735957" sldId="2076136669"/>
            <ac:spMk id="3" creationId="{4897B8F8-26DF-42FB-ACB0-59929F1C2344}"/>
          </ac:spMkLst>
        </pc:spChg>
      </pc:sldChg>
      <pc:sldChg chg="addSp delSp modSp add mod modAnim">
        <pc:chgData name="Renata Festa" userId="6f22df47-533b-4c2a-a3c1-7f9ad1d63e10" providerId="ADAL" clId="{7D997690-04A4-4675-83D7-2E1CC2ED1A4E}" dt="2020-03-24T15:51:46.850" v="1955" actId="478"/>
        <pc:sldMkLst>
          <pc:docMk/>
          <pc:sldMk cId="2879606409" sldId="2076136670"/>
        </pc:sldMkLst>
        <pc:spChg chg="mod">
          <ac:chgData name="Renata Festa" userId="6f22df47-533b-4c2a-a3c1-7f9ad1d63e10" providerId="ADAL" clId="{7D997690-04A4-4675-83D7-2E1CC2ED1A4E}" dt="2020-03-24T15:51:00.981" v="1947"/>
          <ac:spMkLst>
            <pc:docMk/>
            <pc:sldMk cId="2879606409" sldId="2076136670"/>
            <ac:spMk id="2" creationId="{EB67312A-9819-43C6-8D84-D9136E6CFFCC}"/>
          </ac:spMkLst>
        </pc:spChg>
        <pc:spChg chg="del">
          <ac:chgData name="Renata Festa" userId="6f22df47-533b-4c2a-a3c1-7f9ad1d63e10" providerId="ADAL" clId="{7D997690-04A4-4675-83D7-2E1CC2ED1A4E}" dt="2020-03-24T15:51:02.484" v="1948" actId="478"/>
          <ac:spMkLst>
            <pc:docMk/>
            <pc:sldMk cId="2879606409" sldId="2076136670"/>
            <ac:spMk id="3" creationId="{F35E8CBB-5A7D-4DEF-BAF7-8DD5D042F9E0}"/>
          </ac:spMkLst>
        </pc:spChg>
        <pc:spChg chg="del">
          <ac:chgData name="Renata Festa" userId="6f22df47-533b-4c2a-a3c1-7f9ad1d63e10" providerId="ADAL" clId="{7D997690-04A4-4675-83D7-2E1CC2ED1A4E}" dt="2020-03-24T15:51:46.850" v="1955" actId="478"/>
          <ac:spMkLst>
            <pc:docMk/>
            <pc:sldMk cId="2879606409" sldId="2076136670"/>
            <ac:spMk id="4" creationId="{F3616A99-090F-45E1-9334-58D58B148205}"/>
          </ac:spMkLst>
        </pc:spChg>
        <pc:graphicFrameChg chg="add del">
          <ac:chgData name="Renata Festa" userId="6f22df47-533b-4c2a-a3c1-7f9ad1d63e10" providerId="ADAL" clId="{7D997690-04A4-4675-83D7-2E1CC2ED1A4E}" dt="2020-03-24T15:51:09.547" v="1950"/>
          <ac:graphicFrameMkLst>
            <pc:docMk/>
            <pc:sldMk cId="2879606409" sldId="2076136670"/>
            <ac:graphicFrameMk id="5" creationId="{9FBD9263-4749-47A2-95C1-2524443E8FA6}"/>
          </ac:graphicFrameMkLst>
        </pc:graphicFrameChg>
        <pc:graphicFrameChg chg="add mod">
          <ac:chgData name="Renata Festa" userId="6f22df47-533b-4c2a-a3c1-7f9ad1d63e10" providerId="ADAL" clId="{7D997690-04A4-4675-83D7-2E1CC2ED1A4E}" dt="2020-03-24T15:51:43.539" v="1954" actId="12100"/>
          <ac:graphicFrameMkLst>
            <pc:docMk/>
            <pc:sldMk cId="2879606409" sldId="2076136670"/>
            <ac:graphicFrameMk id="6" creationId="{B68167DA-22DB-4214-BAC5-D22824BDF6AC}"/>
          </ac:graphicFrameMkLst>
        </pc:graphicFrameChg>
      </pc:sldChg>
      <pc:sldChg chg="addSp delSp modSp add mod">
        <pc:chgData name="Renata Festa" userId="6f22df47-533b-4c2a-a3c1-7f9ad1d63e10" providerId="ADAL" clId="{7D997690-04A4-4675-83D7-2E1CC2ED1A4E}" dt="2020-03-24T15:54:26.523" v="2000" actId="1076"/>
        <pc:sldMkLst>
          <pc:docMk/>
          <pc:sldMk cId="664316681" sldId="2076136671"/>
        </pc:sldMkLst>
        <pc:spChg chg="mod">
          <ac:chgData name="Renata Festa" userId="6f22df47-533b-4c2a-a3c1-7f9ad1d63e10" providerId="ADAL" clId="{7D997690-04A4-4675-83D7-2E1CC2ED1A4E}" dt="2020-03-24T15:51:55.723" v="1956"/>
          <ac:spMkLst>
            <pc:docMk/>
            <pc:sldMk cId="664316681" sldId="2076136671"/>
            <ac:spMk id="2" creationId="{EB67312A-9819-43C6-8D84-D9136E6CFFCC}"/>
          </ac:spMkLst>
        </pc:spChg>
        <pc:spChg chg="del">
          <ac:chgData name="Renata Festa" userId="6f22df47-533b-4c2a-a3c1-7f9ad1d63e10" providerId="ADAL" clId="{7D997690-04A4-4675-83D7-2E1CC2ED1A4E}" dt="2020-03-24T15:53:22.384" v="1981" actId="478"/>
          <ac:spMkLst>
            <pc:docMk/>
            <pc:sldMk cId="664316681" sldId="2076136671"/>
            <ac:spMk id="3" creationId="{F35E8CBB-5A7D-4DEF-BAF7-8DD5D042F9E0}"/>
          </ac:spMkLst>
        </pc:spChg>
        <pc:spChg chg="del">
          <ac:chgData name="Renata Festa" userId="6f22df47-533b-4c2a-a3c1-7f9ad1d63e10" providerId="ADAL" clId="{7D997690-04A4-4675-83D7-2E1CC2ED1A4E}" dt="2020-03-24T15:53:38.777" v="1985" actId="478"/>
          <ac:spMkLst>
            <pc:docMk/>
            <pc:sldMk cId="664316681" sldId="2076136671"/>
            <ac:spMk id="4" creationId="{F3616A99-090F-45E1-9334-58D58B148205}"/>
          </ac:spMkLst>
        </pc:spChg>
        <pc:spChg chg="add del mod">
          <ac:chgData name="Renata Festa" userId="6f22df47-533b-4c2a-a3c1-7f9ad1d63e10" providerId="ADAL" clId="{7D997690-04A4-4675-83D7-2E1CC2ED1A4E}" dt="2020-03-24T15:53:55.533" v="1992" actId="478"/>
          <ac:spMkLst>
            <pc:docMk/>
            <pc:sldMk cId="664316681" sldId="2076136671"/>
            <ac:spMk id="6" creationId="{01E4C36C-2A9B-4E6A-8E78-9EEEEB99D856}"/>
          </ac:spMkLst>
        </pc:spChg>
        <pc:spChg chg="add mod">
          <ac:chgData name="Renata Festa" userId="6f22df47-533b-4c2a-a3c1-7f9ad1d63e10" providerId="ADAL" clId="{7D997690-04A4-4675-83D7-2E1CC2ED1A4E}" dt="2020-03-24T15:53:48.945" v="1989"/>
          <ac:spMkLst>
            <pc:docMk/>
            <pc:sldMk cId="664316681" sldId="2076136671"/>
            <ac:spMk id="7" creationId="{C67BE61E-29F5-4FAD-8EE0-9646617BD1DB}"/>
          </ac:spMkLst>
        </pc:spChg>
        <pc:spChg chg="add mod">
          <ac:chgData name="Renata Festa" userId="6f22df47-533b-4c2a-a3c1-7f9ad1d63e10" providerId="ADAL" clId="{7D997690-04A4-4675-83D7-2E1CC2ED1A4E}" dt="2020-03-24T15:54:26.523" v="2000" actId="1076"/>
          <ac:spMkLst>
            <pc:docMk/>
            <pc:sldMk cId="664316681" sldId="2076136671"/>
            <ac:spMk id="8" creationId="{8AF1641E-23D0-4B65-A1FB-048F880B4FF4}"/>
          </ac:spMkLst>
        </pc:spChg>
        <pc:graphicFrameChg chg="add del mod modGraphic">
          <ac:chgData name="Renata Festa" userId="6f22df47-533b-4c2a-a3c1-7f9ad1d63e10" providerId="ADAL" clId="{7D997690-04A4-4675-83D7-2E1CC2ED1A4E}" dt="2020-03-24T15:54:11.149" v="1998" actId="572"/>
          <ac:graphicFrameMkLst>
            <pc:docMk/>
            <pc:sldMk cId="664316681" sldId="2076136671"/>
            <ac:graphicFrameMk id="5" creationId="{C08CE232-D447-467A-942B-7BF0381757EE}"/>
          </ac:graphicFrameMkLst>
        </pc:graphicFrameChg>
      </pc:sldChg>
      <pc:sldChg chg="addSp delSp modSp add mod">
        <pc:chgData name="Renata Festa" userId="6f22df47-533b-4c2a-a3c1-7f9ad1d63e10" providerId="ADAL" clId="{7D997690-04A4-4675-83D7-2E1CC2ED1A4E}" dt="2020-03-24T15:55:30.010" v="2018" actId="1076"/>
        <pc:sldMkLst>
          <pc:docMk/>
          <pc:sldMk cId="357102091" sldId="2076136672"/>
        </pc:sldMkLst>
        <pc:spChg chg="mod">
          <ac:chgData name="Renata Festa" userId="6f22df47-533b-4c2a-a3c1-7f9ad1d63e10" providerId="ADAL" clId="{7D997690-04A4-4675-83D7-2E1CC2ED1A4E}" dt="2020-03-24T15:54:48.939" v="2001"/>
          <ac:spMkLst>
            <pc:docMk/>
            <pc:sldMk cId="357102091" sldId="2076136672"/>
            <ac:spMk id="2" creationId="{EB67312A-9819-43C6-8D84-D9136E6CFFCC}"/>
          </ac:spMkLst>
        </pc:spChg>
        <pc:spChg chg="del">
          <ac:chgData name="Renata Festa" userId="6f22df47-533b-4c2a-a3c1-7f9ad1d63e10" providerId="ADAL" clId="{7D997690-04A4-4675-83D7-2E1CC2ED1A4E}" dt="2020-03-24T15:54:51.082" v="2002" actId="478"/>
          <ac:spMkLst>
            <pc:docMk/>
            <pc:sldMk cId="357102091" sldId="2076136672"/>
            <ac:spMk id="3" creationId="{F35E8CBB-5A7D-4DEF-BAF7-8DD5D042F9E0}"/>
          </ac:spMkLst>
        </pc:spChg>
        <pc:spChg chg="mod">
          <ac:chgData name="Renata Festa" userId="6f22df47-533b-4c2a-a3c1-7f9ad1d63e10" providerId="ADAL" clId="{7D997690-04A4-4675-83D7-2E1CC2ED1A4E}" dt="2020-03-24T15:55:08.671" v="2013"/>
          <ac:spMkLst>
            <pc:docMk/>
            <pc:sldMk cId="357102091" sldId="2076136672"/>
            <ac:spMk id="4" creationId="{F3616A99-090F-45E1-9334-58D58B148205}"/>
          </ac:spMkLst>
        </pc:spChg>
        <pc:spChg chg="add mod">
          <ac:chgData name="Renata Festa" userId="6f22df47-533b-4c2a-a3c1-7f9ad1d63e10" providerId="ADAL" clId="{7D997690-04A4-4675-83D7-2E1CC2ED1A4E}" dt="2020-03-24T15:55:30.010" v="2018" actId="1076"/>
          <ac:spMkLst>
            <pc:docMk/>
            <pc:sldMk cId="357102091" sldId="2076136672"/>
            <ac:spMk id="7" creationId="{88B10235-2D67-43D5-AC42-1C99431C3D93}"/>
          </ac:spMkLst>
        </pc:spChg>
        <pc:graphicFrameChg chg="add del">
          <ac:chgData name="Renata Festa" userId="6f22df47-533b-4c2a-a3c1-7f9ad1d63e10" providerId="ADAL" clId="{7D997690-04A4-4675-83D7-2E1CC2ED1A4E}" dt="2020-03-24T15:55:04.382" v="2004"/>
          <ac:graphicFrameMkLst>
            <pc:docMk/>
            <pc:sldMk cId="357102091" sldId="2076136672"/>
            <ac:graphicFrameMk id="5" creationId="{7D5FC0E9-A25F-4E62-ACD9-9F9311D8905C}"/>
          </ac:graphicFrameMkLst>
        </pc:graphicFrameChg>
        <pc:graphicFrameChg chg="add mod modGraphic">
          <ac:chgData name="Renata Festa" userId="6f22df47-533b-4c2a-a3c1-7f9ad1d63e10" providerId="ADAL" clId="{7D997690-04A4-4675-83D7-2E1CC2ED1A4E}" dt="2020-03-24T15:55:17.898" v="2016" actId="14100"/>
          <ac:graphicFrameMkLst>
            <pc:docMk/>
            <pc:sldMk cId="357102091" sldId="2076136672"/>
            <ac:graphicFrameMk id="6" creationId="{40D25BCA-181A-4CF5-B031-3C6F0F7350DA}"/>
          </ac:graphicFrameMkLst>
        </pc:graphicFrameChg>
      </pc:sldChg>
      <pc:sldChg chg="addSp delSp modSp add mod">
        <pc:chgData name="Renata Festa" userId="6f22df47-533b-4c2a-a3c1-7f9ad1d63e10" providerId="ADAL" clId="{7D997690-04A4-4675-83D7-2E1CC2ED1A4E}" dt="2020-03-24T15:56:18.851" v="2027" actId="478"/>
        <pc:sldMkLst>
          <pc:docMk/>
          <pc:sldMk cId="1100248008" sldId="2076136673"/>
        </pc:sldMkLst>
        <pc:spChg chg="mod">
          <ac:chgData name="Renata Festa" userId="6f22df47-533b-4c2a-a3c1-7f9ad1d63e10" providerId="ADAL" clId="{7D997690-04A4-4675-83D7-2E1CC2ED1A4E}" dt="2020-03-24T15:55:52.174" v="2021"/>
          <ac:spMkLst>
            <pc:docMk/>
            <pc:sldMk cId="1100248008" sldId="2076136673"/>
            <ac:spMk id="2" creationId="{EB67312A-9819-43C6-8D84-D9136E6CFFCC}"/>
          </ac:spMkLst>
        </pc:spChg>
        <pc:spChg chg="del">
          <ac:chgData name="Renata Festa" userId="6f22df47-533b-4c2a-a3c1-7f9ad1d63e10" providerId="ADAL" clId="{7D997690-04A4-4675-83D7-2E1CC2ED1A4E}" dt="2020-03-24T15:56:18.851" v="2027" actId="478"/>
          <ac:spMkLst>
            <pc:docMk/>
            <pc:sldMk cId="1100248008" sldId="2076136673"/>
            <ac:spMk id="3" creationId="{F35E8CBB-5A7D-4DEF-BAF7-8DD5D042F9E0}"/>
          </ac:spMkLst>
        </pc:spChg>
        <pc:spChg chg="add">
          <ac:chgData name="Renata Festa" userId="6f22df47-533b-4c2a-a3c1-7f9ad1d63e10" providerId="ADAL" clId="{7D997690-04A4-4675-83D7-2E1CC2ED1A4E}" dt="2020-03-24T15:56:11.708" v="2026"/>
          <ac:spMkLst>
            <pc:docMk/>
            <pc:sldMk cId="1100248008" sldId="2076136673"/>
            <ac:spMk id="7" creationId="{DAE99AA9-F838-4078-8117-D495A500AF58}"/>
          </ac:spMkLst>
        </pc:spChg>
        <pc:graphicFrameChg chg="add mod modGraphic">
          <ac:chgData name="Renata Festa" userId="6f22df47-533b-4c2a-a3c1-7f9ad1d63e10" providerId="ADAL" clId="{7D997690-04A4-4675-83D7-2E1CC2ED1A4E}" dt="2020-03-24T15:56:07.391" v="2025" actId="14100"/>
          <ac:graphicFrameMkLst>
            <pc:docMk/>
            <pc:sldMk cId="1100248008" sldId="2076136673"/>
            <ac:graphicFrameMk id="6" creationId="{EA658248-1496-4FAD-9CFE-BAE13B30DA44}"/>
          </ac:graphicFrameMkLst>
        </pc:graphicFrameChg>
        <pc:picChg chg="add del">
          <ac:chgData name="Renata Festa" userId="6f22df47-533b-4c2a-a3c1-7f9ad1d63e10" providerId="ADAL" clId="{7D997690-04A4-4675-83D7-2E1CC2ED1A4E}" dt="2020-03-24T15:55:49.490" v="2020"/>
          <ac:picMkLst>
            <pc:docMk/>
            <pc:sldMk cId="1100248008" sldId="2076136673"/>
            <ac:picMk id="5" creationId="{C016A3BA-EA1B-479E-BE85-5A0AB53B847B}"/>
          </ac:picMkLst>
        </pc:picChg>
      </pc:sldChg>
      <pc:sldChg chg="addSp delSp modSp add mod modAnim">
        <pc:chgData name="Renata Festa" userId="6f22df47-533b-4c2a-a3c1-7f9ad1d63e10" providerId="ADAL" clId="{7D997690-04A4-4675-83D7-2E1CC2ED1A4E}" dt="2020-03-24T15:58:18.970" v="2047"/>
        <pc:sldMkLst>
          <pc:docMk/>
          <pc:sldMk cId="1400860027" sldId="2076136674"/>
        </pc:sldMkLst>
        <pc:spChg chg="mod">
          <ac:chgData name="Renata Festa" userId="6f22df47-533b-4c2a-a3c1-7f9ad1d63e10" providerId="ADAL" clId="{7D997690-04A4-4675-83D7-2E1CC2ED1A4E}" dt="2020-03-24T15:56:35.406" v="2028"/>
          <ac:spMkLst>
            <pc:docMk/>
            <pc:sldMk cId="1400860027" sldId="2076136674"/>
            <ac:spMk id="2" creationId="{EB67312A-9819-43C6-8D84-D9136E6CFFCC}"/>
          </ac:spMkLst>
        </pc:spChg>
        <pc:spChg chg="del">
          <ac:chgData name="Renata Festa" userId="6f22df47-533b-4c2a-a3c1-7f9ad1d63e10" providerId="ADAL" clId="{7D997690-04A4-4675-83D7-2E1CC2ED1A4E}" dt="2020-03-24T15:56:45.781" v="2029" actId="478"/>
          <ac:spMkLst>
            <pc:docMk/>
            <pc:sldMk cId="1400860027" sldId="2076136674"/>
            <ac:spMk id="3" creationId="{F35E8CBB-5A7D-4DEF-BAF7-8DD5D042F9E0}"/>
          </ac:spMkLst>
        </pc:spChg>
        <pc:spChg chg="del mod">
          <ac:chgData name="Renata Festa" userId="6f22df47-533b-4c2a-a3c1-7f9ad1d63e10" providerId="ADAL" clId="{7D997690-04A4-4675-83D7-2E1CC2ED1A4E}" dt="2020-03-24T15:57:18.045" v="2032" actId="12084"/>
          <ac:spMkLst>
            <pc:docMk/>
            <pc:sldMk cId="1400860027" sldId="2076136674"/>
            <ac:spMk id="4" creationId="{F3616A99-090F-45E1-9334-58D58B148205}"/>
          </ac:spMkLst>
        </pc:spChg>
        <pc:graphicFrameChg chg="add mod">
          <ac:chgData name="Renata Festa" userId="6f22df47-533b-4c2a-a3c1-7f9ad1d63e10" providerId="ADAL" clId="{7D997690-04A4-4675-83D7-2E1CC2ED1A4E}" dt="2020-03-24T15:57:27.714" v="2037" actId="14100"/>
          <ac:graphicFrameMkLst>
            <pc:docMk/>
            <pc:sldMk cId="1400860027" sldId="2076136674"/>
            <ac:graphicFrameMk id="5" creationId="{44C78A62-EAD4-4FB9-BEC8-25D4F06D852F}"/>
          </ac:graphicFrameMkLst>
        </pc:graphicFrameChg>
        <pc:picChg chg="add mod">
          <ac:chgData name="Renata Festa" userId="6f22df47-533b-4c2a-a3c1-7f9ad1d63e10" providerId="ADAL" clId="{7D997690-04A4-4675-83D7-2E1CC2ED1A4E}" dt="2020-03-24T15:57:54.479" v="2042" actId="1076"/>
          <ac:picMkLst>
            <pc:docMk/>
            <pc:sldMk cId="1400860027" sldId="2076136674"/>
            <ac:picMk id="6" creationId="{E66EA2D7-AED2-4652-8892-180336D938C4}"/>
          </ac:picMkLst>
        </pc:picChg>
        <pc:picChg chg="add mod">
          <ac:chgData name="Renata Festa" userId="6f22df47-533b-4c2a-a3c1-7f9ad1d63e10" providerId="ADAL" clId="{7D997690-04A4-4675-83D7-2E1CC2ED1A4E}" dt="2020-03-24T15:57:58.224" v="2043" actId="1076"/>
          <ac:picMkLst>
            <pc:docMk/>
            <pc:sldMk cId="1400860027" sldId="2076136674"/>
            <ac:picMk id="7" creationId="{EC37E3C9-455E-4A08-8E01-D42330900664}"/>
          </ac:picMkLst>
        </pc:picChg>
        <pc:picChg chg="add mod">
          <ac:chgData name="Renata Festa" userId="6f22df47-533b-4c2a-a3c1-7f9ad1d63e10" providerId="ADAL" clId="{7D997690-04A4-4675-83D7-2E1CC2ED1A4E}" dt="2020-03-24T15:58:01.023" v="2044" actId="1076"/>
          <ac:picMkLst>
            <pc:docMk/>
            <pc:sldMk cId="1400860027" sldId="2076136674"/>
            <ac:picMk id="8" creationId="{B2E57862-4703-4437-A014-D74FBEE2DE8B}"/>
          </ac:picMkLst>
        </pc:picChg>
      </pc:sldChg>
      <pc:sldChg chg="addSp delSp modSp add mod modAnim">
        <pc:chgData name="Renata Festa" userId="6f22df47-533b-4c2a-a3c1-7f9ad1d63e10" providerId="ADAL" clId="{7D997690-04A4-4675-83D7-2E1CC2ED1A4E}" dt="2020-03-24T16:00:30.315" v="2066" actId="207"/>
        <pc:sldMkLst>
          <pc:docMk/>
          <pc:sldMk cId="1054617868" sldId="2076136675"/>
        </pc:sldMkLst>
        <pc:spChg chg="mod">
          <ac:chgData name="Renata Festa" userId="6f22df47-533b-4c2a-a3c1-7f9ad1d63e10" providerId="ADAL" clId="{7D997690-04A4-4675-83D7-2E1CC2ED1A4E}" dt="2020-03-24T15:58:40.477" v="2048"/>
          <ac:spMkLst>
            <pc:docMk/>
            <pc:sldMk cId="1054617868" sldId="2076136675"/>
            <ac:spMk id="2" creationId="{EB67312A-9819-43C6-8D84-D9136E6CFFCC}"/>
          </ac:spMkLst>
        </pc:spChg>
        <pc:spChg chg="del">
          <ac:chgData name="Renata Festa" userId="6f22df47-533b-4c2a-a3c1-7f9ad1d63e10" providerId="ADAL" clId="{7D997690-04A4-4675-83D7-2E1CC2ED1A4E}" dt="2020-03-24T15:58:43.721" v="2049" actId="478"/>
          <ac:spMkLst>
            <pc:docMk/>
            <pc:sldMk cId="1054617868" sldId="2076136675"/>
            <ac:spMk id="3" creationId="{F35E8CBB-5A7D-4DEF-BAF7-8DD5D042F9E0}"/>
          </ac:spMkLst>
        </pc:spChg>
        <pc:spChg chg="del">
          <ac:chgData name="Renata Festa" userId="6f22df47-533b-4c2a-a3c1-7f9ad1d63e10" providerId="ADAL" clId="{7D997690-04A4-4675-83D7-2E1CC2ED1A4E}" dt="2020-03-24T15:59:43.628" v="2062" actId="478"/>
          <ac:spMkLst>
            <pc:docMk/>
            <pc:sldMk cId="1054617868" sldId="2076136675"/>
            <ac:spMk id="4" creationId="{F3616A99-090F-45E1-9334-58D58B148205}"/>
          </ac:spMkLst>
        </pc:spChg>
        <pc:spChg chg="add mod">
          <ac:chgData name="Renata Festa" userId="6f22df47-533b-4c2a-a3c1-7f9ad1d63e10" providerId="ADAL" clId="{7D997690-04A4-4675-83D7-2E1CC2ED1A4E}" dt="2020-03-24T15:59:34.340" v="2060" actId="1076"/>
          <ac:spMkLst>
            <pc:docMk/>
            <pc:sldMk cId="1054617868" sldId="2076136675"/>
            <ac:spMk id="6" creationId="{3CFE9213-1A71-4679-841F-E6CBB3120C13}"/>
          </ac:spMkLst>
        </pc:spChg>
        <pc:spChg chg="add mod">
          <ac:chgData name="Renata Festa" userId="6f22df47-533b-4c2a-a3c1-7f9ad1d63e10" providerId="ADAL" clId="{7D997690-04A4-4675-83D7-2E1CC2ED1A4E}" dt="2020-03-24T15:59:22.063" v="2059" actId="1036"/>
          <ac:spMkLst>
            <pc:docMk/>
            <pc:sldMk cId="1054617868" sldId="2076136675"/>
            <ac:spMk id="7" creationId="{DCE0CE41-4385-4376-8F60-CAD13D6DD112}"/>
          </ac:spMkLst>
        </pc:spChg>
        <pc:spChg chg="add mod">
          <ac:chgData name="Renata Festa" userId="6f22df47-533b-4c2a-a3c1-7f9ad1d63e10" providerId="ADAL" clId="{7D997690-04A4-4675-83D7-2E1CC2ED1A4E}" dt="2020-03-24T15:59:08.401" v="2055" actId="14100"/>
          <ac:spMkLst>
            <pc:docMk/>
            <pc:sldMk cId="1054617868" sldId="2076136675"/>
            <ac:spMk id="8" creationId="{142B4518-06DA-4861-AD4A-A9FE019AFD30}"/>
          </ac:spMkLst>
        </pc:spChg>
        <pc:spChg chg="add mod">
          <ac:chgData name="Renata Festa" userId="6f22df47-533b-4c2a-a3c1-7f9ad1d63e10" providerId="ADAL" clId="{7D997690-04A4-4675-83D7-2E1CC2ED1A4E}" dt="2020-03-24T15:59:39.589" v="2061" actId="1076"/>
          <ac:spMkLst>
            <pc:docMk/>
            <pc:sldMk cId="1054617868" sldId="2076136675"/>
            <ac:spMk id="9" creationId="{272882A4-8A9A-4948-A8FB-F4249FDF6B94}"/>
          </ac:spMkLst>
        </pc:spChg>
        <pc:graphicFrameChg chg="add mod">
          <ac:chgData name="Renata Festa" userId="6f22df47-533b-4c2a-a3c1-7f9ad1d63e10" providerId="ADAL" clId="{7D997690-04A4-4675-83D7-2E1CC2ED1A4E}" dt="2020-03-24T16:00:30.315" v="2066" actId="207"/>
          <ac:graphicFrameMkLst>
            <pc:docMk/>
            <pc:sldMk cId="1054617868" sldId="2076136675"/>
            <ac:graphicFrameMk id="5" creationId="{31C52AB4-1B8A-4E16-BFF8-15102DBA4177}"/>
          </ac:graphicFrameMkLst>
        </pc:graphicFrameChg>
      </pc:sldChg>
      <pc:sldChg chg="addSp delSp modSp add mod">
        <pc:chgData name="Renata Festa" userId="6f22df47-533b-4c2a-a3c1-7f9ad1d63e10" providerId="ADAL" clId="{7D997690-04A4-4675-83D7-2E1CC2ED1A4E}" dt="2020-03-24T16:01:33.207" v="2086" actId="478"/>
        <pc:sldMkLst>
          <pc:docMk/>
          <pc:sldMk cId="1776456625" sldId="2076136676"/>
        </pc:sldMkLst>
        <pc:spChg chg="mod">
          <ac:chgData name="Renata Festa" userId="6f22df47-533b-4c2a-a3c1-7f9ad1d63e10" providerId="ADAL" clId="{7D997690-04A4-4675-83D7-2E1CC2ED1A4E}" dt="2020-03-24T16:01:02.398" v="2081"/>
          <ac:spMkLst>
            <pc:docMk/>
            <pc:sldMk cId="1776456625" sldId="2076136676"/>
            <ac:spMk id="2" creationId="{EB67312A-9819-43C6-8D84-D9136E6CFFCC}"/>
          </ac:spMkLst>
        </pc:spChg>
        <pc:spChg chg="del">
          <ac:chgData name="Renata Festa" userId="6f22df47-533b-4c2a-a3c1-7f9ad1d63e10" providerId="ADAL" clId="{7D997690-04A4-4675-83D7-2E1CC2ED1A4E}" dt="2020-03-24T16:01:04.156" v="2082" actId="478"/>
          <ac:spMkLst>
            <pc:docMk/>
            <pc:sldMk cId="1776456625" sldId="2076136676"/>
            <ac:spMk id="3" creationId="{F35E8CBB-5A7D-4DEF-BAF7-8DD5D042F9E0}"/>
          </ac:spMkLst>
        </pc:spChg>
        <pc:spChg chg="del mod">
          <ac:chgData name="Renata Festa" userId="6f22df47-533b-4c2a-a3c1-7f9ad1d63e10" providerId="ADAL" clId="{7D997690-04A4-4675-83D7-2E1CC2ED1A4E}" dt="2020-03-24T16:01:21.985" v="2084" actId="12084"/>
          <ac:spMkLst>
            <pc:docMk/>
            <pc:sldMk cId="1776456625" sldId="2076136676"/>
            <ac:spMk id="4" creationId="{F3616A99-090F-45E1-9334-58D58B148205}"/>
          </ac:spMkLst>
        </pc:spChg>
        <pc:spChg chg="add del mod">
          <ac:chgData name="Renata Festa" userId="6f22df47-533b-4c2a-a3c1-7f9ad1d63e10" providerId="ADAL" clId="{7D997690-04A4-4675-83D7-2E1CC2ED1A4E}" dt="2020-03-24T16:01:33.207" v="2086" actId="478"/>
          <ac:spMkLst>
            <pc:docMk/>
            <pc:sldMk cId="1776456625" sldId="2076136676"/>
            <ac:spMk id="6" creationId="{38671183-4C86-4843-994D-CC01C7EA80EC}"/>
          </ac:spMkLst>
        </pc:spChg>
        <pc:graphicFrameChg chg="add mod">
          <ac:chgData name="Renata Festa" userId="6f22df47-533b-4c2a-a3c1-7f9ad1d63e10" providerId="ADAL" clId="{7D997690-04A4-4675-83D7-2E1CC2ED1A4E}" dt="2020-03-24T16:01:21.985" v="2084" actId="12084"/>
          <ac:graphicFrameMkLst>
            <pc:docMk/>
            <pc:sldMk cId="1776456625" sldId="2076136676"/>
            <ac:graphicFrameMk id="5" creationId="{4C9D9838-DDE5-46DA-820C-29D7C6E20381}"/>
          </ac:graphicFrameMkLst>
        </pc:graphicFrameChg>
      </pc:sldChg>
      <pc:sldChg chg="addSp delSp modSp add mod modAnim">
        <pc:chgData name="Renata Festa" userId="6f22df47-533b-4c2a-a3c1-7f9ad1d63e10" providerId="ADAL" clId="{7D997690-04A4-4675-83D7-2E1CC2ED1A4E}" dt="2020-03-27T17:23:44.570" v="5002" actId="12090"/>
        <pc:sldMkLst>
          <pc:docMk/>
          <pc:sldMk cId="710833818" sldId="2076136677"/>
        </pc:sldMkLst>
        <pc:spChg chg="mod">
          <ac:chgData name="Renata Festa" userId="6f22df47-533b-4c2a-a3c1-7f9ad1d63e10" providerId="ADAL" clId="{7D997690-04A4-4675-83D7-2E1CC2ED1A4E}" dt="2020-03-24T16:01:45.424" v="2087"/>
          <ac:spMkLst>
            <pc:docMk/>
            <pc:sldMk cId="710833818" sldId="2076136677"/>
            <ac:spMk id="2" creationId="{EB67312A-9819-43C6-8D84-D9136E6CFFCC}"/>
          </ac:spMkLst>
        </pc:spChg>
        <pc:spChg chg="del">
          <ac:chgData name="Renata Festa" userId="6f22df47-533b-4c2a-a3c1-7f9ad1d63e10" providerId="ADAL" clId="{7D997690-04A4-4675-83D7-2E1CC2ED1A4E}" dt="2020-03-24T16:02:09.188" v="2090" actId="478"/>
          <ac:spMkLst>
            <pc:docMk/>
            <pc:sldMk cId="710833818" sldId="2076136677"/>
            <ac:spMk id="3" creationId="{F35E8CBB-5A7D-4DEF-BAF7-8DD5D042F9E0}"/>
          </ac:spMkLst>
        </pc:spChg>
        <pc:spChg chg="del">
          <ac:chgData name="Renata Festa" userId="6f22df47-533b-4c2a-a3c1-7f9ad1d63e10" providerId="ADAL" clId="{7D997690-04A4-4675-83D7-2E1CC2ED1A4E}" dt="2020-03-24T16:01:58.560" v="2088"/>
          <ac:spMkLst>
            <pc:docMk/>
            <pc:sldMk cId="710833818" sldId="2076136677"/>
            <ac:spMk id="4" creationId="{F3616A99-090F-45E1-9334-58D58B148205}"/>
          </ac:spMkLst>
        </pc:spChg>
        <pc:graphicFrameChg chg="add mod">
          <ac:chgData name="Renata Festa" userId="6f22df47-533b-4c2a-a3c1-7f9ad1d63e10" providerId="ADAL" clId="{7D997690-04A4-4675-83D7-2E1CC2ED1A4E}" dt="2020-03-27T17:23:44.570" v="5002" actId="12090"/>
          <ac:graphicFrameMkLst>
            <pc:docMk/>
            <pc:sldMk cId="710833818" sldId="2076136677"/>
            <ac:graphicFrameMk id="5" creationId="{E418FE5C-9FD8-41E8-AB68-DD968373538F}"/>
          </ac:graphicFrameMkLst>
        </pc:graphicFrameChg>
      </pc:sldChg>
      <pc:sldChg chg="addSp delSp modSp add mod">
        <pc:chgData name="Renata Festa" userId="6f22df47-533b-4c2a-a3c1-7f9ad1d63e10" providerId="ADAL" clId="{7D997690-04A4-4675-83D7-2E1CC2ED1A4E}" dt="2020-03-26T23:24:05.243" v="4970" actId="20577"/>
        <pc:sldMkLst>
          <pc:docMk/>
          <pc:sldMk cId="2694391453" sldId="2076136678"/>
        </pc:sldMkLst>
        <pc:spChg chg="mod">
          <ac:chgData name="Renata Festa" userId="6f22df47-533b-4c2a-a3c1-7f9ad1d63e10" providerId="ADAL" clId="{7D997690-04A4-4675-83D7-2E1CC2ED1A4E}" dt="2020-03-24T16:02:45.622" v="2092" actId="20577"/>
          <ac:spMkLst>
            <pc:docMk/>
            <pc:sldMk cId="2694391453" sldId="2076136678"/>
            <ac:spMk id="2" creationId="{EB67312A-9819-43C6-8D84-D9136E6CFFCC}"/>
          </ac:spMkLst>
        </pc:spChg>
        <pc:spChg chg="del">
          <ac:chgData name="Renata Festa" userId="6f22df47-533b-4c2a-a3c1-7f9ad1d63e10" providerId="ADAL" clId="{7D997690-04A4-4675-83D7-2E1CC2ED1A4E}" dt="2020-03-24T16:03:24.688" v="2104" actId="478"/>
          <ac:spMkLst>
            <pc:docMk/>
            <pc:sldMk cId="2694391453" sldId="2076136678"/>
            <ac:spMk id="3" creationId="{F35E8CBB-5A7D-4DEF-BAF7-8DD5D042F9E0}"/>
          </ac:spMkLst>
        </pc:spChg>
        <pc:spChg chg="del mod">
          <ac:chgData name="Renata Festa" userId="6f22df47-533b-4c2a-a3c1-7f9ad1d63e10" providerId="ADAL" clId="{7D997690-04A4-4675-83D7-2E1CC2ED1A4E}" dt="2020-03-24T16:03:20.042" v="2103" actId="12084"/>
          <ac:spMkLst>
            <pc:docMk/>
            <pc:sldMk cId="2694391453" sldId="2076136678"/>
            <ac:spMk id="4" creationId="{F3616A99-090F-45E1-9334-58D58B148205}"/>
          </ac:spMkLst>
        </pc:spChg>
        <pc:graphicFrameChg chg="add mod">
          <ac:chgData name="Renata Festa" userId="6f22df47-533b-4c2a-a3c1-7f9ad1d63e10" providerId="ADAL" clId="{7D997690-04A4-4675-83D7-2E1CC2ED1A4E}" dt="2020-03-26T23:24:05.243" v="4970" actId="20577"/>
          <ac:graphicFrameMkLst>
            <pc:docMk/>
            <pc:sldMk cId="2694391453" sldId="2076136678"/>
            <ac:graphicFrameMk id="5" creationId="{3F0C86E6-FBC3-46E2-BD89-7A0FCECD7C9E}"/>
          </ac:graphicFrameMkLst>
        </pc:graphicFrameChg>
      </pc:sldChg>
      <pc:sldChg chg="add del">
        <pc:chgData name="Renata Festa" userId="6f22df47-533b-4c2a-a3c1-7f9ad1d63e10" providerId="ADAL" clId="{7D997690-04A4-4675-83D7-2E1CC2ED1A4E}" dt="2020-03-24T16:04:07.685" v="2113" actId="47"/>
        <pc:sldMkLst>
          <pc:docMk/>
          <pc:sldMk cId="1009980393" sldId="2076136679"/>
        </pc:sldMkLst>
      </pc:sldChg>
      <pc:sldChg chg="add del">
        <pc:chgData name="Renata Festa" userId="6f22df47-533b-4c2a-a3c1-7f9ad1d63e10" providerId="ADAL" clId="{7D997690-04A4-4675-83D7-2E1CC2ED1A4E}" dt="2020-03-24T16:04:07.685" v="2113" actId="47"/>
        <pc:sldMkLst>
          <pc:docMk/>
          <pc:sldMk cId="45993123" sldId="2076136680"/>
        </pc:sldMkLst>
      </pc:sldChg>
      <pc:sldChg chg="add del">
        <pc:chgData name="Renata Festa" userId="6f22df47-533b-4c2a-a3c1-7f9ad1d63e10" providerId="ADAL" clId="{7D997690-04A4-4675-83D7-2E1CC2ED1A4E}" dt="2020-03-24T16:04:07.685" v="2113" actId="47"/>
        <pc:sldMkLst>
          <pc:docMk/>
          <pc:sldMk cId="1640599349" sldId="2076136681"/>
        </pc:sldMkLst>
      </pc:sldChg>
      <pc:sldChg chg="add del">
        <pc:chgData name="Renata Festa" userId="6f22df47-533b-4c2a-a3c1-7f9ad1d63e10" providerId="ADAL" clId="{7D997690-04A4-4675-83D7-2E1CC2ED1A4E}" dt="2020-03-24T16:04:07.685" v="2113" actId="47"/>
        <pc:sldMkLst>
          <pc:docMk/>
          <pc:sldMk cId="2810347305" sldId="2076136682"/>
        </pc:sldMkLst>
      </pc:sldChg>
      <pc:sldChg chg="add del">
        <pc:chgData name="Renata Festa" userId="6f22df47-533b-4c2a-a3c1-7f9ad1d63e10" providerId="ADAL" clId="{7D997690-04A4-4675-83D7-2E1CC2ED1A4E}" dt="2020-03-24T16:04:07.685" v="2113" actId="47"/>
        <pc:sldMkLst>
          <pc:docMk/>
          <pc:sldMk cId="600226596" sldId="2076136683"/>
        </pc:sldMkLst>
      </pc:sldChg>
      <pc:sldChg chg="add del">
        <pc:chgData name="Renata Festa" userId="6f22df47-533b-4c2a-a3c1-7f9ad1d63e10" providerId="ADAL" clId="{7D997690-04A4-4675-83D7-2E1CC2ED1A4E}" dt="2020-03-24T16:04:07.685" v="2113" actId="47"/>
        <pc:sldMkLst>
          <pc:docMk/>
          <pc:sldMk cId="37754162" sldId="2076136684"/>
        </pc:sldMkLst>
      </pc:sldChg>
      <pc:sldChg chg="add del">
        <pc:chgData name="Renata Festa" userId="6f22df47-533b-4c2a-a3c1-7f9ad1d63e10" providerId="ADAL" clId="{7D997690-04A4-4675-83D7-2E1CC2ED1A4E}" dt="2020-03-24T16:04:07.685" v="2113" actId="47"/>
        <pc:sldMkLst>
          <pc:docMk/>
          <pc:sldMk cId="4149580000" sldId="2076136685"/>
        </pc:sldMkLst>
      </pc:sldChg>
      <pc:sldChg chg="add del">
        <pc:chgData name="Renata Festa" userId="6f22df47-533b-4c2a-a3c1-7f9ad1d63e10" providerId="ADAL" clId="{7D997690-04A4-4675-83D7-2E1CC2ED1A4E}" dt="2020-03-24T16:04:07.685" v="2113" actId="47"/>
        <pc:sldMkLst>
          <pc:docMk/>
          <pc:sldMk cId="2450168966" sldId="2076136686"/>
        </pc:sldMkLst>
      </pc:sldChg>
      <pc:sldChg chg="add del">
        <pc:chgData name="Renata Festa" userId="6f22df47-533b-4c2a-a3c1-7f9ad1d63e10" providerId="ADAL" clId="{7D997690-04A4-4675-83D7-2E1CC2ED1A4E}" dt="2020-03-24T16:04:07.685" v="2113" actId="47"/>
        <pc:sldMkLst>
          <pc:docMk/>
          <pc:sldMk cId="1715595429" sldId="2076136687"/>
        </pc:sldMkLst>
      </pc:sldChg>
      <pc:sldChg chg="add del">
        <pc:chgData name="Renata Festa" userId="6f22df47-533b-4c2a-a3c1-7f9ad1d63e10" providerId="ADAL" clId="{7D997690-04A4-4675-83D7-2E1CC2ED1A4E}" dt="2020-03-24T16:04:07.685" v="2113" actId="47"/>
        <pc:sldMkLst>
          <pc:docMk/>
          <pc:sldMk cId="36612684" sldId="2076136688"/>
        </pc:sldMkLst>
      </pc:sldChg>
      <pc:sldChg chg="add del">
        <pc:chgData name="Renata Festa" userId="6f22df47-533b-4c2a-a3c1-7f9ad1d63e10" providerId="ADAL" clId="{7D997690-04A4-4675-83D7-2E1CC2ED1A4E}" dt="2020-03-24T16:04:07.685" v="2113" actId="47"/>
        <pc:sldMkLst>
          <pc:docMk/>
          <pc:sldMk cId="2264769960" sldId="2076136689"/>
        </pc:sldMkLst>
      </pc:sldChg>
      <pc:sldChg chg="modSp add mod">
        <pc:chgData name="Renata Festa" userId="6f22df47-533b-4c2a-a3c1-7f9ad1d63e10" providerId="ADAL" clId="{7D997690-04A4-4675-83D7-2E1CC2ED1A4E}" dt="2020-03-24T16:03:58.153" v="2112" actId="20577"/>
        <pc:sldMkLst>
          <pc:docMk/>
          <pc:sldMk cId="2158697192" sldId="2076136690"/>
        </pc:sldMkLst>
        <pc:spChg chg="mod">
          <ac:chgData name="Renata Festa" userId="6f22df47-533b-4c2a-a3c1-7f9ad1d63e10" providerId="ADAL" clId="{7D997690-04A4-4675-83D7-2E1CC2ED1A4E}" dt="2020-03-24T16:03:58.153" v="2112" actId="20577"/>
          <ac:spMkLst>
            <pc:docMk/>
            <pc:sldMk cId="2158697192" sldId="2076136690"/>
            <ac:spMk id="3" creationId="{8F64A22E-2B43-4FC6-AF08-0CDB3F9E9269}"/>
          </ac:spMkLst>
        </pc:spChg>
        <pc:spChg chg="mod">
          <ac:chgData name="Renata Festa" userId="6f22df47-533b-4c2a-a3c1-7f9ad1d63e10" providerId="ADAL" clId="{7D997690-04A4-4675-83D7-2E1CC2ED1A4E}" dt="2020-03-24T16:03:45.674" v="2108" actId="20577"/>
          <ac:spMkLst>
            <pc:docMk/>
            <pc:sldMk cId="2158697192" sldId="2076136690"/>
            <ac:spMk id="6" creationId="{637E159C-9ACF-48AE-927A-D5FB13695C7F}"/>
          </ac:spMkLst>
        </pc:spChg>
      </pc:sldChg>
      <pc:sldChg chg="add ord">
        <pc:chgData name="Renata Festa" userId="6f22df47-533b-4c2a-a3c1-7f9ad1d63e10" providerId="ADAL" clId="{7D997690-04A4-4675-83D7-2E1CC2ED1A4E}" dt="2020-03-24T16:04:27.472" v="2118"/>
        <pc:sldMkLst>
          <pc:docMk/>
          <pc:sldMk cId="3914156018" sldId="2076136691"/>
        </pc:sldMkLst>
      </pc:sldChg>
      <pc:sldChg chg="addSp delSp modSp add mod modAnim">
        <pc:chgData name="Renata Festa" userId="6f22df47-533b-4c2a-a3c1-7f9ad1d63e10" providerId="ADAL" clId="{7D997690-04A4-4675-83D7-2E1CC2ED1A4E}" dt="2020-03-24T17:18:15.197" v="2213" actId="478"/>
        <pc:sldMkLst>
          <pc:docMk/>
          <pc:sldMk cId="664196446" sldId="2076136692"/>
        </pc:sldMkLst>
        <pc:spChg chg="add del mod">
          <ac:chgData name="Renata Festa" userId="6f22df47-533b-4c2a-a3c1-7f9ad1d63e10" providerId="ADAL" clId="{7D997690-04A4-4675-83D7-2E1CC2ED1A4E}" dt="2020-03-24T17:18:11.755" v="2211" actId="478"/>
          <ac:spMkLst>
            <pc:docMk/>
            <pc:sldMk cId="664196446" sldId="2076136692"/>
            <ac:spMk id="2" creationId="{EB67312A-9819-43C6-8D84-D9136E6CFFCC}"/>
          </ac:spMkLst>
        </pc:spChg>
        <pc:spChg chg="del">
          <ac:chgData name="Renata Festa" userId="6f22df47-533b-4c2a-a3c1-7f9ad1d63e10" providerId="ADAL" clId="{7D997690-04A4-4675-83D7-2E1CC2ED1A4E}" dt="2020-03-24T16:08:48.147" v="2180" actId="478"/>
          <ac:spMkLst>
            <pc:docMk/>
            <pc:sldMk cId="664196446" sldId="2076136692"/>
            <ac:spMk id="3" creationId="{F35E8CBB-5A7D-4DEF-BAF7-8DD5D042F9E0}"/>
          </ac:spMkLst>
        </pc:spChg>
        <pc:spChg chg="del">
          <ac:chgData name="Renata Festa" userId="6f22df47-533b-4c2a-a3c1-7f9ad1d63e10" providerId="ADAL" clId="{7D997690-04A4-4675-83D7-2E1CC2ED1A4E}" dt="2020-03-24T16:08:59.740" v="2182" actId="478"/>
          <ac:spMkLst>
            <pc:docMk/>
            <pc:sldMk cId="664196446" sldId="2076136692"/>
            <ac:spMk id="4" creationId="{F3616A99-090F-45E1-9334-58D58B148205}"/>
          </ac:spMkLst>
        </pc:spChg>
        <pc:spChg chg="add del">
          <ac:chgData name="Renata Festa" userId="6f22df47-533b-4c2a-a3c1-7f9ad1d63e10" providerId="ADAL" clId="{7D997690-04A4-4675-83D7-2E1CC2ED1A4E}" dt="2020-03-24T16:08:11.511" v="2169"/>
          <ac:spMkLst>
            <pc:docMk/>
            <pc:sldMk cId="664196446" sldId="2076136692"/>
            <ac:spMk id="5" creationId="{5283DE6B-2FFA-4ADB-B002-B1EF07BC2FC3}"/>
          </ac:spMkLst>
        </pc:spChg>
        <pc:spChg chg="add del mod">
          <ac:chgData name="Renata Festa" userId="6f22df47-533b-4c2a-a3c1-7f9ad1d63e10" providerId="ADAL" clId="{7D997690-04A4-4675-83D7-2E1CC2ED1A4E}" dt="2020-03-24T17:18:13.459" v="2212" actId="478"/>
          <ac:spMkLst>
            <pc:docMk/>
            <pc:sldMk cId="664196446" sldId="2076136692"/>
            <ac:spMk id="8" creationId="{FBC94B18-FD16-4DA5-B5C7-66F745A1622C}"/>
          </ac:spMkLst>
        </pc:spChg>
        <pc:spChg chg="add del mod">
          <ac:chgData name="Renata Festa" userId="6f22df47-533b-4c2a-a3c1-7f9ad1d63e10" providerId="ADAL" clId="{7D997690-04A4-4675-83D7-2E1CC2ED1A4E}" dt="2020-03-24T17:18:15.197" v="2213" actId="478"/>
          <ac:spMkLst>
            <pc:docMk/>
            <pc:sldMk cId="664196446" sldId="2076136692"/>
            <ac:spMk id="9" creationId="{996D839C-B330-4B9A-84FA-72810AB0149D}"/>
          </ac:spMkLst>
        </pc:spChg>
        <pc:spChg chg="add del mod">
          <ac:chgData name="Renata Festa" userId="6f22df47-533b-4c2a-a3c1-7f9ad1d63e10" providerId="ADAL" clId="{7D997690-04A4-4675-83D7-2E1CC2ED1A4E}" dt="2020-03-24T17:18:11.755" v="2211" actId="478"/>
          <ac:spMkLst>
            <pc:docMk/>
            <pc:sldMk cId="664196446" sldId="2076136692"/>
            <ac:spMk id="11" creationId="{6836716E-C933-43A9-A4A4-F77942C834AB}"/>
          </ac:spMkLst>
        </pc:spChg>
        <pc:graphicFrameChg chg="add del">
          <ac:chgData name="Renata Festa" userId="6f22df47-533b-4c2a-a3c1-7f9ad1d63e10" providerId="ADAL" clId="{7D997690-04A4-4675-83D7-2E1CC2ED1A4E}" dt="2020-03-24T16:08:17.282" v="2171"/>
          <ac:graphicFrameMkLst>
            <pc:docMk/>
            <pc:sldMk cId="664196446" sldId="2076136692"/>
            <ac:graphicFrameMk id="6" creationId="{A0039751-84D7-444F-870D-83547291F5BF}"/>
          </ac:graphicFrameMkLst>
        </pc:graphicFrameChg>
        <pc:graphicFrameChg chg="add mod">
          <ac:chgData name="Renata Festa" userId="6f22df47-533b-4c2a-a3c1-7f9ad1d63e10" providerId="ADAL" clId="{7D997690-04A4-4675-83D7-2E1CC2ED1A4E}" dt="2020-03-24T17:18:06.066" v="2209" actId="14100"/>
          <ac:graphicFrameMkLst>
            <pc:docMk/>
            <pc:sldMk cId="664196446" sldId="2076136692"/>
            <ac:graphicFrameMk id="7" creationId="{18FFD0BA-ED18-4F81-8C66-3DA154E8B166}"/>
          </ac:graphicFrameMkLst>
        </pc:graphicFrameChg>
      </pc:sldChg>
      <pc:sldChg chg="add del">
        <pc:chgData name="Renata Festa" userId="6f22df47-533b-4c2a-a3c1-7f9ad1d63e10" providerId="ADAL" clId="{7D997690-04A4-4675-83D7-2E1CC2ED1A4E}" dt="2020-03-24T16:06:14.303" v="2140" actId="47"/>
        <pc:sldMkLst>
          <pc:docMk/>
          <pc:sldMk cId="1999257701" sldId="2076136692"/>
        </pc:sldMkLst>
      </pc:sldChg>
      <pc:sldChg chg="addSp delSp modSp add mod">
        <pc:chgData name="Renata Festa" userId="6f22df47-533b-4c2a-a3c1-7f9ad1d63e10" providerId="ADAL" clId="{7D997690-04A4-4675-83D7-2E1CC2ED1A4E}" dt="2020-03-24T17:19:53.499" v="2227" actId="1076"/>
        <pc:sldMkLst>
          <pc:docMk/>
          <pc:sldMk cId="1957972205" sldId="2076136693"/>
        </pc:sldMkLst>
        <pc:spChg chg="mod">
          <ac:chgData name="Renata Festa" userId="6f22df47-533b-4c2a-a3c1-7f9ad1d63e10" providerId="ADAL" clId="{7D997690-04A4-4675-83D7-2E1CC2ED1A4E}" dt="2020-03-24T17:18:33.967" v="2214"/>
          <ac:spMkLst>
            <pc:docMk/>
            <pc:sldMk cId="1957972205" sldId="2076136693"/>
            <ac:spMk id="2" creationId="{EB67312A-9819-43C6-8D84-D9136E6CFFCC}"/>
          </ac:spMkLst>
        </pc:spChg>
        <pc:spChg chg="del">
          <ac:chgData name="Renata Festa" userId="6f22df47-533b-4c2a-a3c1-7f9ad1d63e10" providerId="ADAL" clId="{7D997690-04A4-4675-83D7-2E1CC2ED1A4E}" dt="2020-03-24T17:18:40.651" v="2217" actId="478"/>
          <ac:spMkLst>
            <pc:docMk/>
            <pc:sldMk cId="1957972205" sldId="2076136693"/>
            <ac:spMk id="3" creationId="{F35E8CBB-5A7D-4DEF-BAF7-8DD5D042F9E0}"/>
          </ac:spMkLst>
        </pc:spChg>
        <pc:spChg chg="add del mod">
          <ac:chgData name="Renata Festa" userId="6f22df47-533b-4c2a-a3c1-7f9ad1d63e10" providerId="ADAL" clId="{7D997690-04A4-4675-83D7-2E1CC2ED1A4E}" dt="2020-03-24T17:19:10.825" v="2222" actId="12084"/>
          <ac:spMkLst>
            <pc:docMk/>
            <pc:sldMk cId="1957972205" sldId="2076136693"/>
            <ac:spMk id="4" creationId="{F3616A99-090F-45E1-9334-58D58B148205}"/>
          </ac:spMkLst>
        </pc:spChg>
        <pc:grpChg chg="add mod">
          <ac:chgData name="Renata Festa" userId="6f22df47-533b-4c2a-a3c1-7f9ad1d63e10" providerId="ADAL" clId="{7D997690-04A4-4675-83D7-2E1CC2ED1A4E}" dt="2020-03-24T17:19:53.499" v="2227" actId="1076"/>
          <ac:grpSpMkLst>
            <pc:docMk/>
            <pc:sldMk cId="1957972205" sldId="2076136693"/>
            <ac:grpSpMk id="6" creationId="{3B63C99C-CF6A-4D3A-B915-D76E2B3A248C}"/>
          </ac:grpSpMkLst>
        </pc:grpChg>
        <pc:grpChg chg="mod">
          <ac:chgData name="Renata Festa" userId="6f22df47-533b-4c2a-a3c1-7f9ad1d63e10" providerId="ADAL" clId="{7D997690-04A4-4675-83D7-2E1CC2ED1A4E}" dt="2020-03-24T17:19:53.499" v="2227" actId="1076"/>
          <ac:grpSpMkLst>
            <pc:docMk/>
            <pc:sldMk cId="1957972205" sldId="2076136693"/>
            <ac:grpSpMk id="7" creationId="{F7E6ECA8-2816-4383-8732-73A0E5BD1B94}"/>
          </ac:grpSpMkLst>
        </pc:grpChg>
        <pc:grpChg chg="mod">
          <ac:chgData name="Renata Festa" userId="6f22df47-533b-4c2a-a3c1-7f9ad1d63e10" providerId="ADAL" clId="{7D997690-04A4-4675-83D7-2E1CC2ED1A4E}" dt="2020-03-24T17:19:53.499" v="2227" actId="1076"/>
          <ac:grpSpMkLst>
            <pc:docMk/>
            <pc:sldMk cId="1957972205" sldId="2076136693"/>
            <ac:grpSpMk id="8" creationId="{34B52F03-D4A1-49E4-A653-0EBFAE2DB5D7}"/>
          </ac:grpSpMkLst>
        </pc:grpChg>
        <pc:grpChg chg="mod">
          <ac:chgData name="Renata Festa" userId="6f22df47-533b-4c2a-a3c1-7f9ad1d63e10" providerId="ADAL" clId="{7D997690-04A4-4675-83D7-2E1CC2ED1A4E}" dt="2020-03-24T17:19:53.499" v="2227" actId="1076"/>
          <ac:grpSpMkLst>
            <pc:docMk/>
            <pc:sldMk cId="1957972205" sldId="2076136693"/>
            <ac:grpSpMk id="9" creationId="{34C272E7-6E04-4902-849A-16058487AF78}"/>
          </ac:grpSpMkLst>
        </pc:grpChg>
        <pc:grpChg chg="mod">
          <ac:chgData name="Renata Festa" userId="6f22df47-533b-4c2a-a3c1-7f9ad1d63e10" providerId="ADAL" clId="{7D997690-04A4-4675-83D7-2E1CC2ED1A4E}" dt="2020-03-24T17:19:53.499" v="2227" actId="1076"/>
          <ac:grpSpMkLst>
            <pc:docMk/>
            <pc:sldMk cId="1957972205" sldId="2076136693"/>
            <ac:grpSpMk id="12" creationId="{4097D510-C621-4D03-8639-54EFC0AD5D52}"/>
          </ac:grpSpMkLst>
        </pc:grpChg>
        <pc:grpChg chg="mod">
          <ac:chgData name="Renata Festa" userId="6f22df47-533b-4c2a-a3c1-7f9ad1d63e10" providerId="ADAL" clId="{7D997690-04A4-4675-83D7-2E1CC2ED1A4E}" dt="2020-03-24T17:19:53.499" v="2227" actId="1076"/>
          <ac:grpSpMkLst>
            <pc:docMk/>
            <pc:sldMk cId="1957972205" sldId="2076136693"/>
            <ac:grpSpMk id="13" creationId="{4F8710A4-284C-4D84-BAE3-B04759481D85}"/>
          </ac:grpSpMkLst>
        </pc:grpChg>
        <pc:grpChg chg="mod">
          <ac:chgData name="Renata Festa" userId="6f22df47-533b-4c2a-a3c1-7f9ad1d63e10" providerId="ADAL" clId="{7D997690-04A4-4675-83D7-2E1CC2ED1A4E}" dt="2020-03-24T17:19:53.499" v="2227" actId="1076"/>
          <ac:grpSpMkLst>
            <pc:docMk/>
            <pc:sldMk cId="1957972205" sldId="2076136693"/>
            <ac:grpSpMk id="14" creationId="{CF91C53A-5397-455F-BC4E-BDA95C6172A8}"/>
          </ac:grpSpMkLst>
        </pc:grpChg>
        <pc:grpChg chg="mod">
          <ac:chgData name="Renata Festa" userId="6f22df47-533b-4c2a-a3c1-7f9ad1d63e10" providerId="ADAL" clId="{7D997690-04A4-4675-83D7-2E1CC2ED1A4E}" dt="2020-03-24T17:19:53.499" v="2227" actId="1076"/>
          <ac:grpSpMkLst>
            <pc:docMk/>
            <pc:sldMk cId="1957972205" sldId="2076136693"/>
            <ac:grpSpMk id="15" creationId="{9F1EFAF1-A384-47F7-AAAD-7C1E1358A691}"/>
          </ac:grpSpMkLst>
        </pc:grpChg>
        <pc:grpChg chg="mod">
          <ac:chgData name="Renata Festa" userId="6f22df47-533b-4c2a-a3c1-7f9ad1d63e10" providerId="ADAL" clId="{7D997690-04A4-4675-83D7-2E1CC2ED1A4E}" dt="2020-03-24T17:19:53.499" v="2227" actId="1076"/>
          <ac:grpSpMkLst>
            <pc:docMk/>
            <pc:sldMk cId="1957972205" sldId="2076136693"/>
            <ac:grpSpMk id="16" creationId="{D78D878A-F190-4DA8-A002-BDB8AC719816}"/>
          </ac:grpSpMkLst>
        </pc:grpChg>
        <pc:grpChg chg="mod">
          <ac:chgData name="Renata Festa" userId="6f22df47-533b-4c2a-a3c1-7f9ad1d63e10" providerId="ADAL" clId="{7D997690-04A4-4675-83D7-2E1CC2ED1A4E}" dt="2020-03-24T17:19:53.499" v="2227" actId="1076"/>
          <ac:grpSpMkLst>
            <pc:docMk/>
            <pc:sldMk cId="1957972205" sldId="2076136693"/>
            <ac:grpSpMk id="31" creationId="{54B20ABA-78C1-4F3B-85A5-6D5A20FC2328}"/>
          </ac:grpSpMkLst>
        </pc:grpChg>
        <pc:grpChg chg="mod">
          <ac:chgData name="Renata Festa" userId="6f22df47-533b-4c2a-a3c1-7f9ad1d63e10" providerId="ADAL" clId="{7D997690-04A4-4675-83D7-2E1CC2ED1A4E}" dt="2020-03-24T17:19:53.499" v="2227" actId="1076"/>
          <ac:grpSpMkLst>
            <pc:docMk/>
            <pc:sldMk cId="1957972205" sldId="2076136693"/>
            <ac:grpSpMk id="32" creationId="{3278F111-9A26-4CEC-AA67-FFBDF2DC6417}"/>
          </ac:grpSpMkLst>
        </pc:grpChg>
        <pc:grpChg chg="mod">
          <ac:chgData name="Renata Festa" userId="6f22df47-533b-4c2a-a3c1-7f9ad1d63e10" providerId="ADAL" clId="{7D997690-04A4-4675-83D7-2E1CC2ED1A4E}" dt="2020-03-24T17:19:53.499" v="2227" actId="1076"/>
          <ac:grpSpMkLst>
            <pc:docMk/>
            <pc:sldMk cId="1957972205" sldId="2076136693"/>
            <ac:grpSpMk id="33" creationId="{87651AC2-0511-4AA7-BBD2-4C30A400246A}"/>
          </ac:grpSpMkLst>
        </pc:grpChg>
        <pc:grpChg chg="mod">
          <ac:chgData name="Renata Festa" userId="6f22df47-533b-4c2a-a3c1-7f9ad1d63e10" providerId="ADAL" clId="{7D997690-04A4-4675-83D7-2E1CC2ED1A4E}" dt="2020-03-24T17:19:53.499" v="2227" actId="1076"/>
          <ac:grpSpMkLst>
            <pc:docMk/>
            <pc:sldMk cId="1957972205" sldId="2076136693"/>
            <ac:grpSpMk id="34" creationId="{4721810F-C510-46FE-B0DF-0ADFA6B05D62}"/>
          </ac:grpSpMkLst>
        </pc:grpChg>
        <pc:grpChg chg="mod">
          <ac:chgData name="Renata Festa" userId="6f22df47-533b-4c2a-a3c1-7f9ad1d63e10" providerId="ADAL" clId="{7D997690-04A4-4675-83D7-2E1CC2ED1A4E}" dt="2020-03-24T17:19:53.499" v="2227" actId="1076"/>
          <ac:grpSpMkLst>
            <pc:docMk/>
            <pc:sldMk cId="1957972205" sldId="2076136693"/>
            <ac:grpSpMk id="42" creationId="{8D2DEC22-B208-478D-AB30-A50F7FDA74FB}"/>
          </ac:grpSpMkLst>
        </pc:grpChg>
        <pc:grpChg chg="mod">
          <ac:chgData name="Renata Festa" userId="6f22df47-533b-4c2a-a3c1-7f9ad1d63e10" providerId="ADAL" clId="{7D997690-04A4-4675-83D7-2E1CC2ED1A4E}" dt="2020-03-24T17:19:53.499" v="2227" actId="1076"/>
          <ac:grpSpMkLst>
            <pc:docMk/>
            <pc:sldMk cId="1957972205" sldId="2076136693"/>
            <ac:grpSpMk id="43" creationId="{939A4275-E425-4AC6-8B76-1749DE1046D9}"/>
          </ac:grpSpMkLst>
        </pc:grpChg>
        <pc:grpChg chg="mod">
          <ac:chgData name="Renata Festa" userId="6f22df47-533b-4c2a-a3c1-7f9ad1d63e10" providerId="ADAL" clId="{7D997690-04A4-4675-83D7-2E1CC2ED1A4E}" dt="2020-03-24T17:19:53.499" v="2227" actId="1076"/>
          <ac:grpSpMkLst>
            <pc:docMk/>
            <pc:sldMk cId="1957972205" sldId="2076136693"/>
            <ac:grpSpMk id="45" creationId="{45B6DEEC-154F-4B4B-A417-BFAEDAEB52F3}"/>
          </ac:grpSpMkLst>
        </pc:grpChg>
        <pc:grpChg chg="mod">
          <ac:chgData name="Renata Festa" userId="6f22df47-533b-4c2a-a3c1-7f9ad1d63e10" providerId="ADAL" clId="{7D997690-04A4-4675-83D7-2E1CC2ED1A4E}" dt="2020-03-24T17:19:53.499" v="2227" actId="1076"/>
          <ac:grpSpMkLst>
            <pc:docMk/>
            <pc:sldMk cId="1957972205" sldId="2076136693"/>
            <ac:grpSpMk id="84" creationId="{08B2A6B7-09DA-4631-A7BE-A2AB3AC7F0B6}"/>
          </ac:grpSpMkLst>
        </pc:grpChg>
        <pc:grpChg chg="mod">
          <ac:chgData name="Renata Festa" userId="6f22df47-533b-4c2a-a3c1-7f9ad1d63e10" providerId="ADAL" clId="{7D997690-04A4-4675-83D7-2E1CC2ED1A4E}" dt="2020-03-24T17:19:53.499" v="2227" actId="1076"/>
          <ac:grpSpMkLst>
            <pc:docMk/>
            <pc:sldMk cId="1957972205" sldId="2076136693"/>
            <ac:grpSpMk id="101" creationId="{60A26D64-C1BD-4A07-AE77-2B1550731D90}"/>
          </ac:grpSpMkLst>
        </pc:grpChg>
        <pc:grpChg chg="mod">
          <ac:chgData name="Renata Festa" userId="6f22df47-533b-4c2a-a3c1-7f9ad1d63e10" providerId="ADAL" clId="{7D997690-04A4-4675-83D7-2E1CC2ED1A4E}" dt="2020-03-24T17:19:53.499" v="2227" actId="1076"/>
          <ac:grpSpMkLst>
            <pc:docMk/>
            <pc:sldMk cId="1957972205" sldId="2076136693"/>
            <ac:grpSpMk id="111" creationId="{466551BB-958C-4994-8F85-C0D348197EDA}"/>
          </ac:grpSpMkLst>
        </pc:grpChg>
        <pc:grpChg chg="mod">
          <ac:chgData name="Renata Festa" userId="6f22df47-533b-4c2a-a3c1-7f9ad1d63e10" providerId="ADAL" clId="{7D997690-04A4-4675-83D7-2E1CC2ED1A4E}" dt="2020-03-24T17:19:53.499" v="2227" actId="1076"/>
          <ac:grpSpMkLst>
            <pc:docMk/>
            <pc:sldMk cId="1957972205" sldId="2076136693"/>
            <ac:grpSpMk id="123" creationId="{1D2C612B-9B79-47BE-8181-C7E3BC47B0B6}"/>
          </ac:grpSpMkLst>
        </pc:grpChg>
        <pc:grpChg chg="mod">
          <ac:chgData name="Renata Festa" userId="6f22df47-533b-4c2a-a3c1-7f9ad1d63e10" providerId="ADAL" clId="{7D997690-04A4-4675-83D7-2E1CC2ED1A4E}" dt="2020-03-24T17:19:53.499" v="2227" actId="1076"/>
          <ac:grpSpMkLst>
            <pc:docMk/>
            <pc:sldMk cId="1957972205" sldId="2076136693"/>
            <ac:grpSpMk id="130" creationId="{545D7CEB-AC95-49AC-9C3E-BC6A3EE25BF9}"/>
          </ac:grpSpMkLst>
        </pc:grpChg>
        <pc:grpChg chg="mod">
          <ac:chgData name="Renata Festa" userId="6f22df47-533b-4c2a-a3c1-7f9ad1d63e10" providerId="ADAL" clId="{7D997690-04A4-4675-83D7-2E1CC2ED1A4E}" dt="2020-03-24T17:19:53.499" v="2227" actId="1076"/>
          <ac:grpSpMkLst>
            <pc:docMk/>
            <pc:sldMk cId="1957972205" sldId="2076136693"/>
            <ac:grpSpMk id="163" creationId="{4E93630D-5CA7-450C-8B93-C0F73902102E}"/>
          </ac:grpSpMkLst>
        </pc:grpChg>
        <pc:grpChg chg="mod">
          <ac:chgData name="Renata Festa" userId="6f22df47-533b-4c2a-a3c1-7f9ad1d63e10" providerId="ADAL" clId="{7D997690-04A4-4675-83D7-2E1CC2ED1A4E}" dt="2020-03-24T17:19:53.499" v="2227" actId="1076"/>
          <ac:grpSpMkLst>
            <pc:docMk/>
            <pc:sldMk cId="1957972205" sldId="2076136693"/>
            <ac:grpSpMk id="164" creationId="{78C108D8-9D1F-4B59-9FE9-8AB3F8C66769}"/>
          </ac:grpSpMkLst>
        </pc:grpChg>
        <pc:graphicFrameChg chg="add mod">
          <ac:chgData name="Renata Festa" userId="6f22df47-533b-4c2a-a3c1-7f9ad1d63e10" providerId="ADAL" clId="{7D997690-04A4-4675-83D7-2E1CC2ED1A4E}" dt="2020-03-24T17:19:16.935" v="2223"/>
          <ac:graphicFrameMkLst>
            <pc:docMk/>
            <pc:sldMk cId="1957972205" sldId="2076136693"/>
            <ac:graphicFrameMk id="5" creationId="{18EC32A2-8227-4247-98A1-5CB56E85CDE5}"/>
          </ac:graphicFrameMkLst>
        </pc:graphicFrameChg>
      </pc:sldChg>
      <pc:sldChg chg="addSp delSp modSp add mod modAnim">
        <pc:chgData name="Renata Festa" userId="6f22df47-533b-4c2a-a3c1-7f9ad1d63e10" providerId="ADAL" clId="{7D997690-04A4-4675-83D7-2E1CC2ED1A4E}" dt="2020-03-24T17:22:15.511" v="2256" actId="478"/>
        <pc:sldMkLst>
          <pc:docMk/>
          <pc:sldMk cId="1830484860" sldId="2076136694"/>
        </pc:sldMkLst>
        <pc:spChg chg="mod">
          <ac:chgData name="Renata Festa" userId="6f22df47-533b-4c2a-a3c1-7f9ad1d63e10" providerId="ADAL" clId="{7D997690-04A4-4675-83D7-2E1CC2ED1A4E}" dt="2020-03-24T17:20:18.535" v="2229"/>
          <ac:spMkLst>
            <pc:docMk/>
            <pc:sldMk cId="1830484860" sldId="2076136694"/>
            <ac:spMk id="2" creationId="{EB67312A-9819-43C6-8D84-D9136E6CFFCC}"/>
          </ac:spMkLst>
        </pc:spChg>
        <pc:spChg chg="del">
          <ac:chgData name="Renata Festa" userId="6f22df47-533b-4c2a-a3c1-7f9ad1d63e10" providerId="ADAL" clId="{7D997690-04A4-4675-83D7-2E1CC2ED1A4E}" dt="2020-03-24T17:20:20.280" v="2230" actId="478"/>
          <ac:spMkLst>
            <pc:docMk/>
            <pc:sldMk cId="1830484860" sldId="2076136694"/>
            <ac:spMk id="3" creationId="{F35E8CBB-5A7D-4DEF-BAF7-8DD5D042F9E0}"/>
          </ac:spMkLst>
        </pc:spChg>
        <pc:spChg chg="del">
          <ac:chgData name="Renata Festa" userId="6f22df47-533b-4c2a-a3c1-7f9ad1d63e10" providerId="ADAL" clId="{7D997690-04A4-4675-83D7-2E1CC2ED1A4E}" dt="2020-03-24T17:22:15.511" v="2256" actId="478"/>
          <ac:spMkLst>
            <pc:docMk/>
            <pc:sldMk cId="1830484860" sldId="2076136694"/>
            <ac:spMk id="4" creationId="{F3616A99-090F-45E1-9334-58D58B148205}"/>
          </ac:spMkLst>
        </pc:spChg>
        <pc:grpChg chg="add mod">
          <ac:chgData name="Renata Festa" userId="6f22df47-533b-4c2a-a3c1-7f9ad1d63e10" providerId="ADAL" clId="{7D997690-04A4-4675-83D7-2E1CC2ED1A4E}" dt="2020-03-24T17:22:12.743" v="2255" actId="1076"/>
          <ac:grpSpMkLst>
            <pc:docMk/>
            <pc:sldMk cId="1830484860" sldId="2076136694"/>
            <ac:grpSpMk id="7" creationId="{355FAD7A-88F6-4FFB-ACC2-860764C043C8}"/>
          </ac:grpSpMkLst>
        </pc:grpChg>
        <pc:grpChg chg="add mod">
          <ac:chgData name="Renata Festa" userId="6f22df47-533b-4c2a-a3c1-7f9ad1d63e10" providerId="ADAL" clId="{7D997690-04A4-4675-83D7-2E1CC2ED1A4E}" dt="2020-03-24T17:21:57.079" v="2251" actId="1038"/>
          <ac:grpSpMkLst>
            <pc:docMk/>
            <pc:sldMk cId="1830484860" sldId="2076136694"/>
            <ac:grpSpMk id="14" creationId="{31A3734E-FA95-4D85-8F49-B012C0AF65BC}"/>
          </ac:grpSpMkLst>
        </pc:grpChg>
        <pc:grpChg chg="add mod">
          <ac:chgData name="Renata Festa" userId="6f22df47-533b-4c2a-a3c1-7f9ad1d63e10" providerId="ADAL" clId="{7D997690-04A4-4675-83D7-2E1CC2ED1A4E}" dt="2020-03-24T17:22:00.765" v="2252" actId="1076"/>
          <ac:grpSpMkLst>
            <pc:docMk/>
            <pc:sldMk cId="1830484860" sldId="2076136694"/>
            <ac:grpSpMk id="17" creationId="{689EBCCC-EE61-4A53-A09A-790272BE74E9}"/>
          </ac:grpSpMkLst>
        </pc:grpChg>
        <pc:grpChg chg="add mod">
          <ac:chgData name="Renata Festa" userId="6f22df47-533b-4c2a-a3c1-7f9ad1d63e10" providerId="ADAL" clId="{7D997690-04A4-4675-83D7-2E1CC2ED1A4E}" dt="2020-03-24T17:21:36.849" v="2245" actId="1076"/>
          <ac:grpSpMkLst>
            <pc:docMk/>
            <pc:sldMk cId="1830484860" sldId="2076136694"/>
            <ac:grpSpMk id="21" creationId="{CBB833B3-7B14-4E24-B93D-EAC298F5623B}"/>
          </ac:grpSpMkLst>
        </pc:grpChg>
        <pc:grpChg chg="mod">
          <ac:chgData name="Renata Festa" userId="6f22df47-533b-4c2a-a3c1-7f9ad1d63e10" providerId="ADAL" clId="{7D997690-04A4-4675-83D7-2E1CC2ED1A4E}" dt="2020-03-24T17:20:55.738" v="2236" actId="14100"/>
          <ac:grpSpMkLst>
            <pc:docMk/>
            <pc:sldMk cId="1830484860" sldId="2076136694"/>
            <ac:grpSpMk id="23" creationId="{55F742A4-D4E0-40CB-93FB-5DA335C204CC}"/>
          </ac:grpSpMkLst>
        </pc:grpChg>
        <pc:grpChg chg="add mod">
          <ac:chgData name="Renata Festa" userId="6f22df47-533b-4c2a-a3c1-7f9ad1d63e10" providerId="ADAL" clId="{7D997690-04A4-4675-83D7-2E1CC2ED1A4E}" dt="2020-03-24T17:21:20.537" v="2241" actId="1076"/>
          <ac:grpSpMkLst>
            <pc:docMk/>
            <pc:sldMk cId="1830484860" sldId="2076136694"/>
            <ac:grpSpMk id="26" creationId="{57A3976C-6B17-44E2-9734-15C4C6F3F990}"/>
          </ac:grpSpMkLst>
        </pc:grpChg>
        <pc:grpChg chg="mod">
          <ac:chgData name="Renata Festa" userId="6f22df47-533b-4c2a-a3c1-7f9ad1d63e10" providerId="ADAL" clId="{7D997690-04A4-4675-83D7-2E1CC2ED1A4E}" dt="2020-03-24T17:21:20.537" v="2241" actId="1076"/>
          <ac:grpSpMkLst>
            <pc:docMk/>
            <pc:sldMk cId="1830484860" sldId="2076136694"/>
            <ac:grpSpMk id="28" creationId="{0571BA1D-9659-4971-A09C-6231F73365F9}"/>
          </ac:grpSpMkLst>
        </pc:grpChg>
        <pc:grpChg chg="add mod">
          <ac:chgData name="Renata Festa" userId="6f22df47-533b-4c2a-a3c1-7f9ad1d63e10" providerId="ADAL" clId="{7D997690-04A4-4675-83D7-2E1CC2ED1A4E}" dt="2020-03-24T17:21:15.678" v="2239" actId="1076"/>
          <ac:grpSpMkLst>
            <pc:docMk/>
            <pc:sldMk cId="1830484860" sldId="2076136694"/>
            <ac:grpSpMk id="47" creationId="{CC3B5943-369A-4D70-9F89-E0EE96CFBC04}"/>
          </ac:grpSpMkLst>
        </pc:grpChg>
        <pc:grpChg chg="add mod">
          <ac:chgData name="Renata Festa" userId="6f22df47-533b-4c2a-a3c1-7f9ad1d63e10" providerId="ADAL" clId="{7D997690-04A4-4675-83D7-2E1CC2ED1A4E}" dt="2020-03-24T17:21:05.939" v="2238" actId="1076"/>
          <ac:grpSpMkLst>
            <pc:docMk/>
            <pc:sldMk cId="1830484860" sldId="2076136694"/>
            <ac:grpSpMk id="51" creationId="{D67EC277-CA81-4BF1-AD7D-6D6850630604}"/>
          </ac:grpSpMkLst>
        </pc:grpChg>
        <pc:grpChg chg="mod">
          <ac:chgData name="Renata Festa" userId="6f22df47-533b-4c2a-a3c1-7f9ad1d63e10" providerId="ADAL" clId="{7D997690-04A4-4675-83D7-2E1CC2ED1A4E}" dt="2020-03-24T17:20:58.446" v="2237" actId="14100"/>
          <ac:grpSpMkLst>
            <pc:docMk/>
            <pc:sldMk cId="1830484860" sldId="2076136694"/>
            <ac:grpSpMk id="55" creationId="{AA27661C-C894-4ECC-A060-7E6571F5BB50}"/>
          </ac:grpSpMkLst>
        </pc:grpChg>
        <pc:grpChg chg="mod">
          <ac:chgData name="Renata Festa" userId="6f22df47-533b-4c2a-a3c1-7f9ad1d63e10" providerId="ADAL" clId="{7D997690-04A4-4675-83D7-2E1CC2ED1A4E}" dt="2020-03-24T17:20:55.738" v="2236" actId="14100"/>
          <ac:grpSpMkLst>
            <pc:docMk/>
            <pc:sldMk cId="1830484860" sldId="2076136694"/>
            <ac:grpSpMk id="56" creationId="{20D3FCD0-5D6F-4288-951C-0B5045B704A8}"/>
          </ac:grpSpMkLst>
        </pc:grpChg>
        <pc:grpChg chg="mod">
          <ac:chgData name="Renata Festa" userId="6f22df47-533b-4c2a-a3c1-7f9ad1d63e10" providerId="ADAL" clId="{7D997690-04A4-4675-83D7-2E1CC2ED1A4E}" dt="2020-03-24T17:20:58.446" v="2237" actId="14100"/>
          <ac:grpSpMkLst>
            <pc:docMk/>
            <pc:sldMk cId="1830484860" sldId="2076136694"/>
            <ac:grpSpMk id="57" creationId="{54B9AC6F-81A1-47E2-B5C6-D1EC0B2F3EEC}"/>
          </ac:grpSpMkLst>
        </pc:grpChg>
        <pc:grpChg chg="add mod">
          <ac:chgData name="Renata Festa" userId="6f22df47-533b-4c2a-a3c1-7f9ad1d63e10" providerId="ADAL" clId="{7D997690-04A4-4675-83D7-2E1CC2ED1A4E}" dt="2020-03-24T17:21:29.567" v="2243" actId="1076"/>
          <ac:grpSpMkLst>
            <pc:docMk/>
            <pc:sldMk cId="1830484860" sldId="2076136694"/>
            <ac:grpSpMk id="67" creationId="{E8B4ED2E-0088-4D89-AFBA-81317431B300}"/>
          </ac:grpSpMkLst>
        </pc:grpChg>
        <pc:grpChg chg="add mod">
          <ac:chgData name="Renata Festa" userId="6f22df47-533b-4c2a-a3c1-7f9ad1d63e10" providerId="ADAL" clId="{7D997690-04A4-4675-83D7-2E1CC2ED1A4E}" dt="2020-03-24T17:21:25.616" v="2242" actId="1076"/>
          <ac:grpSpMkLst>
            <pc:docMk/>
            <pc:sldMk cId="1830484860" sldId="2076136694"/>
            <ac:grpSpMk id="71" creationId="{789B858B-56CA-44C8-AB23-EC137F0F3A01}"/>
          </ac:grpSpMkLst>
        </pc:grpChg>
        <pc:grpChg chg="add mod">
          <ac:chgData name="Renata Festa" userId="6f22df47-533b-4c2a-a3c1-7f9ad1d63e10" providerId="ADAL" clId="{7D997690-04A4-4675-83D7-2E1CC2ED1A4E}" dt="2020-03-24T17:22:09.719" v="2254" actId="1076"/>
          <ac:grpSpMkLst>
            <pc:docMk/>
            <pc:sldMk cId="1830484860" sldId="2076136694"/>
            <ac:grpSpMk id="79" creationId="{AF93591E-BE3D-46EB-AE24-85C1FBB4A67C}"/>
          </ac:grpSpMkLst>
        </pc:grpChg>
        <pc:graphicFrameChg chg="add mod">
          <ac:chgData name="Renata Festa" userId="6f22df47-533b-4c2a-a3c1-7f9ad1d63e10" providerId="ADAL" clId="{7D997690-04A4-4675-83D7-2E1CC2ED1A4E}" dt="2020-03-24T17:20:58.446" v="2237" actId="14100"/>
          <ac:graphicFrameMkLst>
            <pc:docMk/>
            <pc:sldMk cId="1830484860" sldId="2076136694"/>
            <ac:graphicFrameMk id="5" creationId="{10BDAC0E-EE5E-4586-A6C7-6F024454C575}"/>
          </ac:graphicFrameMkLst>
        </pc:graphicFrameChg>
        <pc:graphicFrameChg chg="add mod">
          <ac:chgData name="Renata Festa" userId="6f22df47-533b-4c2a-a3c1-7f9ad1d63e10" providerId="ADAL" clId="{7D997690-04A4-4675-83D7-2E1CC2ED1A4E}" dt="2020-03-24T17:21:45.276" v="2247"/>
          <ac:graphicFrameMkLst>
            <pc:docMk/>
            <pc:sldMk cId="1830484860" sldId="2076136694"/>
            <ac:graphicFrameMk id="6" creationId="{AFF37419-8D15-42A3-8891-36D6C9CA1502}"/>
          </ac:graphicFrameMkLst>
        </pc:graphicFrameChg>
      </pc:sldChg>
      <pc:sldChg chg="addSp delSp modSp add mod modAnim">
        <pc:chgData name="Renata Festa" userId="6f22df47-533b-4c2a-a3c1-7f9ad1d63e10" providerId="ADAL" clId="{7D997690-04A4-4675-83D7-2E1CC2ED1A4E}" dt="2020-03-24T17:24:41.886" v="2283" actId="478"/>
        <pc:sldMkLst>
          <pc:docMk/>
          <pc:sldMk cId="1360898273" sldId="2076136695"/>
        </pc:sldMkLst>
        <pc:spChg chg="mod">
          <ac:chgData name="Renata Festa" userId="6f22df47-533b-4c2a-a3c1-7f9ad1d63e10" providerId="ADAL" clId="{7D997690-04A4-4675-83D7-2E1CC2ED1A4E}" dt="2020-03-24T17:22:39.057" v="2257"/>
          <ac:spMkLst>
            <pc:docMk/>
            <pc:sldMk cId="1360898273" sldId="2076136695"/>
            <ac:spMk id="2" creationId="{EB67312A-9819-43C6-8D84-D9136E6CFFCC}"/>
          </ac:spMkLst>
        </pc:spChg>
        <pc:spChg chg="del">
          <ac:chgData name="Renata Festa" userId="6f22df47-533b-4c2a-a3c1-7f9ad1d63e10" providerId="ADAL" clId="{7D997690-04A4-4675-83D7-2E1CC2ED1A4E}" dt="2020-03-24T17:24:41.886" v="2283" actId="478"/>
          <ac:spMkLst>
            <pc:docMk/>
            <pc:sldMk cId="1360898273" sldId="2076136695"/>
            <ac:spMk id="3" creationId="{F35E8CBB-5A7D-4DEF-BAF7-8DD5D042F9E0}"/>
          </ac:spMkLst>
        </pc:spChg>
        <pc:spChg chg="del">
          <ac:chgData name="Renata Festa" userId="6f22df47-533b-4c2a-a3c1-7f9ad1d63e10" providerId="ADAL" clId="{7D997690-04A4-4675-83D7-2E1CC2ED1A4E}" dt="2020-03-24T17:24:39.364" v="2282" actId="478"/>
          <ac:spMkLst>
            <pc:docMk/>
            <pc:sldMk cId="1360898273" sldId="2076136695"/>
            <ac:spMk id="4" creationId="{F3616A99-090F-45E1-9334-58D58B148205}"/>
          </ac:spMkLst>
        </pc:spChg>
        <pc:spChg chg="add del">
          <ac:chgData name="Renata Festa" userId="6f22df47-533b-4c2a-a3c1-7f9ad1d63e10" providerId="ADAL" clId="{7D997690-04A4-4675-83D7-2E1CC2ED1A4E}" dt="2020-03-24T17:22:58.741" v="2259"/>
          <ac:spMkLst>
            <pc:docMk/>
            <pc:sldMk cId="1360898273" sldId="2076136695"/>
            <ac:spMk id="90" creationId="{48118F9B-7561-4F44-BD1B-5FD6C5EBBB7E}"/>
          </ac:spMkLst>
        </pc:spChg>
        <pc:spChg chg="add del">
          <ac:chgData name="Renata Festa" userId="6f22df47-533b-4c2a-a3c1-7f9ad1d63e10" providerId="ADAL" clId="{7D997690-04A4-4675-83D7-2E1CC2ED1A4E}" dt="2020-03-24T17:22:58.741" v="2259"/>
          <ac:spMkLst>
            <pc:docMk/>
            <pc:sldMk cId="1360898273" sldId="2076136695"/>
            <ac:spMk id="91" creationId="{80822A02-DBFF-46F7-A6E9-406E09F1C937}"/>
          </ac:spMkLst>
        </pc:spChg>
        <pc:spChg chg="add mod">
          <ac:chgData name="Renata Festa" userId="6f22df47-533b-4c2a-a3c1-7f9ad1d63e10" providerId="ADAL" clId="{7D997690-04A4-4675-83D7-2E1CC2ED1A4E}" dt="2020-03-24T17:23:22.153" v="2264" actId="1076"/>
          <ac:spMkLst>
            <pc:docMk/>
            <pc:sldMk cId="1360898273" sldId="2076136695"/>
            <ac:spMk id="177" creationId="{4FC2C164-7ED9-4DE7-8924-5D00951E70B1}"/>
          </ac:spMkLst>
        </pc:spChg>
        <pc:spChg chg="add mod">
          <ac:chgData name="Renata Festa" userId="6f22df47-533b-4c2a-a3c1-7f9ad1d63e10" providerId="ADAL" clId="{7D997690-04A4-4675-83D7-2E1CC2ED1A4E}" dt="2020-03-24T17:23:16.575" v="2263" actId="1076"/>
          <ac:spMkLst>
            <pc:docMk/>
            <pc:sldMk cId="1360898273" sldId="2076136695"/>
            <ac:spMk id="178" creationId="{4568ECFD-BA9E-4E99-955C-081E93FE0B92}"/>
          </ac:spMkLst>
        </pc:spChg>
        <pc:grpChg chg="add del">
          <ac:chgData name="Renata Festa" userId="6f22df47-533b-4c2a-a3c1-7f9ad1d63e10" providerId="ADAL" clId="{7D997690-04A4-4675-83D7-2E1CC2ED1A4E}" dt="2020-03-24T17:22:58.741" v="2259"/>
          <ac:grpSpMkLst>
            <pc:docMk/>
            <pc:sldMk cId="1360898273" sldId="2076136695"/>
            <ac:grpSpMk id="7" creationId="{1D72FCB2-4C78-46E9-B41C-5B6E53EB47BF}"/>
          </ac:grpSpMkLst>
        </pc:grpChg>
        <pc:grpChg chg="add del">
          <ac:chgData name="Renata Festa" userId="6f22df47-533b-4c2a-a3c1-7f9ad1d63e10" providerId="ADAL" clId="{7D997690-04A4-4675-83D7-2E1CC2ED1A4E}" dt="2020-03-24T17:22:58.741" v="2259"/>
          <ac:grpSpMkLst>
            <pc:docMk/>
            <pc:sldMk cId="1360898273" sldId="2076136695"/>
            <ac:grpSpMk id="14" creationId="{46410C18-AB0A-41C9-AADE-2C5F7F5298E9}"/>
          </ac:grpSpMkLst>
        </pc:grpChg>
        <pc:grpChg chg="add del">
          <ac:chgData name="Renata Festa" userId="6f22df47-533b-4c2a-a3c1-7f9ad1d63e10" providerId="ADAL" clId="{7D997690-04A4-4675-83D7-2E1CC2ED1A4E}" dt="2020-03-24T17:22:58.741" v="2259"/>
          <ac:grpSpMkLst>
            <pc:docMk/>
            <pc:sldMk cId="1360898273" sldId="2076136695"/>
            <ac:grpSpMk id="17" creationId="{86B04269-8380-4C27-B525-B0A79424BD4F}"/>
          </ac:grpSpMkLst>
        </pc:grpChg>
        <pc:grpChg chg="add del">
          <ac:chgData name="Renata Festa" userId="6f22df47-533b-4c2a-a3c1-7f9ad1d63e10" providerId="ADAL" clId="{7D997690-04A4-4675-83D7-2E1CC2ED1A4E}" dt="2020-03-24T17:22:58.741" v="2259"/>
          <ac:grpSpMkLst>
            <pc:docMk/>
            <pc:sldMk cId="1360898273" sldId="2076136695"/>
            <ac:grpSpMk id="21" creationId="{6B1855E8-C8D6-4AC2-9655-D50516FD0799}"/>
          </ac:grpSpMkLst>
        </pc:grpChg>
        <pc:grpChg chg="add del">
          <ac:chgData name="Renata Festa" userId="6f22df47-533b-4c2a-a3c1-7f9ad1d63e10" providerId="ADAL" clId="{7D997690-04A4-4675-83D7-2E1CC2ED1A4E}" dt="2020-03-24T17:22:58.741" v="2259"/>
          <ac:grpSpMkLst>
            <pc:docMk/>
            <pc:sldMk cId="1360898273" sldId="2076136695"/>
            <ac:grpSpMk id="26" creationId="{1B974FEC-CF7E-440D-9C2B-D9C8D453121D}"/>
          </ac:grpSpMkLst>
        </pc:grpChg>
        <pc:grpChg chg="add del">
          <ac:chgData name="Renata Festa" userId="6f22df47-533b-4c2a-a3c1-7f9ad1d63e10" providerId="ADAL" clId="{7D997690-04A4-4675-83D7-2E1CC2ED1A4E}" dt="2020-03-24T17:22:58.741" v="2259"/>
          <ac:grpSpMkLst>
            <pc:docMk/>
            <pc:sldMk cId="1360898273" sldId="2076136695"/>
            <ac:grpSpMk id="47" creationId="{412E7F64-7746-483B-BAC2-4438300B91E7}"/>
          </ac:grpSpMkLst>
        </pc:grpChg>
        <pc:grpChg chg="add del">
          <ac:chgData name="Renata Festa" userId="6f22df47-533b-4c2a-a3c1-7f9ad1d63e10" providerId="ADAL" clId="{7D997690-04A4-4675-83D7-2E1CC2ED1A4E}" dt="2020-03-24T17:22:58.741" v="2259"/>
          <ac:grpSpMkLst>
            <pc:docMk/>
            <pc:sldMk cId="1360898273" sldId="2076136695"/>
            <ac:grpSpMk id="51" creationId="{DFCA04BC-736A-442C-8D61-24C223EF3217}"/>
          </ac:grpSpMkLst>
        </pc:grpChg>
        <pc:grpChg chg="add del">
          <ac:chgData name="Renata Festa" userId="6f22df47-533b-4c2a-a3c1-7f9ad1d63e10" providerId="ADAL" clId="{7D997690-04A4-4675-83D7-2E1CC2ED1A4E}" dt="2020-03-24T17:22:58.741" v="2259"/>
          <ac:grpSpMkLst>
            <pc:docMk/>
            <pc:sldMk cId="1360898273" sldId="2076136695"/>
            <ac:grpSpMk id="67" creationId="{454D93BA-F7F8-4DAB-A811-45A7D08E497F}"/>
          </ac:grpSpMkLst>
        </pc:grpChg>
        <pc:grpChg chg="add del">
          <ac:chgData name="Renata Festa" userId="6f22df47-533b-4c2a-a3c1-7f9ad1d63e10" providerId="ADAL" clId="{7D997690-04A4-4675-83D7-2E1CC2ED1A4E}" dt="2020-03-24T17:22:58.741" v="2259"/>
          <ac:grpSpMkLst>
            <pc:docMk/>
            <pc:sldMk cId="1360898273" sldId="2076136695"/>
            <ac:grpSpMk id="71" creationId="{1E9F1A61-DEA2-4644-A431-DAAB491A866D}"/>
          </ac:grpSpMkLst>
        </pc:grpChg>
        <pc:grpChg chg="add del">
          <ac:chgData name="Renata Festa" userId="6f22df47-533b-4c2a-a3c1-7f9ad1d63e10" providerId="ADAL" clId="{7D997690-04A4-4675-83D7-2E1CC2ED1A4E}" dt="2020-03-24T17:22:58.741" v="2259"/>
          <ac:grpSpMkLst>
            <pc:docMk/>
            <pc:sldMk cId="1360898273" sldId="2076136695"/>
            <ac:grpSpMk id="79" creationId="{C8CADE06-FB4A-4B3B-B172-8EDB20C47589}"/>
          </ac:grpSpMkLst>
        </pc:grpChg>
        <pc:grpChg chg="add mod">
          <ac:chgData name="Renata Festa" userId="6f22df47-533b-4c2a-a3c1-7f9ad1d63e10" providerId="ADAL" clId="{7D997690-04A4-4675-83D7-2E1CC2ED1A4E}" dt="2020-03-24T17:23:58.767" v="2273" actId="1076"/>
          <ac:grpSpMkLst>
            <pc:docMk/>
            <pc:sldMk cId="1360898273" sldId="2076136695"/>
            <ac:grpSpMk id="94" creationId="{2207B0DF-63B9-49D5-92A4-53AFDA6D725B}"/>
          </ac:grpSpMkLst>
        </pc:grpChg>
        <pc:grpChg chg="add mod">
          <ac:chgData name="Renata Festa" userId="6f22df47-533b-4c2a-a3c1-7f9ad1d63e10" providerId="ADAL" clId="{7D997690-04A4-4675-83D7-2E1CC2ED1A4E}" dt="2020-03-24T17:23:11.730" v="2262" actId="14100"/>
          <ac:grpSpMkLst>
            <pc:docMk/>
            <pc:sldMk cId="1360898273" sldId="2076136695"/>
            <ac:grpSpMk id="101" creationId="{47472821-1132-4762-B775-C6929235F8F2}"/>
          </ac:grpSpMkLst>
        </pc:grpChg>
        <pc:grpChg chg="add mod">
          <ac:chgData name="Renata Festa" userId="6f22df47-533b-4c2a-a3c1-7f9ad1d63e10" providerId="ADAL" clId="{7D997690-04A4-4675-83D7-2E1CC2ED1A4E}" dt="2020-03-24T17:23:41.629" v="2270" actId="1076"/>
          <ac:grpSpMkLst>
            <pc:docMk/>
            <pc:sldMk cId="1360898273" sldId="2076136695"/>
            <ac:grpSpMk id="104" creationId="{E8DA4887-7DDE-4AF9-9C37-C52FD2E7A7B3}"/>
          </ac:grpSpMkLst>
        </pc:grpChg>
        <pc:grpChg chg="add mod">
          <ac:chgData name="Renata Festa" userId="6f22df47-533b-4c2a-a3c1-7f9ad1d63e10" providerId="ADAL" clId="{7D997690-04A4-4675-83D7-2E1CC2ED1A4E}" dt="2020-03-24T17:23:53.711" v="2272" actId="1076"/>
          <ac:grpSpMkLst>
            <pc:docMk/>
            <pc:sldMk cId="1360898273" sldId="2076136695"/>
            <ac:grpSpMk id="108" creationId="{D26C9917-D19F-4145-85B1-B06F41CDE89C}"/>
          </ac:grpSpMkLst>
        </pc:grpChg>
        <pc:grpChg chg="mod">
          <ac:chgData name="Renata Festa" userId="6f22df47-533b-4c2a-a3c1-7f9ad1d63e10" providerId="ADAL" clId="{7D997690-04A4-4675-83D7-2E1CC2ED1A4E}" dt="2020-03-24T17:23:11.730" v="2262" actId="14100"/>
          <ac:grpSpMkLst>
            <pc:docMk/>
            <pc:sldMk cId="1360898273" sldId="2076136695"/>
            <ac:grpSpMk id="110" creationId="{7FD82E05-DA11-4D08-A625-56FF89FAF092}"/>
          </ac:grpSpMkLst>
        </pc:grpChg>
        <pc:grpChg chg="add mod">
          <ac:chgData name="Renata Festa" userId="6f22df47-533b-4c2a-a3c1-7f9ad1d63e10" providerId="ADAL" clId="{7D997690-04A4-4675-83D7-2E1CC2ED1A4E}" dt="2020-03-24T17:23:32.653" v="2267" actId="1076"/>
          <ac:grpSpMkLst>
            <pc:docMk/>
            <pc:sldMk cId="1360898273" sldId="2076136695"/>
            <ac:grpSpMk id="113" creationId="{B4FE5B4F-9B50-4C66-9FED-8F542915878B}"/>
          </ac:grpSpMkLst>
        </pc:grpChg>
        <pc:grpChg chg="mod">
          <ac:chgData name="Renata Festa" userId="6f22df47-533b-4c2a-a3c1-7f9ad1d63e10" providerId="ADAL" clId="{7D997690-04A4-4675-83D7-2E1CC2ED1A4E}" dt="2020-03-24T17:23:32.653" v="2267" actId="1076"/>
          <ac:grpSpMkLst>
            <pc:docMk/>
            <pc:sldMk cId="1360898273" sldId="2076136695"/>
            <ac:grpSpMk id="115" creationId="{FCCFDD4B-596F-41BB-A755-921F96E8A43F}"/>
          </ac:grpSpMkLst>
        </pc:grpChg>
        <pc:grpChg chg="add mod">
          <ac:chgData name="Renata Festa" userId="6f22df47-533b-4c2a-a3c1-7f9ad1d63e10" providerId="ADAL" clId="{7D997690-04A4-4675-83D7-2E1CC2ED1A4E}" dt="2020-03-24T17:23:29.626" v="2266" actId="1076"/>
          <ac:grpSpMkLst>
            <pc:docMk/>
            <pc:sldMk cId="1360898273" sldId="2076136695"/>
            <ac:grpSpMk id="134" creationId="{19BA3833-860D-43E7-AD5A-CFB91817952A}"/>
          </ac:grpSpMkLst>
        </pc:grpChg>
        <pc:grpChg chg="add mod">
          <ac:chgData name="Renata Festa" userId="6f22df47-533b-4c2a-a3c1-7f9ad1d63e10" providerId="ADAL" clId="{7D997690-04A4-4675-83D7-2E1CC2ED1A4E}" dt="2020-03-24T17:23:25.185" v="2265" actId="1076"/>
          <ac:grpSpMkLst>
            <pc:docMk/>
            <pc:sldMk cId="1360898273" sldId="2076136695"/>
            <ac:grpSpMk id="138" creationId="{1E452A1A-0924-4D4A-B119-35BDD45BA966}"/>
          </ac:grpSpMkLst>
        </pc:grpChg>
        <pc:grpChg chg="mod">
          <ac:chgData name="Renata Festa" userId="6f22df47-533b-4c2a-a3c1-7f9ad1d63e10" providerId="ADAL" clId="{7D997690-04A4-4675-83D7-2E1CC2ED1A4E}" dt="2020-03-24T17:23:11.730" v="2262" actId="14100"/>
          <ac:grpSpMkLst>
            <pc:docMk/>
            <pc:sldMk cId="1360898273" sldId="2076136695"/>
            <ac:grpSpMk id="142" creationId="{4E70D212-69E9-4667-ACEC-5984D6A19DE1}"/>
          </ac:grpSpMkLst>
        </pc:grpChg>
        <pc:grpChg chg="mod">
          <ac:chgData name="Renata Festa" userId="6f22df47-533b-4c2a-a3c1-7f9ad1d63e10" providerId="ADAL" clId="{7D997690-04A4-4675-83D7-2E1CC2ED1A4E}" dt="2020-03-24T17:23:11.730" v="2262" actId="14100"/>
          <ac:grpSpMkLst>
            <pc:docMk/>
            <pc:sldMk cId="1360898273" sldId="2076136695"/>
            <ac:grpSpMk id="143" creationId="{6DC3F1A8-D1E5-4875-8478-FFC708E57757}"/>
          </ac:grpSpMkLst>
        </pc:grpChg>
        <pc:grpChg chg="mod">
          <ac:chgData name="Renata Festa" userId="6f22df47-533b-4c2a-a3c1-7f9ad1d63e10" providerId="ADAL" clId="{7D997690-04A4-4675-83D7-2E1CC2ED1A4E}" dt="2020-03-24T17:23:11.730" v="2262" actId="14100"/>
          <ac:grpSpMkLst>
            <pc:docMk/>
            <pc:sldMk cId="1360898273" sldId="2076136695"/>
            <ac:grpSpMk id="144" creationId="{D5F25705-1348-478F-B913-1211AACF3017}"/>
          </ac:grpSpMkLst>
        </pc:grpChg>
        <pc:grpChg chg="add mod">
          <ac:chgData name="Renata Festa" userId="6f22df47-533b-4c2a-a3c1-7f9ad1d63e10" providerId="ADAL" clId="{7D997690-04A4-4675-83D7-2E1CC2ED1A4E}" dt="2020-03-24T17:23:38.590" v="2269" actId="1076"/>
          <ac:grpSpMkLst>
            <pc:docMk/>
            <pc:sldMk cId="1360898273" sldId="2076136695"/>
            <ac:grpSpMk id="154" creationId="{EDFA523E-4C92-4E57-B963-16508BF65614}"/>
          </ac:grpSpMkLst>
        </pc:grpChg>
        <pc:grpChg chg="add mod">
          <ac:chgData name="Renata Festa" userId="6f22df47-533b-4c2a-a3c1-7f9ad1d63e10" providerId="ADAL" clId="{7D997690-04A4-4675-83D7-2E1CC2ED1A4E}" dt="2020-03-24T17:23:34.869" v="2268" actId="1076"/>
          <ac:grpSpMkLst>
            <pc:docMk/>
            <pc:sldMk cId="1360898273" sldId="2076136695"/>
            <ac:grpSpMk id="158" creationId="{31AA9634-8C49-4F59-96A4-A59ABA869C2A}"/>
          </ac:grpSpMkLst>
        </pc:grpChg>
        <pc:grpChg chg="add mod">
          <ac:chgData name="Renata Festa" userId="6f22df47-533b-4c2a-a3c1-7f9ad1d63e10" providerId="ADAL" clId="{7D997690-04A4-4675-83D7-2E1CC2ED1A4E}" dt="2020-03-24T17:23:50.702" v="2271" actId="1076"/>
          <ac:grpSpMkLst>
            <pc:docMk/>
            <pc:sldMk cId="1360898273" sldId="2076136695"/>
            <ac:grpSpMk id="166" creationId="{7A5BA2B0-2A01-4C55-BA3D-E1F93FE1D27B}"/>
          </ac:grpSpMkLst>
        </pc:grpChg>
        <pc:graphicFrameChg chg="add del">
          <ac:chgData name="Renata Festa" userId="6f22df47-533b-4c2a-a3c1-7f9ad1d63e10" providerId="ADAL" clId="{7D997690-04A4-4675-83D7-2E1CC2ED1A4E}" dt="2020-03-24T17:22:58.741" v="2259"/>
          <ac:graphicFrameMkLst>
            <pc:docMk/>
            <pc:sldMk cId="1360898273" sldId="2076136695"/>
            <ac:graphicFrameMk id="5" creationId="{671EDAE5-5DE9-465A-9146-207AA203B061}"/>
          </ac:graphicFrameMkLst>
        </pc:graphicFrameChg>
        <pc:graphicFrameChg chg="add del">
          <ac:chgData name="Renata Festa" userId="6f22df47-533b-4c2a-a3c1-7f9ad1d63e10" providerId="ADAL" clId="{7D997690-04A4-4675-83D7-2E1CC2ED1A4E}" dt="2020-03-24T17:22:58.741" v="2259"/>
          <ac:graphicFrameMkLst>
            <pc:docMk/>
            <pc:sldMk cId="1360898273" sldId="2076136695"/>
            <ac:graphicFrameMk id="6" creationId="{25F50544-E051-4F2C-85B7-03F27F01D0B5}"/>
          </ac:graphicFrameMkLst>
        </pc:graphicFrameChg>
        <pc:graphicFrameChg chg="add mod">
          <ac:chgData name="Renata Festa" userId="6f22df47-533b-4c2a-a3c1-7f9ad1d63e10" providerId="ADAL" clId="{7D997690-04A4-4675-83D7-2E1CC2ED1A4E}" dt="2020-03-24T17:23:11.730" v="2262" actId="14100"/>
          <ac:graphicFrameMkLst>
            <pc:docMk/>
            <pc:sldMk cId="1360898273" sldId="2076136695"/>
            <ac:graphicFrameMk id="92" creationId="{86D3A0DF-D1CF-4EC1-9563-C47B416D89EC}"/>
          </ac:graphicFrameMkLst>
        </pc:graphicFrameChg>
        <pc:graphicFrameChg chg="add mod">
          <ac:chgData name="Renata Festa" userId="6f22df47-533b-4c2a-a3c1-7f9ad1d63e10" providerId="ADAL" clId="{7D997690-04A4-4675-83D7-2E1CC2ED1A4E}" dt="2020-03-24T17:23:11.730" v="2262" actId="14100"/>
          <ac:graphicFrameMkLst>
            <pc:docMk/>
            <pc:sldMk cId="1360898273" sldId="2076136695"/>
            <ac:graphicFrameMk id="93" creationId="{7D66D5AF-A306-4D50-8528-637B69C93FB1}"/>
          </ac:graphicFrameMkLst>
        </pc:graphicFrameChg>
        <pc:picChg chg="add del">
          <ac:chgData name="Renata Festa" userId="6f22df47-533b-4c2a-a3c1-7f9ad1d63e10" providerId="ADAL" clId="{7D997690-04A4-4675-83D7-2E1CC2ED1A4E}" dt="2020-03-24T17:22:58.741" v="2259"/>
          <ac:picMkLst>
            <pc:docMk/>
            <pc:sldMk cId="1360898273" sldId="2076136695"/>
            <ac:picMk id="82" creationId="{1369DF61-C1F6-452C-90CD-67B91F9A8260}"/>
          </ac:picMkLst>
        </pc:picChg>
        <pc:picChg chg="add del">
          <ac:chgData name="Renata Festa" userId="6f22df47-533b-4c2a-a3c1-7f9ad1d63e10" providerId="ADAL" clId="{7D997690-04A4-4675-83D7-2E1CC2ED1A4E}" dt="2020-03-24T17:22:58.741" v="2259"/>
          <ac:picMkLst>
            <pc:docMk/>
            <pc:sldMk cId="1360898273" sldId="2076136695"/>
            <ac:picMk id="83" creationId="{58668E0C-002F-45F7-9851-6C16F3D58467}"/>
          </ac:picMkLst>
        </pc:picChg>
        <pc:picChg chg="add del">
          <ac:chgData name="Renata Festa" userId="6f22df47-533b-4c2a-a3c1-7f9ad1d63e10" providerId="ADAL" clId="{7D997690-04A4-4675-83D7-2E1CC2ED1A4E}" dt="2020-03-24T17:22:58.741" v="2259"/>
          <ac:picMkLst>
            <pc:docMk/>
            <pc:sldMk cId="1360898273" sldId="2076136695"/>
            <ac:picMk id="84" creationId="{AC7EBA72-3598-43B0-9AF5-25A6717C8C67}"/>
          </ac:picMkLst>
        </pc:picChg>
        <pc:picChg chg="add del">
          <ac:chgData name="Renata Festa" userId="6f22df47-533b-4c2a-a3c1-7f9ad1d63e10" providerId="ADAL" clId="{7D997690-04A4-4675-83D7-2E1CC2ED1A4E}" dt="2020-03-24T17:22:58.741" v="2259"/>
          <ac:picMkLst>
            <pc:docMk/>
            <pc:sldMk cId="1360898273" sldId="2076136695"/>
            <ac:picMk id="85" creationId="{9232E70A-9DF9-4657-AE72-61ECDEBAA8B2}"/>
          </ac:picMkLst>
        </pc:picChg>
        <pc:picChg chg="add del">
          <ac:chgData name="Renata Festa" userId="6f22df47-533b-4c2a-a3c1-7f9ad1d63e10" providerId="ADAL" clId="{7D997690-04A4-4675-83D7-2E1CC2ED1A4E}" dt="2020-03-24T17:22:58.741" v="2259"/>
          <ac:picMkLst>
            <pc:docMk/>
            <pc:sldMk cId="1360898273" sldId="2076136695"/>
            <ac:picMk id="86" creationId="{1F2DFAA7-0B9C-47F7-BC88-1EFB8F02278D}"/>
          </ac:picMkLst>
        </pc:picChg>
        <pc:picChg chg="add del">
          <ac:chgData name="Renata Festa" userId="6f22df47-533b-4c2a-a3c1-7f9ad1d63e10" providerId="ADAL" clId="{7D997690-04A4-4675-83D7-2E1CC2ED1A4E}" dt="2020-03-24T17:22:58.741" v="2259"/>
          <ac:picMkLst>
            <pc:docMk/>
            <pc:sldMk cId="1360898273" sldId="2076136695"/>
            <ac:picMk id="87" creationId="{3521965B-C3EF-452D-B88A-CED83FC74045}"/>
          </ac:picMkLst>
        </pc:picChg>
        <pc:picChg chg="add del">
          <ac:chgData name="Renata Festa" userId="6f22df47-533b-4c2a-a3c1-7f9ad1d63e10" providerId="ADAL" clId="{7D997690-04A4-4675-83D7-2E1CC2ED1A4E}" dt="2020-03-24T17:22:58.741" v="2259"/>
          <ac:picMkLst>
            <pc:docMk/>
            <pc:sldMk cId="1360898273" sldId="2076136695"/>
            <ac:picMk id="88" creationId="{D6F83BAB-4566-4AB3-A0A6-7C978BBEC594}"/>
          </ac:picMkLst>
        </pc:picChg>
        <pc:picChg chg="add del">
          <ac:chgData name="Renata Festa" userId="6f22df47-533b-4c2a-a3c1-7f9ad1d63e10" providerId="ADAL" clId="{7D997690-04A4-4675-83D7-2E1CC2ED1A4E}" dt="2020-03-24T17:22:58.741" v="2259"/>
          <ac:picMkLst>
            <pc:docMk/>
            <pc:sldMk cId="1360898273" sldId="2076136695"/>
            <ac:picMk id="89" creationId="{76593E8D-59FC-4AAB-BCD2-AB4B82E176A0}"/>
          </ac:picMkLst>
        </pc:picChg>
        <pc:picChg chg="add mod">
          <ac:chgData name="Renata Festa" userId="6f22df47-533b-4c2a-a3c1-7f9ad1d63e10" providerId="ADAL" clId="{7D997690-04A4-4675-83D7-2E1CC2ED1A4E}" dt="2020-03-24T17:24:17.513" v="2278" actId="1076"/>
          <ac:picMkLst>
            <pc:docMk/>
            <pc:sldMk cId="1360898273" sldId="2076136695"/>
            <ac:picMk id="169" creationId="{8A06B8E6-C8A6-4770-B997-169CF19B28EB}"/>
          </ac:picMkLst>
        </pc:picChg>
        <pc:picChg chg="add mod">
          <ac:chgData name="Renata Festa" userId="6f22df47-533b-4c2a-a3c1-7f9ad1d63e10" providerId="ADAL" clId="{7D997690-04A4-4675-83D7-2E1CC2ED1A4E}" dt="2020-03-24T17:24:20.031" v="2279" actId="1076"/>
          <ac:picMkLst>
            <pc:docMk/>
            <pc:sldMk cId="1360898273" sldId="2076136695"/>
            <ac:picMk id="170" creationId="{171EFB51-3FE9-4728-A54E-32CAACE8FE52}"/>
          </ac:picMkLst>
        </pc:picChg>
        <pc:picChg chg="add mod">
          <ac:chgData name="Renata Festa" userId="6f22df47-533b-4c2a-a3c1-7f9ad1d63e10" providerId="ADAL" clId="{7D997690-04A4-4675-83D7-2E1CC2ED1A4E}" dt="2020-03-24T17:24:14.468" v="2277" actId="1076"/>
          <ac:picMkLst>
            <pc:docMk/>
            <pc:sldMk cId="1360898273" sldId="2076136695"/>
            <ac:picMk id="171" creationId="{7BAB161A-FBCD-4824-8394-91FF3EEC7CB6}"/>
          </ac:picMkLst>
        </pc:picChg>
        <pc:picChg chg="add mod">
          <ac:chgData name="Renata Festa" userId="6f22df47-533b-4c2a-a3c1-7f9ad1d63e10" providerId="ADAL" clId="{7D997690-04A4-4675-83D7-2E1CC2ED1A4E}" dt="2020-03-24T17:24:07.648" v="2276" actId="1076"/>
          <ac:picMkLst>
            <pc:docMk/>
            <pc:sldMk cId="1360898273" sldId="2076136695"/>
            <ac:picMk id="172" creationId="{6E77864B-72F4-4A96-BD49-1D4EDB945F64}"/>
          </ac:picMkLst>
        </pc:picChg>
        <pc:picChg chg="add mod">
          <ac:chgData name="Renata Festa" userId="6f22df47-533b-4c2a-a3c1-7f9ad1d63e10" providerId="ADAL" clId="{7D997690-04A4-4675-83D7-2E1CC2ED1A4E}" dt="2020-03-24T17:24:05.401" v="2275" actId="1076"/>
          <ac:picMkLst>
            <pc:docMk/>
            <pc:sldMk cId="1360898273" sldId="2076136695"/>
            <ac:picMk id="173" creationId="{49C789FE-A794-4F26-8357-8420E09DD439}"/>
          </ac:picMkLst>
        </pc:picChg>
        <pc:picChg chg="add mod">
          <ac:chgData name="Renata Festa" userId="6f22df47-533b-4c2a-a3c1-7f9ad1d63e10" providerId="ADAL" clId="{7D997690-04A4-4675-83D7-2E1CC2ED1A4E}" dt="2020-03-24T17:24:03.447" v="2274" actId="1076"/>
          <ac:picMkLst>
            <pc:docMk/>
            <pc:sldMk cId="1360898273" sldId="2076136695"/>
            <ac:picMk id="174" creationId="{33CFBD55-50F0-4F1C-BA34-5B93DEE725C9}"/>
          </ac:picMkLst>
        </pc:picChg>
        <pc:picChg chg="add mod">
          <ac:chgData name="Renata Festa" userId="6f22df47-533b-4c2a-a3c1-7f9ad1d63e10" providerId="ADAL" clId="{7D997690-04A4-4675-83D7-2E1CC2ED1A4E}" dt="2020-03-24T17:24:30.162" v="2280" actId="1076"/>
          <ac:picMkLst>
            <pc:docMk/>
            <pc:sldMk cId="1360898273" sldId="2076136695"/>
            <ac:picMk id="175" creationId="{70F8E466-4725-4143-8C22-B679DF42B521}"/>
          </ac:picMkLst>
        </pc:picChg>
        <pc:picChg chg="add mod">
          <ac:chgData name="Renata Festa" userId="6f22df47-533b-4c2a-a3c1-7f9ad1d63e10" providerId="ADAL" clId="{7D997690-04A4-4675-83D7-2E1CC2ED1A4E}" dt="2020-03-24T17:24:33.764" v="2281" actId="1076"/>
          <ac:picMkLst>
            <pc:docMk/>
            <pc:sldMk cId="1360898273" sldId="2076136695"/>
            <ac:picMk id="176" creationId="{17BE04AC-E692-4300-90F2-94EE4B46987C}"/>
          </ac:picMkLst>
        </pc:picChg>
      </pc:sldChg>
      <pc:sldChg chg="addSp delSp modSp add mod modAnim">
        <pc:chgData name="Renata Festa" userId="6f22df47-533b-4c2a-a3c1-7f9ad1d63e10" providerId="ADAL" clId="{7D997690-04A4-4675-83D7-2E1CC2ED1A4E}" dt="2020-03-24T17:25:42.272" v="2292" actId="1037"/>
        <pc:sldMkLst>
          <pc:docMk/>
          <pc:sldMk cId="3225198365" sldId="2076136696"/>
        </pc:sldMkLst>
        <pc:spChg chg="mod">
          <ac:chgData name="Renata Festa" userId="6f22df47-533b-4c2a-a3c1-7f9ad1d63e10" providerId="ADAL" clId="{7D997690-04A4-4675-83D7-2E1CC2ED1A4E}" dt="2020-03-24T17:25:23.993" v="2284"/>
          <ac:spMkLst>
            <pc:docMk/>
            <pc:sldMk cId="3225198365" sldId="2076136696"/>
            <ac:spMk id="2" creationId="{EB67312A-9819-43C6-8D84-D9136E6CFFCC}"/>
          </ac:spMkLst>
        </pc:spChg>
        <pc:spChg chg="del">
          <ac:chgData name="Renata Festa" userId="6f22df47-533b-4c2a-a3c1-7f9ad1d63e10" providerId="ADAL" clId="{7D997690-04A4-4675-83D7-2E1CC2ED1A4E}" dt="2020-03-24T17:25:25.495" v="2285" actId="478"/>
          <ac:spMkLst>
            <pc:docMk/>
            <pc:sldMk cId="3225198365" sldId="2076136696"/>
            <ac:spMk id="3" creationId="{F35E8CBB-5A7D-4DEF-BAF7-8DD5D042F9E0}"/>
          </ac:spMkLst>
        </pc:spChg>
        <pc:spChg chg="del">
          <ac:chgData name="Renata Festa" userId="6f22df47-533b-4c2a-a3c1-7f9ad1d63e10" providerId="ADAL" clId="{7D997690-04A4-4675-83D7-2E1CC2ED1A4E}" dt="2020-03-24T17:25:37.654" v="2288" actId="478"/>
          <ac:spMkLst>
            <pc:docMk/>
            <pc:sldMk cId="3225198365" sldId="2076136696"/>
            <ac:spMk id="4" creationId="{F3616A99-090F-45E1-9334-58D58B148205}"/>
          </ac:spMkLst>
        </pc:spChg>
        <pc:spChg chg="add mod">
          <ac:chgData name="Renata Festa" userId="6f22df47-533b-4c2a-a3c1-7f9ad1d63e10" providerId="ADAL" clId="{7D997690-04A4-4675-83D7-2E1CC2ED1A4E}" dt="2020-03-24T17:25:35.309" v="2287" actId="1076"/>
          <ac:spMkLst>
            <pc:docMk/>
            <pc:sldMk cId="3225198365" sldId="2076136696"/>
            <ac:spMk id="5" creationId="{CDCFAA8B-100F-49A3-B7AA-C40F3E635051}"/>
          </ac:spMkLst>
        </pc:spChg>
        <pc:spChg chg="add mod">
          <ac:chgData name="Renata Festa" userId="6f22df47-533b-4c2a-a3c1-7f9ad1d63e10" providerId="ADAL" clId="{7D997690-04A4-4675-83D7-2E1CC2ED1A4E}" dt="2020-03-24T17:25:35.309" v="2287" actId="1076"/>
          <ac:spMkLst>
            <pc:docMk/>
            <pc:sldMk cId="3225198365" sldId="2076136696"/>
            <ac:spMk id="6" creationId="{D9BF3DEC-8C5C-4682-A066-53BC69EE22D9}"/>
          </ac:spMkLst>
        </pc:spChg>
        <pc:spChg chg="add mod">
          <ac:chgData name="Renata Festa" userId="6f22df47-533b-4c2a-a3c1-7f9ad1d63e10" providerId="ADAL" clId="{7D997690-04A4-4675-83D7-2E1CC2ED1A4E}" dt="2020-03-24T17:25:39.538" v="2290" actId="1037"/>
          <ac:spMkLst>
            <pc:docMk/>
            <pc:sldMk cId="3225198365" sldId="2076136696"/>
            <ac:spMk id="7" creationId="{EEF41EB1-DA5F-4F18-BA7D-D3AD1B02FBD3}"/>
          </ac:spMkLst>
        </pc:spChg>
        <pc:spChg chg="add mod">
          <ac:chgData name="Renata Festa" userId="6f22df47-533b-4c2a-a3c1-7f9ad1d63e10" providerId="ADAL" clId="{7D997690-04A4-4675-83D7-2E1CC2ED1A4E}" dt="2020-03-24T17:25:42.272" v="2292" actId="1037"/>
          <ac:spMkLst>
            <pc:docMk/>
            <pc:sldMk cId="3225198365" sldId="2076136696"/>
            <ac:spMk id="8" creationId="{A3240F2B-2235-4114-9BCD-26E57DCCB38E}"/>
          </ac:spMkLst>
        </pc:spChg>
      </pc:sldChg>
      <pc:sldChg chg="addSp delSp modSp add mod">
        <pc:chgData name="Renata Festa" userId="6f22df47-533b-4c2a-a3c1-7f9ad1d63e10" providerId="ADAL" clId="{7D997690-04A4-4675-83D7-2E1CC2ED1A4E}" dt="2020-03-24T17:27:14.525" v="2306" actId="12084"/>
        <pc:sldMkLst>
          <pc:docMk/>
          <pc:sldMk cId="776602614" sldId="2076136697"/>
        </pc:sldMkLst>
        <pc:spChg chg="mod">
          <ac:chgData name="Renata Festa" userId="6f22df47-533b-4c2a-a3c1-7f9ad1d63e10" providerId="ADAL" clId="{7D997690-04A4-4675-83D7-2E1CC2ED1A4E}" dt="2020-03-24T17:26:00.801" v="2297"/>
          <ac:spMkLst>
            <pc:docMk/>
            <pc:sldMk cId="776602614" sldId="2076136697"/>
            <ac:spMk id="2" creationId="{EB67312A-9819-43C6-8D84-D9136E6CFFCC}"/>
          </ac:spMkLst>
        </pc:spChg>
        <pc:spChg chg="del">
          <ac:chgData name="Renata Festa" userId="6f22df47-533b-4c2a-a3c1-7f9ad1d63e10" providerId="ADAL" clId="{7D997690-04A4-4675-83D7-2E1CC2ED1A4E}" dt="2020-03-24T17:26:05.039" v="2298" actId="478"/>
          <ac:spMkLst>
            <pc:docMk/>
            <pc:sldMk cId="776602614" sldId="2076136697"/>
            <ac:spMk id="3" creationId="{F35E8CBB-5A7D-4DEF-BAF7-8DD5D042F9E0}"/>
          </ac:spMkLst>
        </pc:spChg>
        <pc:spChg chg="del mod">
          <ac:chgData name="Renata Festa" userId="6f22df47-533b-4c2a-a3c1-7f9ad1d63e10" providerId="ADAL" clId="{7D997690-04A4-4675-83D7-2E1CC2ED1A4E}" dt="2020-03-24T17:27:14.525" v="2306" actId="12084"/>
          <ac:spMkLst>
            <pc:docMk/>
            <pc:sldMk cId="776602614" sldId="2076136697"/>
            <ac:spMk id="4" creationId="{F3616A99-090F-45E1-9334-58D58B148205}"/>
          </ac:spMkLst>
        </pc:spChg>
        <pc:grpChg chg="add del">
          <ac:chgData name="Renata Festa" userId="6f22df47-533b-4c2a-a3c1-7f9ad1d63e10" providerId="ADAL" clId="{7D997690-04A4-4675-83D7-2E1CC2ED1A4E}" dt="2020-03-24T17:26:26.604" v="2303"/>
          <ac:grpSpMkLst>
            <pc:docMk/>
            <pc:sldMk cId="776602614" sldId="2076136697"/>
            <ac:grpSpMk id="5" creationId="{FB457433-3A04-4C72-9DCE-367EF1B63F3D}"/>
          </ac:grpSpMkLst>
        </pc:grpChg>
        <pc:grpChg chg="add del">
          <ac:chgData name="Renata Festa" userId="6f22df47-533b-4c2a-a3c1-7f9ad1d63e10" providerId="ADAL" clId="{7D997690-04A4-4675-83D7-2E1CC2ED1A4E}" dt="2020-03-24T17:26:26.604" v="2303"/>
          <ac:grpSpMkLst>
            <pc:docMk/>
            <pc:sldMk cId="776602614" sldId="2076136697"/>
            <ac:grpSpMk id="14" creationId="{2B839F16-102F-40F4-880F-BC7B5ED6D76E}"/>
          </ac:grpSpMkLst>
        </pc:grpChg>
        <pc:grpChg chg="add">
          <ac:chgData name="Renata Festa" userId="6f22df47-533b-4c2a-a3c1-7f9ad1d63e10" providerId="ADAL" clId="{7D997690-04A4-4675-83D7-2E1CC2ED1A4E}" dt="2020-03-24T17:26:28.714" v="2304"/>
          <ac:grpSpMkLst>
            <pc:docMk/>
            <pc:sldMk cId="776602614" sldId="2076136697"/>
            <ac:grpSpMk id="35" creationId="{920E40B6-76C5-4579-AFCD-69A68D7A7AF2}"/>
          </ac:grpSpMkLst>
        </pc:grpChg>
        <pc:grpChg chg="add">
          <ac:chgData name="Renata Festa" userId="6f22df47-533b-4c2a-a3c1-7f9ad1d63e10" providerId="ADAL" clId="{7D997690-04A4-4675-83D7-2E1CC2ED1A4E}" dt="2020-03-24T17:26:28.714" v="2304"/>
          <ac:grpSpMkLst>
            <pc:docMk/>
            <pc:sldMk cId="776602614" sldId="2076136697"/>
            <ac:grpSpMk id="44" creationId="{4B4280BE-5879-475F-8AB2-ED6B430E63C1}"/>
          </ac:grpSpMkLst>
        </pc:grpChg>
        <pc:graphicFrameChg chg="add mod">
          <ac:chgData name="Renata Festa" userId="6f22df47-533b-4c2a-a3c1-7f9ad1d63e10" providerId="ADAL" clId="{7D997690-04A4-4675-83D7-2E1CC2ED1A4E}" dt="2020-03-24T17:27:14.525" v="2306" actId="12084"/>
          <ac:graphicFrameMkLst>
            <pc:docMk/>
            <pc:sldMk cId="776602614" sldId="2076136697"/>
            <ac:graphicFrameMk id="65" creationId="{7103A620-1990-4718-988F-41E4F6B5B358}"/>
          </ac:graphicFrameMkLst>
        </pc:graphicFrameChg>
        <pc:picChg chg="add del">
          <ac:chgData name="Renata Festa" userId="6f22df47-533b-4c2a-a3c1-7f9ad1d63e10" providerId="ADAL" clId="{7D997690-04A4-4675-83D7-2E1CC2ED1A4E}" dt="2020-03-24T17:26:26.604" v="2303"/>
          <ac:picMkLst>
            <pc:docMk/>
            <pc:sldMk cId="776602614" sldId="2076136697"/>
            <ac:picMk id="13" creationId="{E23EACE3-A324-4227-88E7-39DFEBF54753}"/>
          </ac:picMkLst>
        </pc:picChg>
        <pc:picChg chg="add">
          <ac:chgData name="Renata Festa" userId="6f22df47-533b-4c2a-a3c1-7f9ad1d63e10" providerId="ADAL" clId="{7D997690-04A4-4675-83D7-2E1CC2ED1A4E}" dt="2020-03-24T17:26:28.714" v="2304"/>
          <ac:picMkLst>
            <pc:docMk/>
            <pc:sldMk cId="776602614" sldId="2076136697"/>
            <ac:picMk id="43" creationId="{075B5B1E-7D48-433A-BE1C-45448C48A6BA}"/>
          </ac:picMkLst>
        </pc:picChg>
      </pc:sldChg>
      <pc:sldChg chg="add del">
        <pc:chgData name="Renata Festa" userId="6f22df47-533b-4c2a-a3c1-7f9ad1d63e10" providerId="ADAL" clId="{7D997690-04A4-4675-83D7-2E1CC2ED1A4E}" dt="2020-03-24T17:29:21.162" v="2342" actId="47"/>
        <pc:sldMkLst>
          <pc:docMk/>
          <pc:sldMk cId="481848261" sldId="2076136698"/>
        </pc:sldMkLst>
      </pc:sldChg>
      <pc:sldChg chg="addSp delSp modSp add mod">
        <pc:chgData name="Renata Festa" userId="6f22df47-533b-4c2a-a3c1-7f9ad1d63e10" providerId="ADAL" clId="{7D997690-04A4-4675-83D7-2E1CC2ED1A4E}" dt="2020-03-24T17:28:45.755" v="2331" actId="12084"/>
        <pc:sldMkLst>
          <pc:docMk/>
          <pc:sldMk cId="1523218829" sldId="2076136699"/>
        </pc:sldMkLst>
        <pc:spChg chg="mod">
          <ac:chgData name="Renata Festa" userId="6f22df47-533b-4c2a-a3c1-7f9ad1d63e10" providerId="ADAL" clId="{7D997690-04A4-4675-83D7-2E1CC2ED1A4E}" dt="2020-03-24T17:27:22.561" v="2307"/>
          <ac:spMkLst>
            <pc:docMk/>
            <pc:sldMk cId="1523218829" sldId="2076136699"/>
            <ac:spMk id="2" creationId="{EB67312A-9819-43C6-8D84-D9136E6CFFCC}"/>
          </ac:spMkLst>
        </pc:spChg>
        <pc:spChg chg="del">
          <ac:chgData name="Renata Festa" userId="6f22df47-533b-4c2a-a3c1-7f9ad1d63e10" providerId="ADAL" clId="{7D997690-04A4-4675-83D7-2E1CC2ED1A4E}" dt="2020-03-24T17:27:26.589" v="2308" actId="478"/>
          <ac:spMkLst>
            <pc:docMk/>
            <pc:sldMk cId="1523218829" sldId="2076136699"/>
            <ac:spMk id="3" creationId="{F35E8CBB-5A7D-4DEF-BAF7-8DD5D042F9E0}"/>
          </ac:spMkLst>
        </pc:spChg>
        <pc:spChg chg="del mod">
          <ac:chgData name="Renata Festa" userId="6f22df47-533b-4c2a-a3c1-7f9ad1d63e10" providerId="ADAL" clId="{7D997690-04A4-4675-83D7-2E1CC2ED1A4E}" dt="2020-03-24T17:28:45.755" v="2331" actId="12084"/>
          <ac:spMkLst>
            <pc:docMk/>
            <pc:sldMk cId="1523218829" sldId="2076136699"/>
            <ac:spMk id="4" creationId="{F3616A99-090F-45E1-9334-58D58B148205}"/>
          </ac:spMkLst>
        </pc:spChg>
        <pc:spChg chg="add mod">
          <ac:chgData name="Renata Festa" userId="6f22df47-533b-4c2a-a3c1-7f9ad1d63e10" providerId="ADAL" clId="{7D997690-04A4-4675-83D7-2E1CC2ED1A4E}" dt="2020-03-24T17:28:16.466" v="2330" actId="13822"/>
          <ac:spMkLst>
            <pc:docMk/>
            <pc:sldMk cId="1523218829" sldId="2076136699"/>
            <ac:spMk id="5" creationId="{87912370-6C74-4FCD-AE59-9343073F6BA3}"/>
          </ac:spMkLst>
        </pc:spChg>
        <pc:spChg chg="add mod">
          <ac:chgData name="Renata Festa" userId="6f22df47-533b-4c2a-a3c1-7f9ad1d63e10" providerId="ADAL" clId="{7D997690-04A4-4675-83D7-2E1CC2ED1A4E}" dt="2020-03-24T17:28:16.466" v="2330" actId="13822"/>
          <ac:spMkLst>
            <pc:docMk/>
            <pc:sldMk cId="1523218829" sldId="2076136699"/>
            <ac:spMk id="18" creationId="{ABFBCB1C-24E8-461C-9C76-AAAE9252F227}"/>
          </ac:spMkLst>
        </pc:spChg>
        <pc:spChg chg="add mod">
          <ac:chgData name="Renata Festa" userId="6f22df47-533b-4c2a-a3c1-7f9ad1d63e10" providerId="ADAL" clId="{7D997690-04A4-4675-83D7-2E1CC2ED1A4E}" dt="2020-03-24T17:28:16.466" v="2330" actId="13822"/>
          <ac:spMkLst>
            <pc:docMk/>
            <pc:sldMk cId="1523218829" sldId="2076136699"/>
            <ac:spMk id="19" creationId="{B9C454EF-EDDC-42CF-8599-8EF057E95240}"/>
          </ac:spMkLst>
        </pc:spChg>
        <pc:spChg chg="add mod">
          <ac:chgData name="Renata Festa" userId="6f22df47-533b-4c2a-a3c1-7f9ad1d63e10" providerId="ADAL" clId="{7D997690-04A4-4675-83D7-2E1CC2ED1A4E}" dt="2020-03-24T17:28:16.466" v="2330" actId="13822"/>
          <ac:spMkLst>
            <pc:docMk/>
            <pc:sldMk cId="1523218829" sldId="2076136699"/>
            <ac:spMk id="20" creationId="{4E2AF095-C728-4497-AE96-F44E20FEE2C8}"/>
          </ac:spMkLst>
        </pc:spChg>
        <pc:spChg chg="add mod">
          <ac:chgData name="Renata Festa" userId="6f22df47-533b-4c2a-a3c1-7f9ad1d63e10" providerId="ADAL" clId="{7D997690-04A4-4675-83D7-2E1CC2ED1A4E}" dt="2020-03-24T17:28:16.466" v="2330" actId="13822"/>
          <ac:spMkLst>
            <pc:docMk/>
            <pc:sldMk cId="1523218829" sldId="2076136699"/>
            <ac:spMk id="28" creationId="{F0CDBA05-BB27-4924-AA83-331CE6E37601}"/>
          </ac:spMkLst>
        </pc:spChg>
        <pc:spChg chg="add mod">
          <ac:chgData name="Renata Festa" userId="6f22df47-533b-4c2a-a3c1-7f9ad1d63e10" providerId="ADAL" clId="{7D997690-04A4-4675-83D7-2E1CC2ED1A4E}" dt="2020-03-24T17:28:16.466" v="2330" actId="13822"/>
          <ac:spMkLst>
            <pc:docMk/>
            <pc:sldMk cId="1523218829" sldId="2076136699"/>
            <ac:spMk id="29" creationId="{1CC393B7-E880-47AD-BFE8-A1BE4AAEA736}"/>
          </ac:spMkLst>
        </pc:spChg>
        <pc:spChg chg="add mod">
          <ac:chgData name="Renata Festa" userId="6f22df47-533b-4c2a-a3c1-7f9ad1d63e10" providerId="ADAL" clId="{7D997690-04A4-4675-83D7-2E1CC2ED1A4E}" dt="2020-03-24T17:28:16.466" v="2330" actId="13822"/>
          <ac:spMkLst>
            <pc:docMk/>
            <pc:sldMk cId="1523218829" sldId="2076136699"/>
            <ac:spMk id="31" creationId="{39A19690-73C7-4E93-A2A5-F111AD6F59D2}"/>
          </ac:spMkLst>
        </pc:spChg>
        <pc:spChg chg="add mod">
          <ac:chgData name="Renata Festa" userId="6f22df47-533b-4c2a-a3c1-7f9ad1d63e10" providerId="ADAL" clId="{7D997690-04A4-4675-83D7-2E1CC2ED1A4E}" dt="2020-03-24T17:28:16.466" v="2330" actId="13822"/>
          <ac:spMkLst>
            <pc:docMk/>
            <pc:sldMk cId="1523218829" sldId="2076136699"/>
            <ac:spMk id="32" creationId="{E5AB01EF-3997-4380-8792-5224830DEDB8}"/>
          </ac:spMkLst>
        </pc:spChg>
        <pc:spChg chg="add mod">
          <ac:chgData name="Renata Festa" userId="6f22df47-533b-4c2a-a3c1-7f9ad1d63e10" providerId="ADAL" clId="{7D997690-04A4-4675-83D7-2E1CC2ED1A4E}" dt="2020-03-24T17:28:16.466" v="2330" actId="13822"/>
          <ac:spMkLst>
            <pc:docMk/>
            <pc:sldMk cId="1523218829" sldId="2076136699"/>
            <ac:spMk id="33" creationId="{358CBBE6-960B-4B76-B2A2-DAF59061C14D}"/>
          </ac:spMkLst>
        </pc:spChg>
        <pc:spChg chg="add mod">
          <ac:chgData name="Renata Festa" userId="6f22df47-533b-4c2a-a3c1-7f9ad1d63e10" providerId="ADAL" clId="{7D997690-04A4-4675-83D7-2E1CC2ED1A4E}" dt="2020-03-24T17:28:16.466" v="2330" actId="13822"/>
          <ac:spMkLst>
            <pc:docMk/>
            <pc:sldMk cId="1523218829" sldId="2076136699"/>
            <ac:spMk id="34" creationId="{C9BFDBCE-AA85-42E1-A73D-83711627DC37}"/>
          </ac:spMkLst>
        </pc:spChg>
        <pc:grpChg chg="add mod">
          <ac:chgData name="Renata Festa" userId="6f22df47-533b-4c2a-a3c1-7f9ad1d63e10" providerId="ADAL" clId="{7D997690-04A4-4675-83D7-2E1CC2ED1A4E}" dt="2020-03-24T17:28:16.466" v="2330" actId="13822"/>
          <ac:grpSpMkLst>
            <pc:docMk/>
            <pc:sldMk cId="1523218829" sldId="2076136699"/>
            <ac:grpSpMk id="7" creationId="{CA5B0FC3-7BB0-44BE-AB9F-90E84F630830}"/>
          </ac:grpSpMkLst>
        </pc:grpChg>
        <pc:grpChg chg="add mod">
          <ac:chgData name="Renata Festa" userId="6f22df47-533b-4c2a-a3c1-7f9ad1d63e10" providerId="ADAL" clId="{7D997690-04A4-4675-83D7-2E1CC2ED1A4E}" dt="2020-03-24T17:28:16.466" v="2330" actId="13822"/>
          <ac:grpSpMkLst>
            <pc:docMk/>
            <pc:sldMk cId="1523218829" sldId="2076136699"/>
            <ac:grpSpMk id="10" creationId="{2D4A47E8-C9A1-4A52-9388-DDB1B7FFCF9A}"/>
          </ac:grpSpMkLst>
        </pc:grpChg>
        <pc:grpChg chg="add mod">
          <ac:chgData name="Renata Festa" userId="6f22df47-533b-4c2a-a3c1-7f9ad1d63e10" providerId="ADAL" clId="{7D997690-04A4-4675-83D7-2E1CC2ED1A4E}" dt="2020-03-24T17:28:16.466" v="2330" actId="13822"/>
          <ac:grpSpMkLst>
            <pc:docMk/>
            <pc:sldMk cId="1523218829" sldId="2076136699"/>
            <ac:grpSpMk id="13" creationId="{29BD36A1-7C84-46E8-B856-04835D8730D5}"/>
          </ac:grpSpMkLst>
        </pc:grpChg>
        <pc:grpChg chg="mod">
          <ac:chgData name="Renata Festa" userId="6f22df47-533b-4c2a-a3c1-7f9ad1d63e10" providerId="ADAL" clId="{7D997690-04A4-4675-83D7-2E1CC2ED1A4E}" dt="2020-03-24T17:28:12.599" v="2329" actId="1036"/>
          <ac:grpSpMkLst>
            <pc:docMk/>
            <pc:sldMk cId="1523218829" sldId="2076136699"/>
            <ac:grpSpMk id="15" creationId="{B2DE1592-4314-4627-BD61-9D7D0E10BC99}"/>
          </ac:grpSpMkLst>
        </pc:grpChg>
        <pc:grpChg chg="add mod">
          <ac:chgData name="Renata Festa" userId="6f22df47-533b-4c2a-a3c1-7f9ad1d63e10" providerId="ADAL" clId="{7D997690-04A4-4675-83D7-2E1CC2ED1A4E}" dt="2020-03-24T17:28:16.466" v="2330" actId="13822"/>
          <ac:grpSpMkLst>
            <pc:docMk/>
            <pc:sldMk cId="1523218829" sldId="2076136699"/>
            <ac:grpSpMk id="21" creationId="{E75B4223-FE60-41BB-AFD2-1684DF4A63A9}"/>
          </ac:grpSpMkLst>
        </pc:grpChg>
        <pc:grpChg chg="mod">
          <ac:chgData name="Renata Festa" userId="6f22df47-533b-4c2a-a3c1-7f9ad1d63e10" providerId="ADAL" clId="{7D997690-04A4-4675-83D7-2E1CC2ED1A4E}" dt="2020-03-24T17:28:12.599" v="2329" actId="1036"/>
          <ac:grpSpMkLst>
            <pc:docMk/>
            <pc:sldMk cId="1523218829" sldId="2076136699"/>
            <ac:grpSpMk id="22" creationId="{DEA51353-C947-4605-932C-440872E1AEA1}"/>
          </ac:grpSpMkLst>
        </pc:grpChg>
        <pc:graphicFrameChg chg="add mod">
          <ac:chgData name="Renata Festa" userId="6f22df47-533b-4c2a-a3c1-7f9ad1d63e10" providerId="ADAL" clId="{7D997690-04A4-4675-83D7-2E1CC2ED1A4E}" dt="2020-03-24T17:28:45.755" v="2331" actId="12084"/>
          <ac:graphicFrameMkLst>
            <pc:docMk/>
            <pc:sldMk cId="1523218829" sldId="2076136699"/>
            <ac:graphicFrameMk id="35" creationId="{D0B76E88-7116-4F9D-BCE3-FD82DC90077B}"/>
          </ac:graphicFrameMkLst>
        </pc:graphicFrameChg>
        <pc:cxnChg chg="add mod">
          <ac:chgData name="Renata Festa" userId="6f22df47-533b-4c2a-a3c1-7f9ad1d63e10" providerId="ADAL" clId="{7D997690-04A4-4675-83D7-2E1CC2ED1A4E}" dt="2020-03-24T17:28:16.466" v="2330" actId="13822"/>
          <ac:cxnSpMkLst>
            <pc:docMk/>
            <pc:sldMk cId="1523218829" sldId="2076136699"/>
            <ac:cxnSpMk id="6" creationId="{C772B550-D335-4F40-A867-ACE71A85A73A}"/>
          </ac:cxnSpMkLst>
        </pc:cxnChg>
        <pc:cxnChg chg="add mod">
          <ac:chgData name="Renata Festa" userId="6f22df47-533b-4c2a-a3c1-7f9ad1d63e10" providerId="ADAL" clId="{7D997690-04A4-4675-83D7-2E1CC2ED1A4E}" dt="2020-03-24T17:28:16.466" v="2330" actId="13822"/>
          <ac:cxnSpMkLst>
            <pc:docMk/>
            <pc:sldMk cId="1523218829" sldId="2076136699"/>
            <ac:cxnSpMk id="30" creationId="{72D386E2-4ADC-459A-8420-EB56BA37E37D}"/>
          </ac:cxnSpMkLst>
        </pc:cxnChg>
      </pc:sldChg>
      <pc:sldChg chg="add del">
        <pc:chgData name="Renata Festa" userId="6f22df47-533b-4c2a-a3c1-7f9ad1d63e10" providerId="ADAL" clId="{7D997690-04A4-4675-83D7-2E1CC2ED1A4E}" dt="2020-03-24T17:29:19.545" v="2339" actId="47"/>
        <pc:sldMkLst>
          <pc:docMk/>
          <pc:sldMk cId="956850771" sldId="2076136700"/>
        </pc:sldMkLst>
      </pc:sldChg>
      <pc:sldChg chg="addSp delSp modSp add">
        <pc:chgData name="Renata Festa" userId="6f22df47-533b-4c2a-a3c1-7f9ad1d63e10" providerId="ADAL" clId="{7D997690-04A4-4675-83D7-2E1CC2ED1A4E}" dt="2020-03-24T17:30:44.798" v="2356" actId="12100"/>
        <pc:sldMkLst>
          <pc:docMk/>
          <pc:sldMk cId="1359590065" sldId="2076136700"/>
        </pc:sldMkLst>
        <pc:spChg chg="mod">
          <ac:chgData name="Renata Festa" userId="6f22df47-533b-4c2a-a3c1-7f9ad1d63e10" providerId="ADAL" clId="{7D997690-04A4-4675-83D7-2E1CC2ED1A4E}" dt="2020-03-24T17:30:04.156" v="2347"/>
          <ac:spMkLst>
            <pc:docMk/>
            <pc:sldMk cId="1359590065" sldId="2076136700"/>
            <ac:spMk id="2" creationId="{67F506ED-07D9-4CE8-BB92-B6B761FF2656}"/>
          </ac:spMkLst>
        </pc:spChg>
        <pc:spChg chg="add del mod">
          <ac:chgData name="Renata Festa" userId="6f22df47-533b-4c2a-a3c1-7f9ad1d63e10" providerId="ADAL" clId="{7D997690-04A4-4675-83D7-2E1CC2ED1A4E}" dt="2020-03-24T17:30:31.690" v="2355" actId="12084"/>
          <ac:spMkLst>
            <pc:docMk/>
            <pc:sldMk cId="1359590065" sldId="2076136700"/>
            <ac:spMk id="3" creationId="{109BF1FC-6627-4EE9-AE60-9104B7870A3F}"/>
          </ac:spMkLst>
        </pc:spChg>
        <pc:graphicFrameChg chg="add mod">
          <ac:chgData name="Renata Festa" userId="6f22df47-533b-4c2a-a3c1-7f9ad1d63e10" providerId="ADAL" clId="{7D997690-04A4-4675-83D7-2E1CC2ED1A4E}" dt="2020-03-24T17:30:44.798" v="2356" actId="12100"/>
          <ac:graphicFrameMkLst>
            <pc:docMk/>
            <pc:sldMk cId="1359590065" sldId="2076136700"/>
            <ac:graphicFrameMk id="5" creationId="{9160CB12-1FA7-4DC0-84DC-78AA49CF4904}"/>
          </ac:graphicFrameMkLst>
        </pc:graphicFrameChg>
        <pc:picChg chg="add del mod">
          <ac:chgData name="Renata Festa" userId="6f22df47-533b-4c2a-a3c1-7f9ad1d63e10" providerId="ADAL" clId="{7D997690-04A4-4675-83D7-2E1CC2ED1A4E}" dt="2020-03-24T17:30:11.265" v="2350"/>
          <ac:picMkLst>
            <pc:docMk/>
            <pc:sldMk cId="1359590065" sldId="2076136700"/>
            <ac:picMk id="4" creationId="{1853699F-F632-4BA3-BAFE-46F302CD5760}"/>
          </ac:picMkLst>
        </pc:picChg>
      </pc:sldChg>
      <pc:sldChg chg="add del">
        <pc:chgData name="Renata Festa" userId="6f22df47-533b-4c2a-a3c1-7f9ad1d63e10" providerId="ADAL" clId="{7D997690-04A4-4675-83D7-2E1CC2ED1A4E}" dt="2020-03-24T17:29:20.060" v="2340" actId="47"/>
        <pc:sldMkLst>
          <pc:docMk/>
          <pc:sldMk cId="1365728107" sldId="2076136701"/>
        </pc:sldMkLst>
      </pc:sldChg>
      <pc:sldChg chg="add del">
        <pc:chgData name="Renata Festa" userId="6f22df47-533b-4c2a-a3c1-7f9ad1d63e10" providerId="ADAL" clId="{7D997690-04A4-4675-83D7-2E1CC2ED1A4E}" dt="2020-03-24T17:29:20.480" v="2341" actId="47"/>
        <pc:sldMkLst>
          <pc:docMk/>
          <pc:sldMk cId="3735082904" sldId="2076136702"/>
        </pc:sldMkLst>
      </pc:sldChg>
      <pc:sldMasterChg chg="delSldLayout">
        <pc:chgData name="Renata Festa" userId="6f22df47-533b-4c2a-a3c1-7f9ad1d63e10" providerId="ADAL" clId="{7D997690-04A4-4675-83D7-2E1CC2ED1A4E}" dt="2020-03-24T12:57:38.212" v="1331" actId="47"/>
        <pc:sldMasterMkLst>
          <pc:docMk/>
          <pc:sldMasterMk cId="1044402230" sldId="2147483706"/>
        </pc:sldMasterMkLst>
        <pc:sldLayoutChg chg="del">
          <pc:chgData name="Renata Festa" userId="6f22df47-533b-4c2a-a3c1-7f9ad1d63e10" providerId="ADAL" clId="{7D997690-04A4-4675-83D7-2E1CC2ED1A4E}" dt="2020-03-24T12:57:38.212" v="1331" actId="47"/>
          <pc:sldLayoutMkLst>
            <pc:docMk/>
            <pc:sldMasterMk cId="1044402230" sldId="2147483706"/>
            <pc:sldLayoutMk cId="1561926091" sldId="2147483755"/>
          </pc:sldLayoutMkLst>
        </pc:sldLayoutChg>
      </pc:sldMasterChg>
    </pc:docChg>
  </pc:docChgLst>
  <pc:docChgLst>
    <pc:chgData name="Batuhan Yildiz" userId="90f344fc-4655-4923-aeaf-697bba59c1a7" providerId="ADAL" clId="{132605CE-A84A-4A0D-8C6E-834F931F728F}"/>
    <pc:docChg chg="undo custSel modSld">
      <pc:chgData name="Batuhan Yildiz" userId="90f344fc-4655-4923-aeaf-697bba59c1a7" providerId="ADAL" clId="{132605CE-A84A-4A0D-8C6E-834F931F728F}" dt="2020-03-30T19:28:46.147" v="467" actId="1592"/>
      <pc:docMkLst>
        <pc:docMk/>
      </pc:docMkLst>
      <pc:sldChg chg="delCm">
        <pc:chgData name="Batuhan Yildiz" userId="90f344fc-4655-4923-aeaf-697bba59c1a7" providerId="ADAL" clId="{132605CE-A84A-4A0D-8C6E-834F931F728F}" dt="2020-03-30T18:06:43.325" v="0" actId="1592"/>
        <pc:sldMkLst>
          <pc:docMk/>
          <pc:sldMk cId="641676752" sldId="589"/>
        </pc:sldMkLst>
      </pc:sldChg>
      <pc:sldChg chg="modSp mod">
        <pc:chgData name="Batuhan Yildiz" userId="90f344fc-4655-4923-aeaf-697bba59c1a7" providerId="ADAL" clId="{132605CE-A84A-4A0D-8C6E-834F931F728F}" dt="2020-03-30T18:10:44.655" v="5" actId="1037"/>
        <pc:sldMkLst>
          <pc:docMk/>
          <pc:sldMk cId="3820441088" sldId="595"/>
        </pc:sldMkLst>
        <pc:spChg chg="mod">
          <ac:chgData name="Batuhan Yildiz" userId="90f344fc-4655-4923-aeaf-697bba59c1a7" providerId="ADAL" clId="{132605CE-A84A-4A0D-8C6E-834F931F728F}" dt="2020-03-30T18:10:35.240" v="2" actId="1076"/>
          <ac:spMkLst>
            <pc:docMk/>
            <pc:sldMk cId="3820441088" sldId="595"/>
            <ac:spMk id="28" creationId="{6DA82C20-8928-4A92-8991-2BD3530C0EDF}"/>
          </ac:spMkLst>
        </pc:spChg>
        <pc:spChg chg="mod">
          <ac:chgData name="Batuhan Yildiz" userId="90f344fc-4655-4923-aeaf-697bba59c1a7" providerId="ADAL" clId="{132605CE-A84A-4A0D-8C6E-834F931F728F}" dt="2020-03-30T18:10:44.655" v="5" actId="1037"/>
          <ac:spMkLst>
            <pc:docMk/>
            <pc:sldMk cId="3820441088" sldId="595"/>
            <ac:spMk id="30" creationId="{091B2941-F117-4259-AA0D-D8CE2E930DC4}"/>
          </ac:spMkLst>
        </pc:spChg>
        <pc:spChg chg="mod">
          <ac:chgData name="Batuhan Yildiz" userId="90f344fc-4655-4923-aeaf-697bba59c1a7" providerId="ADAL" clId="{132605CE-A84A-4A0D-8C6E-834F931F728F}" dt="2020-03-30T18:10:44.655" v="5" actId="1037"/>
          <ac:spMkLst>
            <pc:docMk/>
            <pc:sldMk cId="3820441088" sldId="595"/>
            <ac:spMk id="31" creationId="{869AE1E2-B68E-4F14-8F77-6640998DED71}"/>
          </ac:spMkLst>
        </pc:spChg>
      </pc:sldChg>
      <pc:sldChg chg="mod modShow">
        <pc:chgData name="Batuhan Yildiz" userId="90f344fc-4655-4923-aeaf-697bba59c1a7" providerId="ADAL" clId="{132605CE-A84A-4A0D-8C6E-834F931F728F}" dt="2020-03-30T18:45:02.501" v="7" actId="729"/>
        <pc:sldMkLst>
          <pc:docMk/>
          <pc:sldMk cId="2369490167" sldId="600"/>
        </pc:sldMkLst>
      </pc:sldChg>
      <pc:sldChg chg="modAnim delCm">
        <pc:chgData name="Batuhan Yildiz" userId="90f344fc-4655-4923-aeaf-697bba59c1a7" providerId="ADAL" clId="{132605CE-A84A-4A0D-8C6E-834F931F728F}" dt="2020-03-30T19:27:46.380" v="466"/>
        <pc:sldMkLst>
          <pc:docMk/>
          <pc:sldMk cId="1398347698" sldId="602"/>
        </pc:sldMkLst>
      </pc:sldChg>
      <pc:sldChg chg="addSp delSp modSp mod">
        <pc:chgData name="Batuhan Yildiz" userId="90f344fc-4655-4923-aeaf-697bba59c1a7" providerId="ADAL" clId="{132605CE-A84A-4A0D-8C6E-834F931F728F}" dt="2020-03-30T19:14:25.141" v="246" actId="947"/>
        <pc:sldMkLst>
          <pc:docMk/>
          <pc:sldMk cId="1015519254" sldId="2076136640"/>
        </pc:sldMkLst>
        <pc:spChg chg="add del mod">
          <ac:chgData name="Batuhan Yildiz" userId="90f344fc-4655-4923-aeaf-697bba59c1a7" providerId="ADAL" clId="{132605CE-A84A-4A0D-8C6E-834F931F728F}" dt="2020-03-30T19:12:39.461" v="111"/>
          <ac:spMkLst>
            <pc:docMk/>
            <pc:sldMk cId="1015519254" sldId="2076136640"/>
            <ac:spMk id="4" creationId="{EFEE4A3E-D367-4D9C-840B-F3E605214315}"/>
          </ac:spMkLst>
        </pc:spChg>
        <pc:spChg chg="mod">
          <ac:chgData name="Batuhan Yildiz" userId="90f344fc-4655-4923-aeaf-697bba59c1a7" providerId="ADAL" clId="{132605CE-A84A-4A0D-8C6E-834F931F728F}" dt="2020-03-30T19:14:17.945" v="214" actId="1038"/>
          <ac:spMkLst>
            <pc:docMk/>
            <pc:sldMk cId="1015519254" sldId="2076136640"/>
            <ac:spMk id="10" creationId="{0380E9C7-5CE5-4819-92D1-4AC17221379C}"/>
          </ac:spMkLst>
        </pc:spChg>
        <pc:spChg chg="mod">
          <ac:chgData name="Batuhan Yildiz" userId="90f344fc-4655-4923-aeaf-697bba59c1a7" providerId="ADAL" clId="{132605CE-A84A-4A0D-8C6E-834F931F728F}" dt="2020-03-30T19:14:17.945" v="214" actId="1038"/>
          <ac:spMkLst>
            <pc:docMk/>
            <pc:sldMk cId="1015519254" sldId="2076136640"/>
            <ac:spMk id="11" creationId="{DC8A9DD2-E5FA-4467-8DD2-6474AAD1F77C}"/>
          </ac:spMkLst>
        </pc:spChg>
        <pc:spChg chg="mod">
          <ac:chgData name="Batuhan Yildiz" userId="90f344fc-4655-4923-aeaf-697bba59c1a7" providerId="ADAL" clId="{132605CE-A84A-4A0D-8C6E-834F931F728F}" dt="2020-03-30T19:14:17.945" v="214" actId="1038"/>
          <ac:spMkLst>
            <pc:docMk/>
            <pc:sldMk cId="1015519254" sldId="2076136640"/>
            <ac:spMk id="12" creationId="{B3206252-431B-453D-9991-4631A172520A}"/>
          </ac:spMkLst>
        </pc:spChg>
        <pc:spChg chg="mod">
          <ac:chgData name="Batuhan Yildiz" userId="90f344fc-4655-4923-aeaf-697bba59c1a7" providerId="ADAL" clId="{132605CE-A84A-4A0D-8C6E-834F931F728F}" dt="2020-03-30T19:14:17.945" v="214" actId="1038"/>
          <ac:spMkLst>
            <pc:docMk/>
            <pc:sldMk cId="1015519254" sldId="2076136640"/>
            <ac:spMk id="13" creationId="{FAEA30B0-BC74-43E8-9540-FD3C6FBAEE6B}"/>
          </ac:spMkLst>
        </pc:spChg>
        <pc:spChg chg="mod">
          <ac:chgData name="Batuhan Yildiz" userId="90f344fc-4655-4923-aeaf-697bba59c1a7" providerId="ADAL" clId="{132605CE-A84A-4A0D-8C6E-834F931F728F}" dt="2020-03-30T19:14:17.945" v="214" actId="1038"/>
          <ac:spMkLst>
            <pc:docMk/>
            <pc:sldMk cId="1015519254" sldId="2076136640"/>
            <ac:spMk id="16" creationId="{F1947A04-C1F6-43AC-9273-2090A9A2624C}"/>
          </ac:spMkLst>
        </pc:spChg>
        <pc:spChg chg="mod">
          <ac:chgData name="Batuhan Yildiz" userId="90f344fc-4655-4923-aeaf-697bba59c1a7" providerId="ADAL" clId="{132605CE-A84A-4A0D-8C6E-834F931F728F}" dt="2020-03-30T19:14:17.945" v="214" actId="1038"/>
          <ac:spMkLst>
            <pc:docMk/>
            <pc:sldMk cId="1015519254" sldId="2076136640"/>
            <ac:spMk id="81" creationId="{6B1B062D-6075-4C53-9FAF-443E1BAD5E6E}"/>
          </ac:spMkLst>
        </pc:spChg>
        <pc:spChg chg="mod">
          <ac:chgData name="Batuhan Yildiz" userId="90f344fc-4655-4923-aeaf-697bba59c1a7" providerId="ADAL" clId="{132605CE-A84A-4A0D-8C6E-834F931F728F}" dt="2020-03-30T19:14:17.945" v="214" actId="1038"/>
          <ac:spMkLst>
            <pc:docMk/>
            <pc:sldMk cId="1015519254" sldId="2076136640"/>
            <ac:spMk id="82" creationId="{FD0EB85E-A118-46A0-AD1B-48B898A96C8D}"/>
          </ac:spMkLst>
        </pc:spChg>
        <pc:spChg chg="mod">
          <ac:chgData name="Batuhan Yildiz" userId="90f344fc-4655-4923-aeaf-697bba59c1a7" providerId="ADAL" clId="{132605CE-A84A-4A0D-8C6E-834F931F728F}" dt="2020-03-30T19:14:17.945" v="214" actId="1038"/>
          <ac:spMkLst>
            <pc:docMk/>
            <pc:sldMk cId="1015519254" sldId="2076136640"/>
            <ac:spMk id="83" creationId="{F1B68ECC-ABB5-41A2-9B62-A7D689628577}"/>
          </ac:spMkLst>
        </pc:spChg>
        <pc:spChg chg="mod">
          <ac:chgData name="Batuhan Yildiz" userId="90f344fc-4655-4923-aeaf-697bba59c1a7" providerId="ADAL" clId="{132605CE-A84A-4A0D-8C6E-834F931F728F}" dt="2020-03-30T19:14:17.945" v="214" actId="1038"/>
          <ac:spMkLst>
            <pc:docMk/>
            <pc:sldMk cId="1015519254" sldId="2076136640"/>
            <ac:spMk id="84" creationId="{79760D8B-72F7-4C5C-8215-72F93D3D38C2}"/>
          </ac:spMkLst>
        </pc:spChg>
        <pc:spChg chg="mod">
          <ac:chgData name="Batuhan Yildiz" userId="90f344fc-4655-4923-aeaf-697bba59c1a7" providerId="ADAL" clId="{132605CE-A84A-4A0D-8C6E-834F931F728F}" dt="2020-03-30T19:14:17.945" v="214" actId="1038"/>
          <ac:spMkLst>
            <pc:docMk/>
            <pc:sldMk cId="1015519254" sldId="2076136640"/>
            <ac:spMk id="85" creationId="{FE7B9824-7D21-4B6B-9E93-7DA22B9EAAFC}"/>
          </ac:spMkLst>
        </pc:spChg>
        <pc:grpChg chg="mod">
          <ac:chgData name="Batuhan Yildiz" userId="90f344fc-4655-4923-aeaf-697bba59c1a7" providerId="ADAL" clId="{132605CE-A84A-4A0D-8C6E-834F931F728F}" dt="2020-03-30T19:14:17.945" v="214" actId="1038"/>
          <ac:grpSpMkLst>
            <pc:docMk/>
            <pc:sldMk cId="1015519254" sldId="2076136640"/>
            <ac:grpSpMk id="17" creationId="{9B3C532A-27A1-47BC-97A3-2F42EA094F8C}"/>
          </ac:grpSpMkLst>
        </pc:grpChg>
        <pc:grpChg chg="mod">
          <ac:chgData name="Batuhan Yildiz" userId="90f344fc-4655-4923-aeaf-697bba59c1a7" providerId="ADAL" clId="{132605CE-A84A-4A0D-8C6E-834F931F728F}" dt="2020-03-30T19:14:17.945" v="214" actId="1038"/>
          <ac:grpSpMkLst>
            <pc:docMk/>
            <pc:sldMk cId="1015519254" sldId="2076136640"/>
            <ac:grpSpMk id="33" creationId="{71F58C6E-B40C-423B-82A2-6833DFD6F55E}"/>
          </ac:grpSpMkLst>
        </pc:grpChg>
        <pc:grpChg chg="mod">
          <ac:chgData name="Batuhan Yildiz" userId="90f344fc-4655-4923-aeaf-697bba59c1a7" providerId="ADAL" clId="{132605CE-A84A-4A0D-8C6E-834F931F728F}" dt="2020-03-30T19:14:17.945" v="214" actId="1038"/>
          <ac:grpSpMkLst>
            <pc:docMk/>
            <pc:sldMk cId="1015519254" sldId="2076136640"/>
            <ac:grpSpMk id="49" creationId="{29714D62-13B6-4299-865E-3DF4067B2FBC}"/>
          </ac:grpSpMkLst>
        </pc:grpChg>
        <pc:grpChg chg="mod">
          <ac:chgData name="Batuhan Yildiz" userId="90f344fc-4655-4923-aeaf-697bba59c1a7" providerId="ADAL" clId="{132605CE-A84A-4A0D-8C6E-834F931F728F}" dt="2020-03-30T19:14:17.945" v="214" actId="1038"/>
          <ac:grpSpMkLst>
            <pc:docMk/>
            <pc:sldMk cId="1015519254" sldId="2076136640"/>
            <ac:grpSpMk id="65" creationId="{81D64A12-2FF9-4753-99C4-0697BC47A03B}"/>
          </ac:grpSpMkLst>
        </pc:grpChg>
        <pc:graphicFrameChg chg="add del mod modGraphic">
          <ac:chgData name="Batuhan Yildiz" userId="90f344fc-4655-4923-aeaf-697bba59c1a7" providerId="ADAL" clId="{132605CE-A84A-4A0D-8C6E-834F931F728F}" dt="2020-03-30T19:12:38.744" v="62"/>
          <ac:graphicFrameMkLst>
            <pc:docMk/>
            <pc:sldMk cId="1015519254" sldId="2076136640"/>
            <ac:graphicFrameMk id="86" creationId="{78166239-681D-4CF4-9F24-9B0EA8705D39}"/>
          </ac:graphicFrameMkLst>
        </pc:graphicFrameChg>
        <pc:graphicFrameChg chg="add del mod modGraphic">
          <ac:chgData name="Batuhan Yildiz" userId="90f344fc-4655-4923-aeaf-697bba59c1a7" providerId="ADAL" clId="{132605CE-A84A-4A0D-8C6E-834F931F728F}" dt="2020-03-30T19:12:39.470" v="113"/>
          <ac:graphicFrameMkLst>
            <pc:docMk/>
            <pc:sldMk cId="1015519254" sldId="2076136640"/>
            <ac:graphicFrameMk id="87" creationId="{0639FD9E-2E91-430A-9189-61209E17A905}"/>
          </ac:graphicFrameMkLst>
        </pc:graphicFrameChg>
        <pc:graphicFrameChg chg="add modGraphic">
          <ac:chgData name="Batuhan Yildiz" userId="90f344fc-4655-4923-aeaf-697bba59c1a7" providerId="ADAL" clId="{132605CE-A84A-4A0D-8C6E-834F931F728F}" dt="2020-03-30T19:14:25.141" v="246" actId="947"/>
          <ac:graphicFrameMkLst>
            <pc:docMk/>
            <pc:sldMk cId="1015519254" sldId="2076136640"/>
            <ac:graphicFrameMk id="88" creationId="{1E171113-4CE7-4446-9837-BEF13C3A70ED}"/>
          </ac:graphicFrameMkLst>
        </pc:graphicFrameChg>
        <pc:graphicFrameChg chg="del">
          <ac:chgData name="Batuhan Yildiz" userId="90f344fc-4655-4923-aeaf-697bba59c1a7" providerId="ADAL" clId="{132605CE-A84A-4A0D-8C6E-834F931F728F}" dt="2020-03-30T19:12:39.414" v="110"/>
          <ac:graphicFrameMkLst>
            <pc:docMk/>
            <pc:sldMk cId="1015519254" sldId="2076136640"/>
            <ac:graphicFrameMk id="92" creationId="{81F30FB2-0620-4461-9753-54435887FC54}"/>
          </ac:graphicFrameMkLst>
        </pc:graphicFrameChg>
        <pc:cxnChg chg="mod">
          <ac:chgData name="Batuhan Yildiz" userId="90f344fc-4655-4923-aeaf-697bba59c1a7" providerId="ADAL" clId="{132605CE-A84A-4A0D-8C6E-834F931F728F}" dt="2020-03-30T19:14:17.945" v="214" actId="1038"/>
          <ac:cxnSpMkLst>
            <pc:docMk/>
            <pc:sldMk cId="1015519254" sldId="2076136640"/>
            <ac:cxnSpMk id="14" creationId="{4F8E2269-EAD6-4134-88F0-E9850E22354B}"/>
          </ac:cxnSpMkLst>
        </pc:cxnChg>
        <pc:cxnChg chg="mod">
          <ac:chgData name="Batuhan Yildiz" userId="90f344fc-4655-4923-aeaf-697bba59c1a7" providerId="ADAL" clId="{132605CE-A84A-4A0D-8C6E-834F931F728F}" dt="2020-03-30T19:14:17.945" v="214" actId="1038"/>
          <ac:cxnSpMkLst>
            <pc:docMk/>
            <pc:sldMk cId="1015519254" sldId="2076136640"/>
            <ac:cxnSpMk id="15" creationId="{1BD164A7-0A3C-4724-AACD-E360B53BA7D0}"/>
          </ac:cxnSpMkLst>
        </pc:cxnChg>
      </pc:sldChg>
      <pc:sldChg chg="addSp delSp modSp mod">
        <pc:chgData name="Batuhan Yildiz" userId="90f344fc-4655-4923-aeaf-697bba59c1a7" providerId="ADAL" clId="{132605CE-A84A-4A0D-8C6E-834F931F728F}" dt="2020-03-30T19:23:46.241" v="463" actId="1076"/>
        <pc:sldMkLst>
          <pc:docMk/>
          <pc:sldMk cId="3643083574" sldId="2076136643"/>
        </pc:sldMkLst>
        <pc:spChg chg="add del mod">
          <ac:chgData name="Batuhan Yildiz" userId="90f344fc-4655-4923-aeaf-697bba59c1a7" providerId="ADAL" clId="{132605CE-A84A-4A0D-8C6E-834F931F728F}" dt="2020-03-30T19:23:19.994" v="426"/>
          <ac:spMkLst>
            <pc:docMk/>
            <pc:sldMk cId="3643083574" sldId="2076136643"/>
            <ac:spMk id="4" creationId="{2C24F2B6-CB71-408B-A459-C5542053EC86}"/>
          </ac:spMkLst>
        </pc:spChg>
        <pc:spChg chg="mod">
          <ac:chgData name="Batuhan Yildiz" userId="90f344fc-4655-4923-aeaf-697bba59c1a7" providerId="ADAL" clId="{132605CE-A84A-4A0D-8C6E-834F931F728F}" dt="2020-03-30T19:23:46.241" v="463" actId="1076"/>
          <ac:spMkLst>
            <pc:docMk/>
            <pc:sldMk cId="3643083574" sldId="2076136643"/>
            <ac:spMk id="9" creationId="{6D1B8ADA-5958-474C-B325-659FA8A302EA}"/>
          </ac:spMkLst>
        </pc:spChg>
        <pc:spChg chg="mod">
          <ac:chgData name="Batuhan Yildiz" userId="90f344fc-4655-4923-aeaf-697bba59c1a7" providerId="ADAL" clId="{132605CE-A84A-4A0D-8C6E-834F931F728F}" dt="2020-03-30T19:23:46.241" v="463" actId="1076"/>
          <ac:spMkLst>
            <pc:docMk/>
            <pc:sldMk cId="3643083574" sldId="2076136643"/>
            <ac:spMk id="10" creationId="{BD88A543-EF86-45E0-A19F-7D3E0BDC4C23}"/>
          </ac:spMkLst>
        </pc:spChg>
        <pc:spChg chg="mod">
          <ac:chgData name="Batuhan Yildiz" userId="90f344fc-4655-4923-aeaf-697bba59c1a7" providerId="ADAL" clId="{132605CE-A84A-4A0D-8C6E-834F931F728F}" dt="2020-03-30T19:23:46.241" v="463" actId="1076"/>
          <ac:spMkLst>
            <pc:docMk/>
            <pc:sldMk cId="3643083574" sldId="2076136643"/>
            <ac:spMk id="11" creationId="{B10B7D3A-2376-4B70-9511-B5D9CD7E88C0}"/>
          </ac:spMkLst>
        </pc:spChg>
        <pc:spChg chg="mod">
          <ac:chgData name="Batuhan Yildiz" userId="90f344fc-4655-4923-aeaf-697bba59c1a7" providerId="ADAL" clId="{132605CE-A84A-4A0D-8C6E-834F931F728F}" dt="2020-03-30T19:23:46.241" v="463" actId="1076"/>
          <ac:spMkLst>
            <pc:docMk/>
            <pc:sldMk cId="3643083574" sldId="2076136643"/>
            <ac:spMk id="12" creationId="{1149C700-2C28-4910-A655-478444CE8E38}"/>
          </ac:spMkLst>
        </pc:spChg>
        <pc:spChg chg="mod">
          <ac:chgData name="Batuhan Yildiz" userId="90f344fc-4655-4923-aeaf-697bba59c1a7" providerId="ADAL" clId="{132605CE-A84A-4A0D-8C6E-834F931F728F}" dt="2020-03-30T19:23:46.241" v="463" actId="1076"/>
          <ac:spMkLst>
            <pc:docMk/>
            <pc:sldMk cId="3643083574" sldId="2076136643"/>
            <ac:spMk id="56" creationId="{34367C17-DE3F-4CB5-B681-3F9B64DDE177}"/>
          </ac:spMkLst>
        </pc:spChg>
        <pc:spChg chg="mod">
          <ac:chgData name="Batuhan Yildiz" userId="90f344fc-4655-4923-aeaf-697bba59c1a7" providerId="ADAL" clId="{132605CE-A84A-4A0D-8C6E-834F931F728F}" dt="2020-03-30T19:23:46.241" v="463" actId="1076"/>
          <ac:spMkLst>
            <pc:docMk/>
            <pc:sldMk cId="3643083574" sldId="2076136643"/>
            <ac:spMk id="57" creationId="{2E8FFD25-13BC-4D82-A6C4-8196F4ACE546}"/>
          </ac:spMkLst>
        </pc:spChg>
        <pc:spChg chg="mod">
          <ac:chgData name="Batuhan Yildiz" userId="90f344fc-4655-4923-aeaf-697bba59c1a7" providerId="ADAL" clId="{132605CE-A84A-4A0D-8C6E-834F931F728F}" dt="2020-03-30T19:23:46.241" v="463" actId="1076"/>
          <ac:spMkLst>
            <pc:docMk/>
            <pc:sldMk cId="3643083574" sldId="2076136643"/>
            <ac:spMk id="58" creationId="{6831C6AE-C7B0-405D-8EDF-ABAA6A752053}"/>
          </ac:spMkLst>
        </pc:spChg>
        <pc:spChg chg="mod">
          <ac:chgData name="Batuhan Yildiz" userId="90f344fc-4655-4923-aeaf-697bba59c1a7" providerId="ADAL" clId="{132605CE-A84A-4A0D-8C6E-834F931F728F}" dt="2020-03-30T19:23:46.241" v="463" actId="1076"/>
          <ac:spMkLst>
            <pc:docMk/>
            <pc:sldMk cId="3643083574" sldId="2076136643"/>
            <ac:spMk id="59" creationId="{1C581CDA-1BC1-4410-9C70-95EA9B6A9672}"/>
          </ac:spMkLst>
        </pc:spChg>
        <pc:spChg chg="mod">
          <ac:chgData name="Batuhan Yildiz" userId="90f344fc-4655-4923-aeaf-697bba59c1a7" providerId="ADAL" clId="{132605CE-A84A-4A0D-8C6E-834F931F728F}" dt="2020-03-30T19:23:46.241" v="463" actId="1076"/>
          <ac:spMkLst>
            <pc:docMk/>
            <pc:sldMk cId="3643083574" sldId="2076136643"/>
            <ac:spMk id="60" creationId="{92AB39A4-0A40-4772-9E3A-A976C48065C1}"/>
          </ac:spMkLst>
        </pc:spChg>
        <pc:spChg chg="mod">
          <ac:chgData name="Batuhan Yildiz" userId="90f344fc-4655-4923-aeaf-697bba59c1a7" providerId="ADAL" clId="{132605CE-A84A-4A0D-8C6E-834F931F728F}" dt="2020-03-30T19:23:46.241" v="463" actId="1076"/>
          <ac:spMkLst>
            <pc:docMk/>
            <pc:sldMk cId="3643083574" sldId="2076136643"/>
            <ac:spMk id="61" creationId="{B97D80F0-A270-4E24-B1AA-3EE4AB0B132B}"/>
          </ac:spMkLst>
        </pc:spChg>
        <pc:grpChg chg="mod">
          <ac:chgData name="Batuhan Yildiz" userId="90f344fc-4655-4923-aeaf-697bba59c1a7" providerId="ADAL" clId="{132605CE-A84A-4A0D-8C6E-834F931F728F}" dt="2020-03-30T19:23:46.241" v="463" actId="1076"/>
          <ac:grpSpMkLst>
            <pc:docMk/>
            <pc:sldMk cId="3643083574" sldId="2076136643"/>
            <ac:grpSpMk id="14" creationId="{2A0A2F44-E5F0-49F8-887E-E0414D5FB015}"/>
          </ac:grpSpMkLst>
        </pc:grpChg>
        <pc:grpChg chg="mod">
          <ac:chgData name="Batuhan Yildiz" userId="90f344fc-4655-4923-aeaf-697bba59c1a7" providerId="ADAL" clId="{132605CE-A84A-4A0D-8C6E-834F931F728F}" dt="2020-03-30T19:23:46.241" v="463" actId="1076"/>
          <ac:grpSpMkLst>
            <pc:docMk/>
            <pc:sldMk cId="3643083574" sldId="2076136643"/>
            <ac:grpSpMk id="17" creationId="{62D730E4-91C3-477F-91C8-6FB928E3ECF6}"/>
          </ac:grpSpMkLst>
        </pc:grpChg>
        <pc:grpChg chg="mod">
          <ac:chgData name="Batuhan Yildiz" userId="90f344fc-4655-4923-aeaf-697bba59c1a7" providerId="ADAL" clId="{132605CE-A84A-4A0D-8C6E-834F931F728F}" dt="2020-03-30T19:23:46.241" v="463" actId="1076"/>
          <ac:grpSpMkLst>
            <pc:docMk/>
            <pc:sldMk cId="3643083574" sldId="2076136643"/>
            <ac:grpSpMk id="23" creationId="{B09404A2-B9CA-4578-9553-E1D14A31078D}"/>
          </ac:grpSpMkLst>
        </pc:grpChg>
        <pc:grpChg chg="mod">
          <ac:chgData name="Batuhan Yildiz" userId="90f344fc-4655-4923-aeaf-697bba59c1a7" providerId="ADAL" clId="{132605CE-A84A-4A0D-8C6E-834F931F728F}" dt="2020-03-30T19:23:46.241" v="463" actId="1076"/>
          <ac:grpSpMkLst>
            <pc:docMk/>
            <pc:sldMk cId="3643083574" sldId="2076136643"/>
            <ac:grpSpMk id="25" creationId="{3B71799D-5764-4E8A-81D0-73AF804EB3DC}"/>
          </ac:grpSpMkLst>
        </pc:grpChg>
        <pc:grpChg chg="mod">
          <ac:chgData name="Batuhan Yildiz" userId="90f344fc-4655-4923-aeaf-697bba59c1a7" providerId="ADAL" clId="{132605CE-A84A-4A0D-8C6E-834F931F728F}" dt="2020-03-30T19:23:46.241" v="463" actId="1076"/>
          <ac:grpSpMkLst>
            <pc:docMk/>
            <pc:sldMk cId="3643083574" sldId="2076136643"/>
            <ac:grpSpMk id="28" creationId="{069BC6EF-8B60-4EF1-89CD-21AFD9EF4B7A}"/>
          </ac:grpSpMkLst>
        </pc:grpChg>
        <pc:grpChg chg="mod">
          <ac:chgData name="Batuhan Yildiz" userId="90f344fc-4655-4923-aeaf-697bba59c1a7" providerId="ADAL" clId="{132605CE-A84A-4A0D-8C6E-834F931F728F}" dt="2020-03-30T19:23:46.241" v="463" actId="1076"/>
          <ac:grpSpMkLst>
            <pc:docMk/>
            <pc:sldMk cId="3643083574" sldId="2076136643"/>
            <ac:grpSpMk id="34" creationId="{CF63F245-BE1D-475E-B79B-6BAFEEAADAAB}"/>
          </ac:grpSpMkLst>
        </pc:grpChg>
        <pc:grpChg chg="mod">
          <ac:chgData name="Batuhan Yildiz" userId="90f344fc-4655-4923-aeaf-697bba59c1a7" providerId="ADAL" clId="{132605CE-A84A-4A0D-8C6E-834F931F728F}" dt="2020-03-30T19:23:46.241" v="463" actId="1076"/>
          <ac:grpSpMkLst>
            <pc:docMk/>
            <pc:sldMk cId="3643083574" sldId="2076136643"/>
            <ac:grpSpMk id="36" creationId="{785038FC-0930-4BE1-98D8-8983FED96699}"/>
          </ac:grpSpMkLst>
        </pc:grpChg>
        <pc:grpChg chg="mod">
          <ac:chgData name="Batuhan Yildiz" userId="90f344fc-4655-4923-aeaf-697bba59c1a7" providerId="ADAL" clId="{132605CE-A84A-4A0D-8C6E-834F931F728F}" dt="2020-03-30T19:23:46.241" v="463" actId="1076"/>
          <ac:grpSpMkLst>
            <pc:docMk/>
            <pc:sldMk cId="3643083574" sldId="2076136643"/>
            <ac:grpSpMk id="38" creationId="{E05E2207-0E6C-4F47-AED0-FE0D5FF27DDF}"/>
          </ac:grpSpMkLst>
        </pc:grpChg>
        <pc:grpChg chg="mod">
          <ac:chgData name="Batuhan Yildiz" userId="90f344fc-4655-4923-aeaf-697bba59c1a7" providerId="ADAL" clId="{132605CE-A84A-4A0D-8C6E-834F931F728F}" dt="2020-03-30T19:23:46.241" v="463" actId="1076"/>
          <ac:grpSpMkLst>
            <pc:docMk/>
            <pc:sldMk cId="3643083574" sldId="2076136643"/>
            <ac:grpSpMk id="45" creationId="{E279C33B-EE75-4B5B-99C1-39B6C1451AEC}"/>
          </ac:grpSpMkLst>
        </pc:grpChg>
        <pc:grpChg chg="mod">
          <ac:chgData name="Batuhan Yildiz" userId="90f344fc-4655-4923-aeaf-697bba59c1a7" providerId="ADAL" clId="{132605CE-A84A-4A0D-8C6E-834F931F728F}" dt="2020-03-30T19:23:46.241" v="463" actId="1076"/>
          <ac:grpSpMkLst>
            <pc:docMk/>
            <pc:sldMk cId="3643083574" sldId="2076136643"/>
            <ac:grpSpMk id="47" creationId="{AF30F162-D4EE-43AF-9074-3301A0CF12FB}"/>
          </ac:grpSpMkLst>
        </pc:grpChg>
        <pc:grpChg chg="mod">
          <ac:chgData name="Batuhan Yildiz" userId="90f344fc-4655-4923-aeaf-697bba59c1a7" providerId="ADAL" clId="{132605CE-A84A-4A0D-8C6E-834F931F728F}" dt="2020-03-30T19:23:46.241" v="463" actId="1076"/>
          <ac:grpSpMkLst>
            <pc:docMk/>
            <pc:sldMk cId="3643083574" sldId="2076136643"/>
            <ac:grpSpMk id="50" creationId="{BB1E0184-D492-4983-980C-662853F5E6EE}"/>
          </ac:grpSpMkLst>
        </pc:grpChg>
        <pc:graphicFrameChg chg="add del mod modGraphic">
          <ac:chgData name="Batuhan Yildiz" userId="90f344fc-4655-4923-aeaf-697bba59c1a7" providerId="ADAL" clId="{132605CE-A84A-4A0D-8C6E-834F931F728F}" dt="2020-03-30T19:23:19.605" v="377"/>
          <ac:graphicFrameMkLst>
            <pc:docMk/>
            <pc:sldMk cId="3643083574" sldId="2076136643"/>
            <ac:graphicFrameMk id="62" creationId="{B3B31B5F-F835-4458-9679-5EBFAF4D2233}"/>
          </ac:graphicFrameMkLst>
        </pc:graphicFrameChg>
        <pc:graphicFrameChg chg="add del mod modGraphic">
          <ac:chgData name="Batuhan Yildiz" userId="90f344fc-4655-4923-aeaf-697bba59c1a7" providerId="ADAL" clId="{132605CE-A84A-4A0D-8C6E-834F931F728F}" dt="2020-03-30T19:23:19.999" v="428"/>
          <ac:graphicFrameMkLst>
            <pc:docMk/>
            <pc:sldMk cId="3643083574" sldId="2076136643"/>
            <ac:graphicFrameMk id="63" creationId="{453DDF52-1A2D-415C-85BB-2042021204C1}"/>
          </ac:graphicFrameMkLst>
        </pc:graphicFrameChg>
        <pc:graphicFrameChg chg="add modGraphic">
          <ac:chgData name="Batuhan Yildiz" userId="90f344fc-4655-4923-aeaf-697bba59c1a7" providerId="ADAL" clId="{132605CE-A84A-4A0D-8C6E-834F931F728F}" dt="2020-03-30T19:23:25.768" v="460" actId="947"/>
          <ac:graphicFrameMkLst>
            <pc:docMk/>
            <pc:sldMk cId="3643083574" sldId="2076136643"/>
            <ac:graphicFrameMk id="64" creationId="{A1E59AB5-AC94-403A-92B6-79FC9CAFBA7A}"/>
          </ac:graphicFrameMkLst>
        </pc:graphicFrameChg>
        <pc:graphicFrameChg chg="del">
          <ac:chgData name="Batuhan Yildiz" userId="90f344fc-4655-4923-aeaf-697bba59c1a7" providerId="ADAL" clId="{132605CE-A84A-4A0D-8C6E-834F931F728F}" dt="2020-03-30T19:23:19.924" v="425"/>
          <ac:graphicFrameMkLst>
            <pc:docMk/>
            <pc:sldMk cId="3643083574" sldId="2076136643"/>
            <ac:graphicFrameMk id="66" creationId="{3D0DB7F7-1EA1-4254-BD8F-14CB4DA1D31C}"/>
          </ac:graphicFrameMkLst>
        </pc:graphicFrameChg>
        <pc:cxnChg chg="mod">
          <ac:chgData name="Batuhan Yildiz" userId="90f344fc-4655-4923-aeaf-697bba59c1a7" providerId="ADAL" clId="{132605CE-A84A-4A0D-8C6E-834F931F728F}" dt="2020-03-30T19:23:46.241" v="463" actId="1076"/>
          <ac:cxnSpMkLst>
            <pc:docMk/>
            <pc:sldMk cId="3643083574" sldId="2076136643"/>
            <ac:cxnSpMk id="13" creationId="{970E9C0A-C918-41C1-BD26-C69D0BA2539B}"/>
          </ac:cxnSpMkLst>
        </pc:cxnChg>
      </pc:sldChg>
      <pc:sldChg chg="addSp delSp modSp mod">
        <pc:chgData name="Batuhan Yildiz" userId="90f344fc-4655-4923-aeaf-697bba59c1a7" providerId="ADAL" clId="{132605CE-A84A-4A0D-8C6E-834F931F728F}" dt="2020-03-30T19:16:10.769" v="357" actId="1076"/>
        <pc:sldMkLst>
          <pc:docMk/>
          <pc:sldMk cId="1723008925" sldId="2076136644"/>
        </pc:sldMkLst>
        <pc:spChg chg="mod">
          <ac:chgData name="Batuhan Yildiz" userId="90f344fc-4655-4923-aeaf-697bba59c1a7" providerId="ADAL" clId="{132605CE-A84A-4A0D-8C6E-834F931F728F}" dt="2020-03-30T19:16:10.769" v="357" actId="1076"/>
          <ac:spMkLst>
            <pc:docMk/>
            <pc:sldMk cId="1723008925" sldId="2076136644"/>
            <ac:spMk id="9" creationId="{DE491008-EC9B-44E9-9503-95EF2ACF9281}"/>
          </ac:spMkLst>
        </pc:spChg>
        <pc:graphicFrameChg chg="del">
          <ac:chgData name="Batuhan Yildiz" userId="90f344fc-4655-4923-aeaf-697bba59c1a7" providerId="ADAL" clId="{132605CE-A84A-4A0D-8C6E-834F931F728F}" dt="2020-03-30T19:14:44.812" v="314"/>
          <ac:graphicFrameMkLst>
            <pc:docMk/>
            <pc:sldMk cId="1723008925" sldId="2076136644"/>
            <ac:graphicFrameMk id="8" creationId="{1A74F07C-F7BC-4826-80EC-A2B5476263CC}"/>
          </ac:graphicFrameMkLst>
        </pc:graphicFrameChg>
        <pc:graphicFrameChg chg="add del mod modGraphic">
          <ac:chgData name="Batuhan Yildiz" userId="90f344fc-4655-4923-aeaf-697bba59c1a7" providerId="ADAL" clId="{132605CE-A84A-4A0D-8C6E-834F931F728F}" dt="2020-03-30T19:14:44.200" v="266"/>
          <ac:graphicFrameMkLst>
            <pc:docMk/>
            <pc:sldMk cId="1723008925" sldId="2076136644"/>
            <ac:graphicFrameMk id="11" creationId="{93E8F02D-B356-4894-9868-A3FBB93F31AA}"/>
          </ac:graphicFrameMkLst>
        </pc:graphicFrameChg>
        <pc:graphicFrameChg chg="add mod modGraphic">
          <ac:chgData name="Batuhan Yildiz" userId="90f344fc-4655-4923-aeaf-697bba59c1a7" providerId="ADAL" clId="{132605CE-A84A-4A0D-8C6E-834F931F728F}" dt="2020-03-30T19:15:58.936" v="356" actId="1076"/>
          <ac:graphicFrameMkLst>
            <pc:docMk/>
            <pc:sldMk cId="1723008925" sldId="2076136644"/>
            <ac:graphicFrameMk id="12" creationId="{FF84E770-C362-4CD8-B4F9-D2EA91C71BEC}"/>
          </ac:graphicFrameMkLst>
        </pc:graphicFrameChg>
        <pc:picChg chg="mod">
          <ac:chgData name="Batuhan Yildiz" userId="90f344fc-4655-4923-aeaf-697bba59c1a7" providerId="ADAL" clId="{132605CE-A84A-4A0D-8C6E-834F931F728F}" dt="2020-03-30T19:16:10.769" v="357" actId="1076"/>
          <ac:picMkLst>
            <pc:docMk/>
            <pc:sldMk cId="1723008925" sldId="2076136644"/>
            <ac:picMk id="10" creationId="{94BF0BA6-DC7B-45D6-8401-9EB656AB94D3}"/>
          </ac:picMkLst>
        </pc:picChg>
      </pc:sldChg>
      <pc:sldChg chg="delCm">
        <pc:chgData name="Batuhan Yildiz" userId="90f344fc-4655-4923-aeaf-697bba59c1a7" providerId="ADAL" clId="{132605CE-A84A-4A0D-8C6E-834F931F728F}" dt="2020-03-30T19:28:46.147" v="467" actId="1592"/>
        <pc:sldMkLst>
          <pc:docMk/>
          <pc:sldMk cId="2991361673" sldId="2076136651"/>
        </pc:sldMkLst>
      </pc:sldChg>
      <pc:sldChg chg="modSp">
        <pc:chgData name="Batuhan Yildiz" userId="90f344fc-4655-4923-aeaf-697bba59c1a7" providerId="ADAL" clId="{132605CE-A84A-4A0D-8C6E-834F931F728F}" dt="2020-03-30T18:59:37.534" v="10" actId="20577"/>
        <pc:sldMkLst>
          <pc:docMk/>
          <pc:sldMk cId="3992590962" sldId="2076136654"/>
        </pc:sldMkLst>
        <pc:graphicFrameChg chg="mod">
          <ac:chgData name="Batuhan Yildiz" userId="90f344fc-4655-4923-aeaf-697bba59c1a7" providerId="ADAL" clId="{132605CE-A84A-4A0D-8C6E-834F931F728F}" dt="2020-03-30T18:59:37.534" v="10" actId="20577"/>
          <ac:graphicFrameMkLst>
            <pc:docMk/>
            <pc:sldMk cId="3992590962" sldId="2076136654"/>
            <ac:graphicFrameMk id="5" creationId="{ACFBD576-BC35-470F-AD93-9943AE29C551}"/>
          </ac:graphicFrameMkLst>
        </pc:graphicFrameChg>
      </pc:sldChg>
      <pc:sldChg chg="addSp delSp modSp mod">
        <pc:chgData name="Batuhan Yildiz" userId="90f344fc-4655-4923-aeaf-697bba59c1a7" providerId="ADAL" clId="{132605CE-A84A-4A0D-8C6E-834F931F728F}" dt="2020-03-30T19:04:30.973" v="40" actId="478"/>
        <pc:sldMkLst>
          <pc:docMk/>
          <pc:sldMk cId="1771447696" sldId="2076136665"/>
        </pc:sldMkLst>
        <pc:spChg chg="add mod">
          <ac:chgData name="Batuhan Yildiz" userId="90f344fc-4655-4923-aeaf-697bba59c1a7" providerId="ADAL" clId="{132605CE-A84A-4A0D-8C6E-834F931F728F}" dt="2020-03-30T19:04:26.423" v="39" actId="1035"/>
          <ac:spMkLst>
            <pc:docMk/>
            <pc:sldMk cId="1771447696" sldId="2076136665"/>
            <ac:spMk id="3" creationId="{F7F9C079-1EB3-4F42-8AF7-4181F65F9937}"/>
          </ac:spMkLst>
        </pc:spChg>
        <pc:spChg chg="add mod">
          <ac:chgData name="Batuhan Yildiz" userId="90f344fc-4655-4923-aeaf-697bba59c1a7" providerId="ADAL" clId="{132605CE-A84A-4A0D-8C6E-834F931F728F}" dt="2020-03-30T19:04:15.044" v="35" actId="1036"/>
          <ac:spMkLst>
            <pc:docMk/>
            <pc:sldMk cId="1771447696" sldId="2076136665"/>
            <ac:spMk id="4" creationId="{95A3EC4F-A583-4842-AE2C-9DED671F17E7}"/>
          </ac:spMkLst>
        </pc:spChg>
        <pc:spChg chg="del">
          <ac:chgData name="Batuhan Yildiz" userId="90f344fc-4655-4923-aeaf-697bba59c1a7" providerId="ADAL" clId="{132605CE-A84A-4A0D-8C6E-834F931F728F}" dt="2020-03-30T19:03:20.636" v="14" actId="478"/>
          <ac:spMkLst>
            <pc:docMk/>
            <pc:sldMk cId="1771447696" sldId="2076136665"/>
            <ac:spMk id="5" creationId="{1B692013-58F1-4632-9235-6717EE2F51AE}"/>
          </ac:spMkLst>
        </pc:spChg>
        <pc:spChg chg="del mod">
          <ac:chgData name="Batuhan Yildiz" userId="90f344fc-4655-4923-aeaf-697bba59c1a7" providerId="ADAL" clId="{132605CE-A84A-4A0D-8C6E-834F931F728F}" dt="2020-03-30T19:04:30.973" v="40" actId="478"/>
          <ac:spMkLst>
            <pc:docMk/>
            <pc:sldMk cId="1771447696" sldId="2076136665"/>
            <ac:spMk id="6" creationId="{66466FC2-9E0C-4FEC-8A90-3FC7EE50CB7B}"/>
          </ac:spMkLst>
        </pc:spChg>
      </pc:sldChg>
      <pc:sldChg chg="modSp mod">
        <pc:chgData name="Batuhan Yildiz" userId="90f344fc-4655-4923-aeaf-697bba59c1a7" providerId="ADAL" clId="{132605CE-A84A-4A0D-8C6E-834F931F728F}" dt="2020-03-30T19:07:04.498" v="42" actId="1076"/>
        <pc:sldMkLst>
          <pc:docMk/>
          <pc:sldMk cId="1400860027" sldId="2076136674"/>
        </pc:sldMkLst>
        <pc:picChg chg="mod">
          <ac:chgData name="Batuhan Yildiz" userId="90f344fc-4655-4923-aeaf-697bba59c1a7" providerId="ADAL" clId="{132605CE-A84A-4A0D-8C6E-834F931F728F}" dt="2020-03-30T19:07:04.498" v="42" actId="1076"/>
          <ac:picMkLst>
            <pc:docMk/>
            <pc:sldMk cId="1400860027" sldId="2076136674"/>
            <ac:picMk id="8" creationId="{B2E57862-4703-4437-A014-D74FBEE2DE8B}"/>
          </ac:picMkLst>
        </pc:picChg>
      </pc:sldChg>
    </pc:docChg>
  </pc:docChgLst>
  <pc:docChgLst>
    <pc:chgData name="Batuhan Yildiz" userId="90f344fc-4655-4923-aeaf-697bba59c1a7" providerId="ADAL" clId="{4DAD5D74-1E34-4FF9-9C9C-205EB4037688}"/>
    <pc:docChg chg="undo redo custSel addSld delSld modSld modSection">
      <pc:chgData name="Batuhan Yildiz" userId="90f344fc-4655-4923-aeaf-697bba59c1a7" providerId="ADAL" clId="{4DAD5D74-1E34-4FF9-9C9C-205EB4037688}" dt="2020-04-30T18:51:52.109" v="69"/>
      <pc:docMkLst>
        <pc:docMk/>
      </pc:docMkLst>
      <pc:sldChg chg="modSp">
        <pc:chgData name="Batuhan Yildiz" userId="90f344fc-4655-4923-aeaf-697bba59c1a7" providerId="ADAL" clId="{4DAD5D74-1E34-4FF9-9C9C-205EB4037688}" dt="2020-04-30T18:46:47.066" v="60" actId="14100"/>
        <pc:sldMkLst>
          <pc:docMk/>
          <pc:sldMk cId="2346840044" sldId="570"/>
        </pc:sldMkLst>
        <pc:graphicFrameChg chg="mod">
          <ac:chgData name="Batuhan Yildiz" userId="90f344fc-4655-4923-aeaf-697bba59c1a7" providerId="ADAL" clId="{4DAD5D74-1E34-4FF9-9C9C-205EB4037688}" dt="2020-04-30T18:46:47.066" v="60" actId="14100"/>
          <ac:graphicFrameMkLst>
            <pc:docMk/>
            <pc:sldMk cId="2346840044" sldId="570"/>
            <ac:graphicFrameMk id="3" creationId="{9484E1FE-7534-495E-863C-657A46F5E628}"/>
          </ac:graphicFrameMkLst>
        </pc:graphicFrameChg>
      </pc:sldChg>
      <pc:sldChg chg="modNotesTx">
        <pc:chgData name="Batuhan Yildiz" userId="90f344fc-4655-4923-aeaf-697bba59c1a7" providerId="ADAL" clId="{4DAD5D74-1E34-4FF9-9C9C-205EB4037688}" dt="2020-04-30T18:49:48.688" v="63" actId="20577"/>
        <pc:sldMkLst>
          <pc:docMk/>
          <pc:sldMk cId="4248838292" sldId="573"/>
        </pc:sldMkLst>
      </pc:sldChg>
      <pc:sldChg chg="modSp">
        <pc:chgData name="Batuhan Yildiz" userId="90f344fc-4655-4923-aeaf-697bba59c1a7" providerId="ADAL" clId="{4DAD5D74-1E34-4FF9-9C9C-205EB4037688}" dt="2020-04-30T18:50:23.493" v="65" actId="14100"/>
        <pc:sldMkLst>
          <pc:docMk/>
          <pc:sldMk cId="4206133277" sldId="577"/>
        </pc:sldMkLst>
        <pc:graphicFrameChg chg="mod">
          <ac:chgData name="Batuhan Yildiz" userId="90f344fc-4655-4923-aeaf-697bba59c1a7" providerId="ADAL" clId="{4DAD5D74-1E34-4FF9-9C9C-205EB4037688}" dt="2020-04-30T18:50:23.493" v="65" actId="14100"/>
          <ac:graphicFrameMkLst>
            <pc:docMk/>
            <pc:sldMk cId="4206133277" sldId="577"/>
            <ac:graphicFrameMk id="3" creationId="{9484E1FE-7534-495E-863C-657A46F5E628}"/>
          </ac:graphicFrameMkLst>
        </pc:graphicFrameChg>
      </pc:sldChg>
      <pc:sldChg chg="modSp">
        <pc:chgData name="Batuhan Yildiz" userId="90f344fc-4655-4923-aeaf-697bba59c1a7" providerId="ADAL" clId="{4DAD5D74-1E34-4FF9-9C9C-205EB4037688}" dt="2020-04-30T18:50:46.077" v="66" actId="14100"/>
        <pc:sldMkLst>
          <pc:docMk/>
          <pc:sldMk cId="2231734821" sldId="587"/>
        </pc:sldMkLst>
        <pc:graphicFrameChg chg="mod">
          <ac:chgData name="Batuhan Yildiz" userId="90f344fc-4655-4923-aeaf-697bba59c1a7" providerId="ADAL" clId="{4DAD5D74-1E34-4FF9-9C9C-205EB4037688}" dt="2020-04-30T18:50:46.077" v="66" actId="14100"/>
          <ac:graphicFrameMkLst>
            <pc:docMk/>
            <pc:sldMk cId="2231734821" sldId="587"/>
            <ac:graphicFrameMk id="3" creationId="{9484E1FE-7534-495E-863C-657A46F5E628}"/>
          </ac:graphicFrameMkLst>
        </pc:graphicFrameChg>
      </pc:sldChg>
      <pc:sldChg chg="addSp delSp mod">
        <pc:chgData name="Batuhan Yildiz" userId="90f344fc-4655-4923-aeaf-697bba59c1a7" providerId="ADAL" clId="{4DAD5D74-1E34-4FF9-9C9C-205EB4037688}" dt="2020-04-30T18:45:11.518" v="54" actId="478"/>
        <pc:sldMkLst>
          <pc:docMk/>
          <pc:sldMk cId="636521655" sldId="601"/>
        </pc:sldMkLst>
        <pc:spChg chg="add del">
          <ac:chgData name="Batuhan Yildiz" userId="90f344fc-4655-4923-aeaf-697bba59c1a7" providerId="ADAL" clId="{4DAD5D74-1E34-4FF9-9C9C-205EB4037688}" dt="2020-04-30T18:45:11.518" v="54" actId="478"/>
          <ac:spMkLst>
            <pc:docMk/>
            <pc:sldMk cId="636521655" sldId="601"/>
            <ac:spMk id="6" creationId="{78E7DD1B-1784-407A-BE77-1C6DBBBB2406}"/>
          </ac:spMkLst>
        </pc:spChg>
      </pc:sldChg>
      <pc:sldChg chg="modSp del mod">
        <pc:chgData name="Batuhan Yildiz" userId="90f344fc-4655-4923-aeaf-697bba59c1a7" providerId="ADAL" clId="{4DAD5D74-1E34-4FF9-9C9C-205EB4037688}" dt="2020-04-30T17:25:37.393" v="11" actId="2696"/>
        <pc:sldMkLst>
          <pc:docMk/>
          <pc:sldMk cId="3163075682" sldId="2076136637"/>
        </pc:sldMkLst>
        <pc:spChg chg="mod">
          <ac:chgData name="Batuhan Yildiz" userId="90f344fc-4655-4923-aeaf-697bba59c1a7" providerId="ADAL" clId="{4DAD5D74-1E34-4FF9-9C9C-205EB4037688}" dt="2020-04-30T17:24:47.652" v="1" actId="20577"/>
          <ac:spMkLst>
            <pc:docMk/>
            <pc:sldMk cId="3163075682" sldId="2076136637"/>
            <ac:spMk id="3" creationId="{8F64A22E-2B43-4FC6-AF08-0CDB3F9E9269}"/>
          </ac:spMkLst>
        </pc:spChg>
        <pc:spChg chg="mod">
          <ac:chgData name="Batuhan Yildiz" userId="90f344fc-4655-4923-aeaf-697bba59c1a7" providerId="ADAL" clId="{4DAD5D74-1E34-4FF9-9C9C-205EB4037688}" dt="2020-04-30T17:25:35.231" v="9" actId="12"/>
          <ac:spMkLst>
            <pc:docMk/>
            <pc:sldMk cId="3163075682" sldId="2076136637"/>
            <ac:spMk id="6" creationId="{637E159C-9ACF-48AE-927A-D5FB13695C7F}"/>
          </ac:spMkLst>
        </pc:spChg>
      </pc:sldChg>
      <pc:sldChg chg="delSp modSp mod">
        <pc:chgData name="Batuhan Yildiz" userId="90f344fc-4655-4923-aeaf-697bba59c1a7" providerId="ADAL" clId="{4DAD5D74-1E34-4FF9-9C9C-205EB4037688}" dt="2020-04-30T18:45:52.747" v="56" actId="478"/>
        <pc:sldMkLst>
          <pc:docMk/>
          <pc:sldMk cId="1168460214" sldId="2076136642"/>
        </pc:sldMkLst>
        <pc:spChg chg="del">
          <ac:chgData name="Batuhan Yildiz" userId="90f344fc-4655-4923-aeaf-697bba59c1a7" providerId="ADAL" clId="{4DAD5D74-1E34-4FF9-9C9C-205EB4037688}" dt="2020-04-30T18:45:52.747" v="56" actId="478"/>
          <ac:spMkLst>
            <pc:docMk/>
            <pc:sldMk cId="1168460214" sldId="2076136642"/>
            <ac:spMk id="3" creationId="{2E04DBD5-DB03-48C0-8D06-3C5AF7F87414}"/>
          </ac:spMkLst>
        </pc:spChg>
        <pc:graphicFrameChg chg="ord">
          <ac:chgData name="Batuhan Yildiz" userId="90f344fc-4655-4923-aeaf-697bba59c1a7" providerId="ADAL" clId="{4DAD5D74-1E34-4FF9-9C9C-205EB4037688}" dt="2020-04-30T18:45:41.873" v="55" actId="167"/>
          <ac:graphicFrameMkLst>
            <pc:docMk/>
            <pc:sldMk cId="1168460214" sldId="2076136642"/>
            <ac:graphicFrameMk id="14" creationId="{81DA0D0A-6A76-479C-9608-A86440D4607E}"/>
          </ac:graphicFrameMkLst>
        </pc:graphicFrameChg>
      </pc:sldChg>
      <pc:sldChg chg="modSp mod modNotesTx">
        <pc:chgData name="Batuhan Yildiz" userId="90f344fc-4655-4923-aeaf-697bba59c1a7" providerId="ADAL" clId="{4DAD5D74-1E34-4FF9-9C9C-205EB4037688}" dt="2020-04-30T17:29:38.225" v="32" actId="20577"/>
        <pc:sldMkLst>
          <pc:docMk/>
          <pc:sldMk cId="2839060334" sldId="2076136668"/>
        </pc:sldMkLst>
        <pc:spChg chg="mod">
          <ac:chgData name="Batuhan Yildiz" userId="90f344fc-4655-4923-aeaf-697bba59c1a7" providerId="ADAL" clId="{4DAD5D74-1E34-4FF9-9C9C-205EB4037688}" dt="2020-04-30T17:29:11.628" v="24" actId="20577"/>
          <ac:spMkLst>
            <pc:docMk/>
            <pc:sldMk cId="2839060334" sldId="2076136668"/>
            <ac:spMk id="3" creationId="{8F64A22E-2B43-4FC6-AF08-0CDB3F9E9269}"/>
          </ac:spMkLst>
        </pc:spChg>
        <pc:spChg chg="mod">
          <ac:chgData name="Batuhan Yildiz" userId="90f344fc-4655-4923-aeaf-697bba59c1a7" providerId="ADAL" clId="{4DAD5D74-1E34-4FF9-9C9C-205EB4037688}" dt="2020-04-30T17:29:25.274" v="29" actId="113"/>
          <ac:spMkLst>
            <pc:docMk/>
            <pc:sldMk cId="2839060334" sldId="2076136668"/>
            <ac:spMk id="6" creationId="{637E159C-9ACF-48AE-927A-D5FB13695C7F}"/>
          </ac:spMkLst>
        </pc:spChg>
      </pc:sldChg>
      <pc:sldChg chg="modNotesTx">
        <pc:chgData name="Batuhan Yildiz" userId="90f344fc-4655-4923-aeaf-697bba59c1a7" providerId="ADAL" clId="{4DAD5D74-1E34-4FF9-9C9C-205EB4037688}" dt="2020-04-30T17:29:53.949" v="33"/>
        <pc:sldMkLst>
          <pc:docMk/>
          <pc:sldMk cId="2024735957" sldId="2076136669"/>
        </pc:sldMkLst>
      </pc:sldChg>
      <pc:sldChg chg="modSp del mod">
        <pc:chgData name="Batuhan Yildiz" userId="90f344fc-4655-4923-aeaf-697bba59c1a7" providerId="ADAL" clId="{4DAD5D74-1E34-4FF9-9C9C-205EB4037688}" dt="2020-04-30T17:30:37.800" v="46" actId="2696"/>
        <pc:sldMkLst>
          <pc:docMk/>
          <pc:sldMk cId="2158697192" sldId="2076136690"/>
        </pc:sldMkLst>
        <pc:spChg chg="mod">
          <ac:chgData name="Batuhan Yildiz" userId="90f344fc-4655-4923-aeaf-697bba59c1a7" providerId="ADAL" clId="{4DAD5D74-1E34-4FF9-9C9C-205EB4037688}" dt="2020-04-30T17:30:20.647" v="37" actId="20577"/>
          <ac:spMkLst>
            <pc:docMk/>
            <pc:sldMk cId="2158697192" sldId="2076136690"/>
            <ac:spMk id="3" creationId="{8F64A22E-2B43-4FC6-AF08-0CDB3F9E9269}"/>
          </ac:spMkLst>
        </pc:spChg>
        <pc:spChg chg="mod">
          <ac:chgData name="Batuhan Yildiz" userId="90f344fc-4655-4923-aeaf-697bba59c1a7" providerId="ADAL" clId="{4DAD5D74-1E34-4FF9-9C9C-205EB4037688}" dt="2020-04-30T17:30:36.570" v="44" actId="12"/>
          <ac:spMkLst>
            <pc:docMk/>
            <pc:sldMk cId="2158697192" sldId="2076136690"/>
            <ac:spMk id="6" creationId="{637E159C-9ACF-48AE-927A-D5FB13695C7F}"/>
          </ac:spMkLst>
        </pc:spChg>
      </pc:sldChg>
      <pc:sldChg chg="modSp modAnim">
        <pc:chgData name="Batuhan Yildiz" userId="90f344fc-4655-4923-aeaf-697bba59c1a7" providerId="ADAL" clId="{4DAD5D74-1E34-4FF9-9C9C-205EB4037688}" dt="2020-04-30T18:51:52.109" v="69"/>
        <pc:sldMkLst>
          <pc:docMk/>
          <pc:sldMk cId="1359590065" sldId="2076136700"/>
        </pc:sldMkLst>
        <pc:graphicFrameChg chg="mod">
          <ac:chgData name="Batuhan Yildiz" userId="90f344fc-4655-4923-aeaf-697bba59c1a7" providerId="ADAL" clId="{4DAD5D74-1E34-4FF9-9C9C-205EB4037688}" dt="2020-04-30T18:51:28.760" v="67" actId="13782"/>
          <ac:graphicFrameMkLst>
            <pc:docMk/>
            <pc:sldMk cId="1359590065" sldId="2076136700"/>
            <ac:graphicFrameMk id="5" creationId="{9160CB12-1FA7-4DC0-84DC-78AA49CF4904}"/>
          </ac:graphicFrameMkLst>
        </pc:graphicFrameChg>
      </pc:sldChg>
      <pc:sldChg chg="modSp add mod modNotesTx">
        <pc:chgData name="Batuhan Yildiz" userId="90f344fc-4655-4923-aeaf-697bba59c1a7" providerId="ADAL" clId="{4DAD5D74-1E34-4FF9-9C9C-205EB4037688}" dt="2020-04-30T18:44:13.226" v="51" actId="207"/>
        <pc:sldMkLst>
          <pc:docMk/>
          <pc:sldMk cId="2383551743" sldId="2076136701"/>
        </pc:sldMkLst>
        <pc:spChg chg="mod">
          <ac:chgData name="Batuhan Yildiz" userId="90f344fc-4655-4923-aeaf-697bba59c1a7" providerId="ADAL" clId="{4DAD5D74-1E34-4FF9-9C9C-205EB4037688}" dt="2020-04-30T18:44:13.226" v="51" actId="207"/>
          <ac:spMkLst>
            <pc:docMk/>
            <pc:sldMk cId="2383551743" sldId="2076136701"/>
            <ac:spMk id="6" creationId="{637E159C-9ACF-48AE-927A-D5FB13695C7F}"/>
          </ac:spMkLst>
        </pc:spChg>
      </pc:sldChg>
      <pc:sldChg chg="modSp add mod modNotesTx">
        <pc:chgData name="Batuhan Yildiz" userId="90f344fc-4655-4923-aeaf-697bba59c1a7" providerId="ADAL" clId="{4DAD5D74-1E34-4FF9-9C9C-205EB4037688}" dt="2020-04-30T17:30:55.089" v="50" actId="20577"/>
        <pc:sldMkLst>
          <pc:docMk/>
          <pc:sldMk cId="1750919334" sldId="2076136702"/>
        </pc:sldMkLst>
        <pc:spChg chg="mod">
          <ac:chgData name="Batuhan Yildiz" userId="90f344fc-4655-4923-aeaf-697bba59c1a7" providerId="ADAL" clId="{4DAD5D74-1E34-4FF9-9C9C-205EB4037688}" dt="2020-04-30T17:30:40.518" v="47" actId="15"/>
          <ac:spMkLst>
            <pc:docMk/>
            <pc:sldMk cId="1750919334" sldId="2076136702"/>
            <ac:spMk id="6" creationId="{637E159C-9ACF-48AE-927A-D5FB13695C7F}"/>
          </ac:spMkLst>
        </pc:spChg>
      </pc:sldChg>
    </pc:docChg>
  </pc:docChgLst>
  <pc:docChgLst>
    <pc:chgData name="Batuhan Yildiz" userId="90f344fc-4655-4923-aeaf-697bba59c1a7" providerId="ADAL" clId="{53FA2523-17CE-49B4-9F1E-13E112D8D9C3}"/>
    <pc:docChg chg="modSld">
      <pc:chgData name="Batuhan Yildiz" userId="90f344fc-4655-4923-aeaf-697bba59c1a7" providerId="ADAL" clId="{53FA2523-17CE-49B4-9F1E-13E112D8D9C3}" dt="2020-10-16T21:50:19.368" v="3" actId="20577"/>
      <pc:docMkLst>
        <pc:docMk/>
      </pc:docMkLst>
      <pc:sldChg chg="modNotesTx">
        <pc:chgData name="Batuhan Yildiz" userId="90f344fc-4655-4923-aeaf-697bba59c1a7" providerId="ADAL" clId="{53FA2523-17CE-49B4-9F1E-13E112D8D9C3}" dt="2020-10-16T21:50:19.368" v="3" actId="20577"/>
        <pc:sldMkLst>
          <pc:docMk/>
          <pc:sldMk cId="2276845176" sldId="207613663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773827-0213-4B99-BDED-4F6297562CA8}"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4FCB8F5-E819-4F94-90FF-2734A64EA438}">
      <dgm:prSet/>
      <dgm:spPr/>
      <dgm:t>
        <a:bodyPr/>
        <a:lstStyle/>
        <a:p>
          <a:r>
            <a:rPr lang="en-US" baseline="0"/>
            <a:t>Microsoft Azure is Microsoft’s public cloud computing platform</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C30DE435-0826-4D5F-90B6-6274BD1E4E03}" type="parTrans" cxnId="{3BFF5353-25D6-4A81-9BF9-131A31DD0E8C}">
      <dgm:prSet/>
      <dgm:spPr/>
      <dgm:t>
        <a:bodyPr/>
        <a:lstStyle/>
        <a:p>
          <a:endParaRPr lang="en-US"/>
        </a:p>
      </dgm:t>
    </dgm:pt>
    <dgm:pt modelId="{C46645BA-FF0F-4B59-B7A3-D8DE4CFF2F0C}" type="sibTrans" cxnId="{3BFF5353-25D6-4A81-9BF9-131A31DD0E8C}">
      <dgm:prSet/>
      <dgm:spPr/>
      <dgm:t>
        <a:bodyPr/>
        <a:lstStyle/>
        <a:p>
          <a:endParaRPr lang="en-US"/>
        </a:p>
      </dgm:t>
    </dgm:pt>
    <dgm:pt modelId="{E1D85293-D54E-4267-97E6-C2C0FCF17B33}">
      <dgm:prSet/>
      <dgm:spPr/>
      <dgm:t>
        <a:bodyPr/>
        <a:lstStyle/>
        <a:p>
          <a:r>
            <a:rPr lang="en-US" baseline="0" dirty="0"/>
            <a:t>Over 140 countries across 60 regions worldwide</a:t>
          </a:r>
          <a:endParaRPr lang="en-US" dirty="0"/>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B61B8984-1E6C-455C-9F12-C2C5EB2B9B46}" type="parTrans" cxnId="{A17CEF3A-04A8-4F92-AAFB-1494B619B3EF}">
      <dgm:prSet/>
      <dgm:spPr/>
      <dgm:t>
        <a:bodyPr/>
        <a:lstStyle/>
        <a:p>
          <a:endParaRPr lang="en-US"/>
        </a:p>
      </dgm:t>
    </dgm:pt>
    <dgm:pt modelId="{41033641-BACE-4CBA-8C35-7E945E1BBA6B}" type="sibTrans" cxnId="{A17CEF3A-04A8-4F92-AAFB-1494B619B3EF}">
      <dgm:prSet/>
      <dgm:spPr/>
      <dgm:t>
        <a:bodyPr/>
        <a:lstStyle/>
        <a:p>
          <a:endParaRPr lang="en-US"/>
        </a:p>
      </dgm:t>
    </dgm:pt>
    <dgm:pt modelId="{E79C35C4-BB87-4C59-A6B0-EF190B7165D0}">
      <dgm:prSet/>
      <dgm:spPr/>
      <dgm:t>
        <a:bodyPr/>
        <a:lstStyle/>
        <a:p>
          <a:r>
            <a:rPr lang="en-US" baseline="0"/>
            <a:t>Windows and Linux</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411A3160-28C6-407C-97A2-D18902A9FD0D}" type="parTrans" cxnId="{97D2B767-7766-4DA1-B6D3-859AC6665194}">
      <dgm:prSet/>
      <dgm:spPr/>
      <dgm:t>
        <a:bodyPr/>
        <a:lstStyle/>
        <a:p>
          <a:endParaRPr lang="en-US"/>
        </a:p>
      </dgm:t>
    </dgm:pt>
    <dgm:pt modelId="{13E0FA8C-2C61-446F-AC24-FE6D92038E40}" type="sibTrans" cxnId="{97D2B767-7766-4DA1-B6D3-859AC6665194}">
      <dgm:prSet/>
      <dgm:spPr/>
      <dgm:t>
        <a:bodyPr/>
        <a:lstStyle/>
        <a:p>
          <a:endParaRPr lang="en-US"/>
        </a:p>
      </dgm:t>
    </dgm:pt>
    <dgm:pt modelId="{C50D5E4A-0B5B-427D-AD3C-04358F750F96}">
      <dgm:prSet/>
      <dgm:spPr/>
      <dgm:t>
        <a:bodyPr/>
        <a:lstStyle/>
        <a:p>
          <a:r>
            <a:rPr lang="en-US" baseline="0"/>
            <a:t>Scale globally</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EFB2AB21-7C39-40CE-899A-357DD3F6278D}" type="parTrans" cxnId="{11D92FE4-265B-4C2D-B626-9C0271AFC02D}">
      <dgm:prSet/>
      <dgm:spPr/>
      <dgm:t>
        <a:bodyPr/>
        <a:lstStyle/>
        <a:p>
          <a:endParaRPr lang="en-US"/>
        </a:p>
      </dgm:t>
    </dgm:pt>
    <dgm:pt modelId="{E1CE4B64-470B-4C4E-B3AF-BFF76DB1776E}" type="sibTrans" cxnId="{11D92FE4-265B-4C2D-B626-9C0271AFC02D}">
      <dgm:prSet/>
      <dgm:spPr/>
      <dgm:t>
        <a:bodyPr/>
        <a:lstStyle/>
        <a:p>
          <a:endParaRPr lang="en-US"/>
        </a:p>
      </dgm:t>
    </dgm:pt>
    <dgm:pt modelId="{797A61A2-3F7F-488F-AAEB-020B9880905E}">
      <dgm:prSet/>
      <dgm:spPr/>
      <dgm:t>
        <a:bodyPr/>
        <a:lstStyle/>
        <a:p>
          <a:r>
            <a:rPr lang="en-US" baseline="0"/>
            <a:t>Reach more locations, faster, with the performance and reliability of a vast global infrastructure.</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8BE10CC1-49FC-4FE5-8093-3810AEFCF250}" type="parTrans" cxnId="{62ED53FD-7FB3-4EB3-BFC1-8DA8B67E3A82}">
      <dgm:prSet/>
      <dgm:spPr/>
      <dgm:t>
        <a:bodyPr/>
        <a:lstStyle/>
        <a:p>
          <a:endParaRPr lang="en-US"/>
        </a:p>
      </dgm:t>
    </dgm:pt>
    <dgm:pt modelId="{C475BD80-1493-4300-839A-3B28BC8254FC}" type="sibTrans" cxnId="{62ED53FD-7FB3-4EB3-BFC1-8DA8B67E3A82}">
      <dgm:prSet/>
      <dgm:spPr/>
      <dgm:t>
        <a:bodyPr/>
        <a:lstStyle/>
        <a:p>
          <a:endParaRPr lang="en-US"/>
        </a:p>
      </dgm:t>
    </dgm:pt>
    <dgm:pt modelId="{1ECE178A-5E82-4486-914A-3D97BB980624}">
      <dgm:prSet/>
      <dgm:spPr/>
      <dgm:t>
        <a:bodyPr/>
        <a:lstStyle/>
        <a:p>
          <a:r>
            <a:rPr lang="en-US" baseline="0"/>
            <a:t>Safeguard data</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ED1C6C99-E072-45E8-81CF-541BA5846D0F}" type="parTrans" cxnId="{76600FAB-0878-4ABC-A5FD-315D93AAEF3D}">
      <dgm:prSet/>
      <dgm:spPr/>
      <dgm:t>
        <a:bodyPr/>
        <a:lstStyle/>
        <a:p>
          <a:endParaRPr lang="en-US"/>
        </a:p>
      </dgm:t>
    </dgm:pt>
    <dgm:pt modelId="{3FBCFE98-1458-409D-B033-A5F51A263A6B}" type="sibTrans" cxnId="{76600FAB-0878-4ABC-A5FD-315D93AAEF3D}">
      <dgm:prSet/>
      <dgm:spPr/>
      <dgm:t>
        <a:bodyPr/>
        <a:lstStyle/>
        <a:p>
          <a:endParaRPr lang="en-US"/>
        </a:p>
      </dgm:t>
    </dgm:pt>
    <dgm:pt modelId="{5A1B1602-7D70-46F2-BB2D-8A47BDC5E954}">
      <dgm:prSet/>
      <dgm:spPr/>
      <dgm:t>
        <a:bodyPr/>
        <a:lstStyle/>
        <a:p>
          <a:r>
            <a:rPr lang="en-US" baseline="0" dirty="0"/>
            <a:t>Rely on industry-leading data security in the region and across our network.</a:t>
          </a:r>
          <a:endParaRPr lang="en-US" dirty="0"/>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C57F3B29-5FB3-4F8C-B9BE-257693388147}" type="parTrans" cxnId="{04783965-96A3-448F-B858-45DC23B1A675}">
      <dgm:prSet/>
      <dgm:spPr/>
      <dgm:t>
        <a:bodyPr/>
        <a:lstStyle/>
        <a:p>
          <a:endParaRPr lang="en-US"/>
        </a:p>
      </dgm:t>
    </dgm:pt>
    <dgm:pt modelId="{45D4B61C-7358-4A1D-8F49-7C4CAB9C0D9F}" type="sibTrans" cxnId="{04783965-96A3-448F-B858-45DC23B1A675}">
      <dgm:prSet/>
      <dgm:spPr/>
      <dgm:t>
        <a:bodyPr/>
        <a:lstStyle/>
        <a:p>
          <a:endParaRPr lang="en-US"/>
        </a:p>
      </dgm:t>
    </dgm:pt>
    <dgm:pt modelId="{5B6B6026-32E6-45AB-B6CC-028F84EC4D8C}">
      <dgm:prSet/>
      <dgm:spPr/>
      <dgm:t>
        <a:bodyPr/>
        <a:lstStyle/>
        <a:p>
          <a:r>
            <a:rPr lang="en-US" baseline="0"/>
            <a:t>Promote sustainability</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5763E832-5010-4BC3-A789-F02F7D2154DD}" type="parTrans" cxnId="{5F37004A-45CC-4B9D-9B71-8C0C0014BCF7}">
      <dgm:prSet/>
      <dgm:spPr/>
      <dgm:t>
        <a:bodyPr/>
        <a:lstStyle/>
        <a:p>
          <a:endParaRPr lang="en-US"/>
        </a:p>
      </dgm:t>
    </dgm:pt>
    <dgm:pt modelId="{20EDA143-5336-407E-BBDA-5A83186532B0}" type="sibTrans" cxnId="{5F37004A-45CC-4B9D-9B71-8C0C0014BCF7}">
      <dgm:prSet/>
      <dgm:spPr/>
      <dgm:t>
        <a:bodyPr/>
        <a:lstStyle/>
        <a:p>
          <a:endParaRPr lang="en-US"/>
        </a:p>
      </dgm:t>
    </dgm:pt>
    <dgm:pt modelId="{2211EEBE-E440-4882-8F7C-ED15B4B0C410}">
      <dgm:prSet/>
      <dgm:spPr/>
      <dgm:t>
        <a:bodyPr/>
        <a:lstStyle/>
        <a:p>
          <a:r>
            <a:rPr lang="en-US" baseline="0"/>
            <a:t>Help build a clean-energy future and accelerate progress toward your sustainability goals.</a:t>
          </a:r>
          <a:endParaRPr lang="en-US"/>
        </a:p>
      </dgm:t>
      <dgm:extLst>
        <a:ext uri="{E40237B7-FDA0-4F09-8148-C483321AD2D9}">
          <dgm14:cNvPr xmlns:dgm14="http://schemas.microsoft.com/office/drawing/2010/diagram" id="0" name="" descr="- Microsoft Azure is Microsoft’s public cloud computing platform&#10;- Over 140 countries across 56 regions worldwide&#10;- Windows and Linux&#10;- Scale globally&#10;  -Reach more locations, faster, with the performance and reliability of a vast global infrastructure.&#10;- Safeguard data&#10;  -Rely on industry-leading data security in the region and across our network.&#10;- Promote sustainability&#10;  - Help build a clean-energy future and accelerate progress toward your sustainability goals.&#10;https://azure.microsoft.com/en-us/global-infrastructure/regions/&#10;"/>
        </a:ext>
      </dgm:extLst>
    </dgm:pt>
    <dgm:pt modelId="{3740D8BC-3D37-49A9-A248-A6120A4088E2}" type="parTrans" cxnId="{FD35BB7C-0EBF-483B-8AAE-295AB090519B}">
      <dgm:prSet/>
      <dgm:spPr/>
      <dgm:t>
        <a:bodyPr/>
        <a:lstStyle/>
        <a:p>
          <a:endParaRPr lang="en-US"/>
        </a:p>
      </dgm:t>
    </dgm:pt>
    <dgm:pt modelId="{7F61C374-3630-4F20-BE35-12F6AC4D71EB}" type="sibTrans" cxnId="{FD35BB7C-0EBF-483B-8AAE-295AB090519B}">
      <dgm:prSet/>
      <dgm:spPr/>
      <dgm:t>
        <a:bodyPr/>
        <a:lstStyle/>
        <a:p>
          <a:endParaRPr lang="en-US"/>
        </a:p>
      </dgm:t>
    </dgm:pt>
    <dgm:pt modelId="{D4FC0F77-EE0B-4D1C-95CD-96218E26DE81}" type="pres">
      <dgm:prSet presAssocID="{8F773827-0213-4B99-BDED-4F6297562CA8}" presName="linear" presStyleCnt="0">
        <dgm:presLayoutVars>
          <dgm:animLvl val="lvl"/>
          <dgm:resizeHandles val="exact"/>
        </dgm:presLayoutVars>
      </dgm:prSet>
      <dgm:spPr/>
    </dgm:pt>
    <dgm:pt modelId="{3C2023E7-76F8-4240-A90B-C66466FA1790}" type="pres">
      <dgm:prSet presAssocID="{D4FCB8F5-E819-4F94-90FF-2734A64EA438}" presName="parentText" presStyleLbl="node1" presStyleIdx="0" presStyleCnt="6">
        <dgm:presLayoutVars>
          <dgm:chMax val="0"/>
          <dgm:bulletEnabled val="1"/>
        </dgm:presLayoutVars>
      </dgm:prSet>
      <dgm:spPr/>
    </dgm:pt>
    <dgm:pt modelId="{B7E15301-A4C5-40C3-8123-5D8E5568BC91}" type="pres">
      <dgm:prSet presAssocID="{C46645BA-FF0F-4B59-B7A3-D8DE4CFF2F0C}" presName="spacer" presStyleCnt="0"/>
      <dgm:spPr/>
    </dgm:pt>
    <dgm:pt modelId="{EA724777-5A37-4639-8598-C8C8CA24F856}" type="pres">
      <dgm:prSet presAssocID="{E1D85293-D54E-4267-97E6-C2C0FCF17B33}" presName="parentText" presStyleLbl="node1" presStyleIdx="1" presStyleCnt="6">
        <dgm:presLayoutVars>
          <dgm:chMax val="0"/>
          <dgm:bulletEnabled val="1"/>
        </dgm:presLayoutVars>
      </dgm:prSet>
      <dgm:spPr/>
    </dgm:pt>
    <dgm:pt modelId="{6BA53711-AC71-4316-9E7D-2E8F7BD7A553}" type="pres">
      <dgm:prSet presAssocID="{41033641-BACE-4CBA-8C35-7E945E1BBA6B}" presName="spacer" presStyleCnt="0"/>
      <dgm:spPr/>
    </dgm:pt>
    <dgm:pt modelId="{4C706E1B-708A-4D18-8BC1-C05516EE6FAB}" type="pres">
      <dgm:prSet presAssocID="{E79C35C4-BB87-4C59-A6B0-EF190B7165D0}" presName="parentText" presStyleLbl="node1" presStyleIdx="2" presStyleCnt="6">
        <dgm:presLayoutVars>
          <dgm:chMax val="0"/>
          <dgm:bulletEnabled val="1"/>
        </dgm:presLayoutVars>
      </dgm:prSet>
      <dgm:spPr/>
    </dgm:pt>
    <dgm:pt modelId="{B25610D2-5E82-4D28-802E-918FC4C8FA2D}" type="pres">
      <dgm:prSet presAssocID="{13E0FA8C-2C61-446F-AC24-FE6D92038E40}" presName="spacer" presStyleCnt="0"/>
      <dgm:spPr/>
    </dgm:pt>
    <dgm:pt modelId="{4E42B728-6D1B-43E0-A034-1C3F40ABF6C2}" type="pres">
      <dgm:prSet presAssocID="{C50D5E4A-0B5B-427D-AD3C-04358F750F96}" presName="parentText" presStyleLbl="node1" presStyleIdx="3" presStyleCnt="6">
        <dgm:presLayoutVars>
          <dgm:chMax val="0"/>
          <dgm:bulletEnabled val="1"/>
        </dgm:presLayoutVars>
      </dgm:prSet>
      <dgm:spPr/>
    </dgm:pt>
    <dgm:pt modelId="{9C007B62-96B9-4ACA-A04D-4F8E84DB4007}" type="pres">
      <dgm:prSet presAssocID="{C50D5E4A-0B5B-427D-AD3C-04358F750F96}" presName="childText" presStyleLbl="revTx" presStyleIdx="0" presStyleCnt="3">
        <dgm:presLayoutVars>
          <dgm:bulletEnabled val="1"/>
        </dgm:presLayoutVars>
      </dgm:prSet>
      <dgm:spPr/>
    </dgm:pt>
    <dgm:pt modelId="{2E4966F4-E8F5-4388-8567-199CAD14B693}" type="pres">
      <dgm:prSet presAssocID="{1ECE178A-5E82-4486-914A-3D97BB980624}" presName="parentText" presStyleLbl="node1" presStyleIdx="4" presStyleCnt="6">
        <dgm:presLayoutVars>
          <dgm:chMax val="0"/>
          <dgm:bulletEnabled val="1"/>
        </dgm:presLayoutVars>
      </dgm:prSet>
      <dgm:spPr/>
    </dgm:pt>
    <dgm:pt modelId="{A88D8434-7005-4AEE-8560-4AC04FB1432E}" type="pres">
      <dgm:prSet presAssocID="{1ECE178A-5E82-4486-914A-3D97BB980624}" presName="childText" presStyleLbl="revTx" presStyleIdx="1" presStyleCnt="3">
        <dgm:presLayoutVars>
          <dgm:bulletEnabled val="1"/>
        </dgm:presLayoutVars>
      </dgm:prSet>
      <dgm:spPr/>
    </dgm:pt>
    <dgm:pt modelId="{1CE32638-51B2-4B23-98BD-07246D9CD311}" type="pres">
      <dgm:prSet presAssocID="{5B6B6026-32E6-45AB-B6CC-028F84EC4D8C}" presName="parentText" presStyleLbl="node1" presStyleIdx="5" presStyleCnt="6">
        <dgm:presLayoutVars>
          <dgm:chMax val="0"/>
          <dgm:bulletEnabled val="1"/>
        </dgm:presLayoutVars>
      </dgm:prSet>
      <dgm:spPr/>
    </dgm:pt>
    <dgm:pt modelId="{A594F59E-3D64-4506-9C87-BF49311AEA3C}" type="pres">
      <dgm:prSet presAssocID="{5B6B6026-32E6-45AB-B6CC-028F84EC4D8C}" presName="childText" presStyleLbl="revTx" presStyleIdx="2" presStyleCnt="3">
        <dgm:presLayoutVars>
          <dgm:bulletEnabled val="1"/>
        </dgm:presLayoutVars>
      </dgm:prSet>
      <dgm:spPr/>
    </dgm:pt>
  </dgm:ptLst>
  <dgm:cxnLst>
    <dgm:cxn modelId="{1E81E014-734A-4096-9DF6-7BEDF0F09F14}" type="presOf" srcId="{1ECE178A-5E82-4486-914A-3D97BB980624}" destId="{2E4966F4-E8F5-4388-8567-199CAD14B693}" srcOrd="0" destOrd="0" presId="urn:microsoft.com/office/officeart/2005/8/layout/vList2"/>
    <dgm:cxn modelId="{6FFFEC17-E75B-4B97-A24A-211449D043B5}" type="presOf" srcId="{E79C35C4-BB87-4C59-A6B0-EF190B7165D0}" destId="{4C706E1B-708A-4D18-8BC1-C05516EE6FAB}" srcOrd="0" destOrd="0" presId="urn:microsoft.com/office/officeart/2005/8/layout/vList2"/>
    <dgm:cxn modelId="{2194D51A-A46B-41E0-B6D7-69A80341DF80}" type="presOf" srcId="{2211EEBE-E440-4882-8F7C-ED15B4B0C410}" destId="{A594F59E-3D64-4506-9C87-BF49311AEA3C}" srcOrd="0" destOrd="0" presId="urn:microsoft.com/office/officeart/2005/8/layout/vList2"/>
    <dgm:cxn modelId="{A17CEF3A-04A8-4F92-AAFB-1494B619B3EF}" srcId="{8F773827-0213-4B99-BDED-4F6297562CA8}" destId="{E1D85293-D54E-4267-97E6-C2C0FCF17B33}" srcOrd="1" destOrd="0" parTransId="{B61B8984-1E6C-455C-9F12-C2C5EB2B9B46}" sibTransId="{41033641-BACE-4CBA-8C35-7E945E1BBA6B}"/>
    <dgm:cxn modelId="{04783965-96A3-448F-B858-45DC23B1A675}" srcId="{1ECE178A-5E82-4486-914A-3D97BB980624}" destId="{5A1B1602-7D70-46F2-BB2D-8A47BDC5E954}" srcOrd="0" destOrd="0" parTransId="{C57F3B29-5FB3-4F8C-B9BE-257693388147}" sibTransId="{45D4B61C-7358-4A1D-8F49-7C4CAB9C0D9F}"/>
    <dgm:cxn modelId="{71359146-6CA6-44A1-83D9-1E3D53317B16}" type="presOf" srcId="{E1D85293-D54E-4267-97E6-C2C0FCF17B33}" destId="{EA724777-5A37-4639-8598-C8C8CA24F856}" srcOrd="0" destOrd="0" presId="urn:microsoft.com/office/officeart/2005/8/layout/vList2"/>
    <dgm:cxn modelId="{97D2B767-7766-4DA1-B6D3-859AC6665194}" srcId="{8F773827-0213-4B99-BDED-4F6297562CA8}" destId="{E79C35C4-BB87-4C59-A6B0-EF190B7165D0}" srcOrd="2" destOrd="0" parTransId="{411A3160-28C6-407C-97A2-D18902A9FD0D}" sibTransId="{13E0FA8C-2C61-446F-AC24-FE6D92038E40}"/>
    <dgm:cxn modelId="{5F37004A-45CC-4B9D-9B71-8C0C0014BCF7}" srcId="{8F773827-0213-4B99-BDED-4F6297562CA8}" destId="{5B6B6026-32E6-45AB-B6CC-028F84EC4D8C}" srcOrd="5" destOrd="0" parTransId="{5763E832-5010-4BC3-A789-F02F7D2154DD}" sibTransId="{20EDA143-5336-407E-BBDA-5A83186532B0}"/>
    <dgm:cxn modelId="{3BFF5353-25D6-4A81-9BF9-131A31DD0E8C}" srcId="{8F773827-0213-4B99-BDED-4F6297562CA8}" destId="{D4FCB8F5-E819-4F94-90FF-2734A64EA438}" srcOrd="0" destOrd="0" parTransId="{C30DE435-0826-4D5F-90B6-6274BD1E4E03}" sibTransId="{C46645BA-FF0F-4B59-B7A3-D8DE4CFF2F0C}"/>
    <dgm:cxn modelId="{37D03377-5065-4C40-8369-C6C7DBE94ABA}" type="presOf" srcId="{5A1B1602-7D70-46F2-BB2D-8A47BDC5E954}" destId="{A88D8434-7005-4AEE-8560-4AC04FB1432E}" srcOrd="0" destOrd="0" presId="urn:microsoft.com/office/officeart/2005/8/layout/vList2"/>
    <dgm:cxn modelId="{FD35BB7C-0EBF-483B-8AAE-295AB090519B}" srcId="{5B6B6026-32E6-45AB-B6CC-028F84EC4D8C}" destId="{2211EEBE-E440-4882-8F7C-ED15B4B0C410}" srcOrd="0" destOrd="0" parTransId="{3740D8BC-3D37-49A9-A248-A6120A4088E2}" sibTransId="{7F61C374-3630-4F20-BE35-12F6AC4D71EB}"/>
    <dgm:cxn modelId="{76600FAB-0878-4ABC-A5FD-315D93AAEF3D}" srcId="{8F773827-0213-4B99-BDED-4F6297562CA8}" destId="{1ECE178A-5E82-4486-914A-3D97BB980624}" srcOrd="4" destOrd="0" parTransId="{ED1C6C99-E072-45E8-81CF-541BA5846D0F}" sibTransId="{3FBCFE98-1458-409D-B033-A5F51A263A6B}"/>
    <dgm:cxn modelId="{8263B5B2-41FC-448A-8757-F33FDB9E03AA}" type="presOf" srcId="{D4FCB8F5-E819-4F94-90FF-2734A64EA438}" destId="{3C2023E7-76F8-4240-A90B-C66466FA1790}" srcOrd="0" destOrd="0" presId="urn:microsoft.com/office/officeart/2005/8/layout/vList2"/>
    <dgm:cxn modelId="{80C396B3-0B04-4BDF-96BA-30F359959F7D}" type="presOf" srcId="{C50D5E4A-0B5B-427D-AD3C-04358F750F96}" destId="{4E42B728-6D1B-43E0-A034-1C3F40ABF6C2}" srcOrd="0" destOrd="0" presId="urn:microsoft.com/office/officeart/2005/8/layout/vList2"/>
    <dgm:cxn modelId="{CC21E3C7-3B47-450A-BE67-D4C57682C940}" type="presOf" srcId="{797A61A2-3F7F-488F-AAEB-020B9880905E}" destId="{9C007B62-96B9-4ACA-A04D-4F8E84DB4007}" srcOrd="0" destOrd="0" presId="urn:microsoft.com/office/officeart/2005/8/layout/vList2"/>
    <dgm:cxn modelId="{D5CF2FD7-E047-48C0-98E7-03F0279B1446}" type="presOf" srcId="{5B6B6026-32E6-45AB-B6CC-028F84EC4D8C}" destId="{1CE32638-51B2-4B23-98BD-07246D9CD311}" srcOrd="0" destOrd="0" presId="urn:microsoft.com/office/officeart/2005/8/layout/vList2"/>
    <dgm:cxn modelId="{11D92FE4-265B-4C2D-B626-9C0271AFC02D}" srcId="{8F773827-0213-4B99-BDED-4F6297562CA8}" destId="{C50D5E4A-0B5B-427D-AD3C-04358F750F96}" srcOrd="3" destOrd="0" parTransId="{EFB2AB21-7C39-40CE-899A-357DD3F6278D}" sibTransId="{E1CE4B64-470B-4C4E-B3AF-BFF76DB1776E}"/>
    <dgm:cxn modelId="{E2AFE8F8-77D5-4476-B5C7-AB22496C182C}" type="presOf" srcId="{8F773827-0213-4B99-BDED-4F6297562CA8}" destId="{D4FC0F77-EE0B-4D1C-95CD-96218E26DE81}" srcOrd="0" destOrd="0" presId="urn:microsoft.com/office/officeart/2005/8/layout/vList2"/>
    <dgm:cxn modelId="{62ED53FD-7FB3-4EB3-BFC1-8DA8B67E3A82}" srcId="{C50D5E4A-0B5B-427D-AD3C-04358F750F96}" destId="{797A61A2-3F7F-488F-AAEB-020B9880905E}" srcOrd="0" destOrd="0" parTransId="{8BE10CC1-49FC-4FE5-8093-3810AEFCF250}" sibTransId="{C475BD80-1493-4300-839A-3B28BC8254FC}"/>
    <dgm:cxn modelId="{BDF374D0-0913-43FB-9A08-F5DC3B85F7E2}" type="presParOf" srcId="{D4FC0F77-EE0B-4D1C-95CD-96218E26DE81}" destId="{3C2023E7-76F8-4240-A90B-C66466FA1790}" srcOrd="0" destOrd="0" presId="urn:microsoft.com/office/officeart/2005/8/layout/vList2"/>
    <dgm:cxn modelId="{11837C34-18F2-422E-9B4D-E2F20EDF2C0D}" type="presParOf" srcId="{D4FC0F77-EE0B-4D1C-95CD-96218E26DE81}" destId="{B7E15301-A4C5-40C3-8123-5D8E5568BC91}" srcOrd="1" destOrd="0" presId="urn:microsoft.com/office/officeart/2005/8/layout/vList2"/>
    <dgm:cxn modelId="{33133FAD-B5C3-4225-AACA-7ED831561F5E}" type="presParOf" srcId="{D4FC0F77-EE0B-4D1C-95CD-96218E26DE81}" destId="{EA724777-5A37-4639-8598-C8C8CA24F856}" srcOrd="2" destOrd="0" presId="urn:microsoft.com/office/officeart/2005/8/layout/vList2"/>
    <dgm:cxn modelId="{B67E3B75-B8B5-435B-9811-95722A0283EC}" type="presParOf" srcId="{D4FC0F77-EE0B-4D1C-95CD-96218E26DE81}" destId="{6BA53711-AC71-4316-9E7D-2E8F7BD7A553}" srcOrd="3" destOrd="0" presId="urn:microsoft.com/office/officeart/2005/8/layout/vList2"/>
    <dgm:cxn modelId="{089EB845-2400-4F6A-B36F-37B444A962E8}" type="presParOf" srcId="{D4FC0F77-EE0B-4D1C-95CD-96218E26DE81}" destId="{4C706E1B-708A-4D18-8BC1-C05516EE6FAB}" srcOrd="4" destOrd="0" presId="urn:microsoft.com/office/officeart/2005/8/layout/vList2"/>
    <dgm:cxn modelId="{BDFD5DEB-7147-48DE-B392-A54986D03F0F}" type="presParOf" srcId="{D4FC0F77-EE0B-4D1C-95CD-96218E26DE81}" destId="{B25610D2-5E82-4D28-802E-918FC4C8FA2D}" srcOrd="5" destOrd="0" presId="urn:microsoft.com/office/officeart/2005/8/layout/vList2"/>
    <dgm:cxn modelId="{571CE655-9E98-4E54-B452-B8DBD4DDF2F7}" type="presParOf" srcId="{D4FC0F77-EE0B-4D1C-95CD-96218E26DE81}" destId="{4E42B728-6D1B-43E0-A034-1C3F40ABF6C2}" srcOrd="6" destOrd="0" presId="urn:microsoft.com/office/officeart/2005/8/layout/vList2"/>
    <dgm:cxn modelId="{8CD1A2FF-F416-49B5-9AD2-8F28E1AE908F}" type="presParOf" srcId="{D4FC0F77-EE0B-4D1C-95CD-96218E26DE81}" destId="{9C007B62-96B9-4ACA-A04D-4F8E84DB4007}" srcOrd="7" destOrd="0" presId="urn:microsoft.com/office/officeart/2005/8/layout/vList2"/>
    <dgm:cxn modelId="{48D8DC34-0ACA-4D64-9D45-97990757785D}" type="presParOf" srcId="{D4FC0F77-EE0B-4D1C-95CD-96218E26DE81}" destId="{2E4966F4-E8F5-4388-8567-199CAD14B693}" srcOrd="8" destOrd="0" presId="urn:microsoft.com/office/officeart/2005/8/layout/vList2"/>
    <dgm:cxn modelId="{50FD4DA2-2BCF-47E7-BCC3-DA367E72A85E}" type="presParOf" srcId="{D4FC0F77-EE0B-4D1C-95CD-96218E26DE81}" destId="{A88D8434-7005-4AEE-8560-4AC04FB1432E}" srcOrd="9" destOrd="0" presId="urn:microsoft.com/office/officeart/2005/8/layout/vList2"/>
    <dgm:cxn modelId="{FAF0D574-9A8A-4105-B57E-F1A0CF363F66}" type="presParOf" srcId="{D4FC0F77-EE0B-4D1C-95CD-96218E26DE81}" destId="{1CE32638-51B2-4B23-98BD-07246D9CD311}" srcOrd="10" destOrd="0" presId="urn:microsoft.com/office/officeart/2005/8/layout/vList2"/>
    <dgm:cxn modelId="{CC286B15-01B7-4E04-A33F-6EE45C40575D}" type="presParOf" srcId="{D4FC0F77-EE0B-4D1C-95CD-96218E26DE81}" destId="{A594F59E-3D64-4506-9C87-BF49311AEA3C}" srcOrd="1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4DAB315-C818-48F5-B2A2-2B8F59EB26AE}" type="doc">
      <dgm:prSet loTypeId="urn:microsoft.com/office/officeart/2005/8/layout/process1" loCatId="process" qsTypeId="urn:microsoft.com/office/officeart/2005/8/quickstyle/simple1" qsCatId="simple" csTypeId="urn:microsoft.com/office/officeart/2005/8/colors/colorful2" csCatId="colorful"/>
      <dgm:spPr/>
      <dgm:t>
        <a:bodyPr/>
        <a:lstStyle/>
        <a:p>
          <a:endParaRPr lang="en-US"/>
        </a:p>
      </dgm:t>
    </dgm:pt>
    <dgm:pt modelId="{5B7B16BF-9B9F-4FED-946E-D5D335880ACA}">
      <dgm:prSet custT="1"/>
      <dgm:spPr/>
      <dgm:t>
        <a:bodyPr/>
        <a:lstStyle/>
        <a:p>
          <a:r>
            <a:rPr lang="en-US" sz="2000" baseline="0"/>
            <a:t>Download the latest version of SSDT.</a:t>
          </a:r>
          <a:endParaRPr lang="en-US" sz="2000"/>
        </a:p>
      </dgm:t>
    </dgm:pt>
    <dgm:pt modelId="{B53B0109-3C0C-4E1A-87C5-6A25141C1889}" type="parTrans" cxnId="{073E994F-3B9D-4169-94DD-37016174E77F}">
      <dgm:prSet/>
      <dgm:spPr/>
      <dgm:t>
        <a:bodyPr/>
        <a:lstStyle/>
        <a:p>
          <a:endParaRPr lang="en-US" sz="2000"/>
        </a:p>
      </dgm:t>
    </dgm:pt>
    <dgm:pt modelId="{90DCA341-F937-4BA6-B81F-1E1D187330F6}" type="sibTrans" cxnId="{073E994F-3B9D-4169-94DD-37016174E77F}">
      <dgm:prSet custT="1"/>
      <dgm:spPr/>
      <dgm:t>
        <a:bodyPr/>
        <a:lstStyle/>
        <a:p>
          <a:endParaRPr lang="en-US" sz="1600"/>
        </a:p>
      </dgm:t>
    </dgm:pt>
    <dgm:pt modelId="{FC716494-712E-4AA6-A801-0A5EC5F1B76B}">
      <dgm:prSet custT="1"/>
      <dgm:spPr/>
      <dgm:t>
        <a:bodyPr/>
        <a:lstStyle/>
        <a:p>
          <a:r>
            <a:rPr lang="en-US" sz="2000" baseline="0" dirty="0"/>
            <a:t>Get the fully qualified domain name of your Azure SQL Server.</a:t>
          </a:r>
          <a:endParaRPr lang="en-US" sz="2000" dirty="0"/>
        </a:p>
      </dgm:t>
    </dgm:pt>
    <dgm:pt modelId="{C882CA73-A724-45F6-8883-56DF63AF373F}" type="parTrans" cxnId="{92745F0F-2CBD-46C7-93E7-D9908107B58E}">
      <dgm:prSet/>
      <dgm:spPr/>
      <dgm:t>
        <a:bodyPr/>
        <a:lstStyle/>
        <a:p>
          <a:endParaRPr lang="en-US" sz="2000"/>
        </a:p>
      </dgm:t>
    </dgm:pt>
    <dgm:pt modelId="{20D14C57-A72E-4394-B652-0BDD2D214895}" type="sibTrans" cxnId="{92745F0F-2CBD-46C7-93E7-D9908107B58E}">
      <dgm:prSet custT="1"/>
      <dgm:spPr/>
      <dgm:t>
        <a:bodyPr/>
        <a:lstStyle/>
        <a:p>
          <a:endParaRPr lang="en-US" sz="1600"/>
        </a:p>
      </dgm:t>
    </dgm:pt>
    <dgm:pt modelId="{FFAFCB27-220C-47BD-BF7F-80705F615D2D}">
      <dgm:prSet custT="1"/>
      <dgm:spPr/>
      <dgm:t>
        <a:bodyPr/>
        <a:lstStyle/>
        <a:p>
          <a:r>
            <a:rPr lang="en-US" sz="2000" baseline="0"/>
            <a:t>Connect to your SQL Database.</a:t>
          </a:r>
          <a:endParaRPr lang="en-US" sz="2000"/>
        </a:p>
      </dgm:t>
    </dgm:pt>
    <dgm:pt modelId="{6458BCB3-E07E-4CDB-8898-BF602E1295FD}" type="parTrans" cxnId="{97449FEC-A489-436F-A00C-7DA93A6DF37B}">
      <dgm:prSet/>
      <dgm:spPr/>
      <dgm:t>
        <a:bodyPr/>
        <a:lstStyle/>
        <a:p>
          <a:endParaRPr lang="en-US" sz="2000"/>
        </a:p>
      </dgm:t>
    </dgm:pt>
    <dgm:pt modelId="{23E317EF-A376-44A0-B2C6-1DC33DC4307F}" type="sibTrans" cxnId="{97449FEC-A489-436F-A00C-7DA93A6DF37B}">
      <dgm:prSet/>
      <dgm:spPr/>
      <dgm:t>
        <a:bodyPr/>
        <a:lstStyle/>
        <a:p>
          <a:endParaRPr lang="en-US" sz="2000"/>
        </a:p>
      </dgm:t>
    </dgm:pt>
    <dgm:pt modelId="{E20FF6A1-BE2D-4F6F-A320-B7D05D9BE659}" type="pres">
      <dgm:prSet presAssocID="{54DAB315-C818-48F5-B2A2-2B8F59EB26AE}" presName="Name0" presStyleCnt="0">
        <dgm:presLayoutVars>
          <dgm:dir/>
          <dgm:resizeHandles val="exact"/>
        </dgm:presLayoutVars>
      </dgm:prSet>
      <dgm:spPr/>
    </dgm:pt>
    <dgm:pt modelId="{EAF1D71A-5372-4ACA-AF75-E8A494B9E0A3}" type="pres">
      <dgm:prSet presAssocID="{5B7B16BF-9B9F-4FED-946E-D5D335880ACA}" presName="node" presStyleLbl="node1" presStyleIdx="0" presStyleCnt="3">
        <dgm:presLayoutVars>
          <dgm:bulletEnabled val="1"/>
        </dgm:presLayoutVars>
      </dgm:prSet>
      <dgm:spPr/>
    </dgm:pt>
    <dgm:pt modelId="{CDE82545-E10A-4425-8721-DBCD3EB85392}" type="pres">
      <dgm:prSet presAssocID="{90DCA341-F937-4BA6-B81F-1E1D187330F6}" presName="sibTrans" presStyleLbl="sibTrans2D1" presStyleIdx="0" presStyleCnt="2"/>
      <dgm:spPr/>
    </dgm:pt>
    <dgm:pt modelId="{B29618DA-F96E-474C-9411-D8090F73E584}" type="pres">
      <dgm:prSet presAssocID="{90DCA341-F937-4BA6-B81F-1E1D187330F6}" presName="connectorText" presStyleLbl="sibTrans2D1" presStyleIdx="0" presStyleCnt="2"/>
      <dgm:spPr/>
    </dgm:pt>
    <dgm:pt modelId="{94CB2C75-E19A-4D95-9C38-1822337E482F}" type="pres">
      <dgm:prSet presAssocID="{FC716494-712E-4AA6-A801-0A5EC5F1B76B}" presName="node" presStyleLbl="node1" presStyleIdx="1" presStyleCnt="3">
        <dgm:presLayoutVars>
          <dgm:bulletEnabled val="1"/>
        </dgm:presLayoutVars>
      </dgm:prSet>
      <dgm:spPr/>
    </dgm:pt>
    <dgm:pt modelId="{1ADFBFD9-3FAD-4050-9112-76D56B934E5F}" type="pres">
      <dgm:prSet presAssocID="{20D14C57-A72E-4394-B652-0BDD2D214895}" presName="sibTrans" presStyleLbl="sibTrans2D1" presStyleIdx="1" presStyleCnt="2"/>
      <dgm:spPr/>
    </dgm:pt>
    <dgm:pt modelId="{0EBBBECB-DDD5-4C81-979B-42DBB034102B}" type="pres">
      <dgm:prSet presAssocID="{20D14C57-A72E-4394-B652-0BDD2D214895}" presName="connectorText" presStyleLbl="sibTrans2D1" presStyleIdx="1" presStyleCnt="2"/>
      <dgm:spPr/>
    </dgm:pt>
    <dgm:pt modelId="{CC673CCA-A32F-4316-B153-3E0197EF3EF8}" type="pres">
      <dgm:prSet presAssocID="{FFAFCB27-220C-47BD-BF7F-80705F615D2D}" presName="node" presStyleLbl="node1" presStyleIdx="2" presStyleCnt="3">
        <dgm:presLayoutVars>
          <dgm:bulletEnabled val="1"/>
        </dgm:presLayoutVars>
      </dgm:prSet>
      <dgm:spPr/>
    </dgm:pt>
  </dgm:ptLst>
  <dgm:cxnLst>
    <dgm:cxn modelId="{92745F0F-2CBD-46C7-93E7-D9908107B58E}" srcId="{54DAB315-C818-48F5-B2A2-2B8F59EB26AE}" destId="{FC716494-712E-4AA6-A801-0A5EC5F1B76B}" srcOrd="1" destOrd="0" parTransId="{C882CA73-A724-45F6-8883-56DF63AF373F}" sibTransId="{20D14C57-A72E-4394-B652-0BDD2D214895}"/>
    <dgm:cxn modelId="{7DD30F14-26CB-4BF4-9F91-89ACB2F56BBC}" type="presOf" srcId="{20D14C57-A72E-4394-B652-0BDD2D214895}" destId="{0EBBBECB-DDD5-4C81-979B-42DBB034102B}" srcOrd="1" destOrd="0" presId="urn:microsoft.com/office/officeart/2005/8/layout/process1"/>
    <dgm:cxn modelId="{14CF5537-7344-4344-9EFF-C62CFB4500B8}" type="presOf" srcId="{FC716494-712E-4AA6-A801-0A5EC5F1B76B}" destId="{94CB2C75-E19A-4D95-9C38-1822337E482F}" srcOrd="0" destOrd="0" presId="urn:microsoft.com/office/officeart/2005/8/layout/process1"/>
    <dgm:cxn modelId="{0AD95A40-9220-46B1-BA4E-712F5783D0DB}" type="presOf" srcId="{90DCA341-F937-4BA6-B81F-1E1D187330F6}" destId="{B29618DA-F96E-474C-9411-D8090F73E584}" srcOrd="1" destOrd="0" presId="urn:microsoft.com/office/officeart/2005/8/layout/process1"/>
    <dgm:cxn modelId="{85508262-3E04-4331-B4DB-FAB303454025}" type="presOf" srcId="{90DCA341-F937-4BA6-B81F-1E1D187330F6}" destId="{CDE82545-E10A-4425-8721-DBCD3EB85392}" srcOrd="0" destOrd="0" presId="urn:microsoft.com/office/officeart/2005/8/layout/process1"/>
    <dgm:cxn modelId="{073E994F-3B9D-4169-94DD-37016174E77F}" srcId="{54DAB315-C818-48F5-B2A2-2B8F59EB26AE}" destId="{5B7B16BF-9B9F-4FED-946E-D5D335880ACA}" srcOrd="0" destOrd="0" parTransId="{B53B0109-3C0C-4E1A-87C5-6A25141C1889}" sibTransId="{90DCA341-F937-4BA6-B81F-1E1D187330F6}"/>
    <dgm:cxn modelId="{B80E9C70-CD64-4E50-83E9-2C651CF82A1C}" type="presOf" srcId="{20D14C57-A72E-4394-B652-0BDD2D214895}" destId="{1ADFBFD9-3FAD-4050-9112-76D56B934E5F}" srcOrd="0" destOrd="0" presId="urn:microsoft.com/office/officeart/2005/8/layout/process1"/>
    <dgm:cxn modelId="{C3A4AA79-8E14-4185-8E70-36F5B0392BE8}" type="presOf" srcId="{5B7B16BF-9B9F-4FED-946E-D5D335880ACA}" destId="{EAF1D71A-5372-4ACA-AF75-E8A494B9E0A3}" srcOrd="0" destOrd="0" presId="urn:microsoft.com/office/officeart/2005/8/layout/process1"/>
    <dgm:cxn modelId="{C19129B2-730C-4D87-8555-761B74ACC9E3}" type="presOf" srcId="{54DAB315-C818-48F5-B2A2-2B8F59EB26AE}" destId="{E20FF6A1-BE2D-4F6F-A320-B7D05D9BE659}" srcOrd="0" destOrd="0" presId="urn:microsoft.com/office/officeart/2005/8/layout/process1"/>
    <dgm:cxn modelId="{CF36A9CB-6650-48AB-9CEA-E7D3C2362E0F}" type="presOf" srcId="{FFAFCB27-220C-47BD-BF7F-80705F615D2D}" destId="{CC673CCA-A32F-4316-B153-3E0197EF3EF8}" srcOrd="0" destOrd="0" presId="urn:microsoft.com/office/officeart/2005/8/layout/process1"/>
    <dgm:cxn modelId="{97449FEC-A489-436F-A00C-7DA93A6DF37B}" srcId="{54DAB315-C818-48F5-B2A2-2B8F59EB26AE}" destId="{FFAFCB27-220C-47BD-BF7F-80705F615D2D}" srcOrd="2" destOrd="0" parTransId="{6458BCB3-E07E-4CDB-8898-BF602E1295FD}" sibTransId="{23E317EF-A376-44A0-B2C6-1DC33DC4307F}"/>
    <dgm:cxn modelId="{3B6EBB1A-F740-45D7-80EF-B0F3D607A8CC}" type="presParOf" srcId="{E20FF6A1-BE2D-4F6F-A320-B7D05D9BE659}" destId="{EAF1D71A-5372-4ACA-AF75-E8A494B9E0A3}" srcOrd="0" destOrd="0" presId="urn:microsoft.com/office/officeart/2005/8/layout/process1"/>
    <dgm:cxn modelId="{36E646AF-FFF1-46D5-8F06-5160B58EE8D4}" type="presParOf" srcId="{E20FF6A1-BE2D-4F6F-A320-B7D05D9BE659}" destId="{CDE82545-E10A-4425-8721-DBCD3EB85392}" srcOrd="1" destOrd="0" presId="urn:microsoft.com/office/officeart/2005/8/layout/process1"/>
    <dgm:cxn modelId="{B22E7A16-19FA-498C-846A-B5B683929ED5}" type="presParOf" srcId="{CDE82545-E10A-4425-8721-DBCD3EB85392}" destId="{B29618DA-F96E-474C-9411-D8090F73E584}" srcOrd="0" destOrd="0" presId="urn:microsoft.com/office/officeart/2005/8/layout/process1"/>
    <dgm:cxn modelId="{0AF9DB8B-EAEA-445D-A8A9-1B4706548E66}" type="presParOf" srcId="{E20FF6A1-BE2D-4F6F-A320-B7D05D9BE659}" destId="{94CB2C75-E19A-4D95-9C38-1822337E482F}" srcOrd="2" destOrd="0" presId="urn:microsoft.com/office/officeart/2005/8/layout/process1"/>
    <dgm:cxn modelId="{5173BA51-1987-4327-B063-EEBA6EE3DC64}" type="presParOf" srcId="{E20FF6A1-BE2D-4F6F-A320-B7D05D9BE659}" destId="{1ADFBFD9-3FAD-4050-9112-76D56B934E5F}" srcOrd="3" destOrd="0" presId="urn:microsoft.com/office/officeart/2005/8/layout/process1"/>
    <dgm:cxn modelId="{397DBEBD-4BE5-4D3E-AA9C-0BF3E7567248}" type="presParOf" srcId="{1ADFBFD9-3FAD-4050-9112-76D56B934E5F}" destId="{0EBBBECB-DDD5-4C81-979B-42DBB034102B}" srcOrd="0" destOrd="0" presId="urn:microsoft.com/office/officeart/2005/8/layout/process1"/>
    <dgm:cxn modelId="{CCB60F68-6E54-42E2-BEE6-C5EFB4C1C0C5}" type="presParOf" srcId="{E20FF6A1-BE2D-4F6F-A320-B7D05D9BE659}" destId="{CC673CCA-A32F-4316-B153-3E0197EF3EF8}"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7C2FD2A-C89C-4DC3-BEE4-2B48BE61C6F6}"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F76472F8-23C8-4AEE-B283-9E0FBC1E9703}">
      <dgm:prSet custT="1"/>
      <dgm:spPr/>
      <dgm:t>
        <a:bodyPr/>
        <a:lstStyle/>
        <a:p>
          <a:r>
            <a:rPr lang="en-US" sz="2400" baseline="0" dirty="0"/>
            <a:t>Download the latest version of Azure Data Studio.</a:t>
          </a:r>
          <a:endParaRPr lang="en-US" sz="2400" dirty="0"/>
        </a:p>
      </dgm:t>
    </dgm:pt>
    <dgm:pt modelId="{BA987933-15E4-4B3F-8DE8-DC382F7BC15E}" type="parTrans" cxnId="{BE1A6972-7CF7-4E28-9B6F-FE44BC389E73}">
      <dgm:prSet/>
      <dgm:spPr/>
      <dgm:t>
        <a:bodyPr/>
        <a:lstStyle/>
        <a:p>
          <a:endParaRPr lang="en-US"/>
        </a:p>
      </dgm:t>
    </dgm:pt>
    <dgm:pt modelId="{883EB577-113D-4290-B7AB-9B10006DE3B1}" type="sibTrans" cxnId="{BE1A6972-7CF7-4E28-9B6F-FE44BC389E73}">
      <dgm:prSet/>
      <dgm:spPr/>
      <dgm:t>
        <a:bodyPr/>
        <a:lstStyle/>
        <a:p>
          <a:endParaRPr lang="en-US"/>
        </a:p>
      </dgm:t>
    </dgm:pt>
    <dgm:pt modelId="{EBDE3F7D-2014-4186-88E9-50409272F463}">
      <dgm:prSet custT="1"/>
      <dgm:spPr/>
      <dgm:t>
        <a:bodyPr/>
        <a:lstStyle/>
        <a:p>
          <a:r>
            <a:rPr lang="en-US" sz="2400" baseline="0" dirty="0"/>
            <a:t>Get the fully qualified domain name of your Azure SQL Server.</a:t>
          </a:r>
          <a:endParaRPr lang="en-US" sz="2400" dirty="0"/>
        </a:p>
      </dgm:t>
    </dgm:pt>
    <dgm:pt modelId="{1070FC47-BFF3-472F-BC94-3D008A813653}" type="parTrans" cxnId="{29757A93-ECC8-420A-9270-E98FA1875225}">
      <dgm:prSet/>
      <dgm:spPr/>
      <dgm:t>
        <a:bodyPr/>
        <a:lstStyle/>
        <a:p>
          <a:endParaRPr lang="en-US"/>
        </a:p>
      </dgm:t>
    </dgm:pt>
    <dgm:pt modelId="{59F297A8-070C-47F5-AFDA-2D35216788EF}" type="sibTrans" cxnId="{29757A93-ECC8-420A-9270-E98FA1875225}">
      <dgm:prSet/>
      <dgm:spPr/>
      <dgm:t>
        <a:bodyPr/>
        <a:lstStyle/>
        <a:p>
          <a:endParaRPr lang="en-US"/>
        </a:p>
      </dgm:t>
    </dgm:pt>
    <dgm:pt modelId="{B7E4883F-D8AD-4D26-9B88-2DF91BF394D3}">
      <dgm:prSet custT="1"/>
      <dgm:spPr/>
      <dgm:t>
        <a:bodyPr/>
        <a:lstStyle/>
        <a:p>
          <a:r>
            <a:rPr lang="en-US" sz="2400" baseline="0" dirty="0"/>
            <a:t>Connect to your SQL Database.</a:t>
          </a:r>
          <a:endParaRPr lang="en-US" sz="2400" dirty="0"/>
        </a:p>
      </dgm:t>
    </dgm:pt>
    <dgm:pt modelId="{A10CB7DB-BDD6-44AE-9191-664B76EADF29}" type="parTrans" cxnId="{8865DF5E-A060-4AB6-97A9-85426E761B17}">
      <dgm:prSet/>
      <dgm:spPr/>
      <dgm:t>
        <a:bodyPr/>
        <a:lstStyle/>
        <a:p>
          <a:endParaRPr lang="en-US"/>
        </a:p>
      </dgm:t>
    </dgm:pt>
    <dgm:pt modelId="{AED51321-28F6-48C5-B9E3-D76511381135}" type="sibTrans" cxnId="{8865DF5E-A060-4AB6-97A9-85426E761B17}">
      <dgm:prSet/>
      <dgm:spPr/>
      <dgm:t>
        <a:bodyPr/>
        <a:lstStyle/>
        <a:p>
          <a:endParaRPr lang="en-US"/>
        </a:p>
      </dgm:t>
    </dgm:pt>
    <dgm:pt modelId="{4C9FD00A-A2EE-4FA5-8BB8-2A57ADD6A020}" type="pres">
      <dgm:prSet presAssocID="{17C2FD2A-C89C-4DC3-BEE4-2B48BE61C6F6}" presName="linear" presStyleCnt="0">
        <dgm:presLayoutVars>
          <dgm:animLvl val="lvl"/>
          <dgm:resizeHandles val="exact"/>
        </dgm:presLayoutVars>
      </dgm:prSet>
      <dgm:spPr/>
    </dgm:pt>
    <dgm:pt modelId="{4C2F4D03-82E3-410D-AE1C-F4DC5A02FDB5}" type="pres">
      <dgm:prSet presAssocID="{F76472F8-23C8-4AEE-B283-9E0FBC1E9703}" presName="parentText" presStyleLbl="node1" presStyleIdx="0" presStyleCnt="3">
        <dgm:presLayoutVars>
          <dgm:chMax val="0"/>
          <dgm:bulletEnabled val="1"/>
        </dgm:presLayoutVars>
      </dgm:prSet>
      <dgm:spPr/>
    </dgm:pt>
    <dgm:pt modelId="{B8D4CF9F-3C10-4F1A-AC20-1686F5AB0E68}" type="pres">
      <dgm:prSet presAssocID="{883EB577-113D-4290-B7AB-9B10006DE3B1}" presName="spacer" presStyleCnt="0"/>
      <dgm:spPr/>
    </dgm:pt>
    <dgm:pt modelId="{DFCEC8D6-C26F-495E-AC5C-9BEB1ECDF769}" type="pres">
      <dgm:prSet presAssocID="{EBDE3F7D-2014-4186-88E9-50409272F463}" presName="parentText" presStyleLbl="node1" presStyleIdx="1" presStyleCnt="3">
        <dgm:presLayoutVars>
          <dgm:chMax val="0"/>
          <dgm:bulletEnabled val="1"/>
        </dgm:presLayoutVars>
      </dgm:prSet>
      <dgm:spPr/>
    </dgm:pt>
    <dgm:pt modelId="{0DC984E8-5249-4447-8D31-1E3AA29FE17D}" type="pres">
      <dgm:prSet presAssocID="{59F297A8-070C-47F5-AFDA-2D35216788EF}" presName="spacer" presStyleCnt="0"/>
      <dgm:spPr/>
    </dgm:pt>
    <dgm:pt modelId="{B568A779-12BD-47BB-993A-F152A78BC6D6}" type="pres">
      <dgm:prSet presAssocID="{B7E4883F-D8AD-4D26-9B88-2DF91BF394D3}" presName="parentText" presStyleLbl="node1" presStyleIdx="2" presStyleCnt="3">
        <dgm:presLayoutVars>
          <dgm:chMax val="0"/>
          <dgm:bulletEnabled val="1"/>
        </dgm:presLayoutVars>
      </dgm:prSet>
      <dgm:spPr/>
    </dgm:pt>
  </dgm:ptLst>
  <dgm:cxnLst>
    <dgm:cxn modelId="{8865DF5E-A060-4AB6-97A9-85426E761B17}" srcId="{17C2FD2A-C89C-4DC3-BEE4-2B48BE61C6F6}" destId="{B7E4883F-D8AD-4D26-9B88-2DF91BF394D3}" srcOrd="2" destOrd="0" parTransId="{A10CB7DB-BDD6-44AE-9191-664B76EADF29}" sibTransId="{AED51321-28F6-48C5-B9E3-D76511381135}"/>
    <dgm:cxn modelId="{53B66C6A-418D-42DE-B75F-82DF45E40553}" type="presOf" srcId="{B7E4883F-D8AD-4D26-9B88-2DF91BF394D3}" destId="{B568A779-12BD-47BB-993A-F152A78BC6D6}" srcOrd="0" destOrd="0" presId="urn:microsoft.com/office/officeart/2005/8/layout/vList2"/>
    <dgm:cxn modelId="{BE1A6972-7CF7-4E28-9B6F-FE44BC389E73}" srcId="{17C2FD2A-C89C-4DC3-BEE4-2B48BE61C6F6}" destId="{F76472F8-23C8-4AEE-B283-9E0FBC1E9703}" srcOrd="0" destOrd="0" parTransId="{BA987933-15E4-4B3F-8DE8-DC382F7BC15E}" sibTransId="{883EB577-113D-4290-B7AB-9B10006DE3B1}"/>
    <dgm:cxn modelId="{29757A93-ECC8-420A-9270-E98FA1875225}" srcId="{17C2FD2A-C89C-4DC3-BEE4-2B48BE61C6F6}" destId="{EBDE3F7D-2014-4186-88E9-50409272F463}" srcOrd="1" destOrd="0" parTransId="{1070FC47-BFF3-472F-BC94-3D008A813653}" sibTransId="{59F297A8-070C-47F5-AFDA-2D35216788EF}"/>
    <dgm:cxn modelId="{7F479999-0CE4-493C-97A8-BD93A0D7AD80}" type="presOf" srcId="{17C2FD2A-C89C-4DC3-BEE4-2B48BE61C6F6}" destId="{4C9FD00A-A2EE-4FA5-8BB8-2A57ADD6A020}" srcOrd="0" destOrd="0" presId="urn:microsoft.com/office/officeart/2005/8/layout/vList2"/>
    <dgm:cxn modelId="{18ACCDA3-9EEB-4258-90A1-88BF41776792}" type="presOf" srcId="{F76472F8-23C8-4AEE-B283-9E0FBC1E9703}" destId="{4C2F4D03-82E3-410D-AE1C-F4DC5A02FDB5}" srcOrd="0" destOrd="0" presId="urn:microsoft.com/office/officeart/2005/8/layout/vList2"/>
    <dgm:cxn modelId="{0E05C0AD-D6EA-4793-B913-689989D3CF1F}" type="presOf" srcId="{EBDE3F7D-2014-4186-88E9-50409272F463}" destId="{DFCEC8D6-C26F-495E-AC5C-9BEB1ECDF769}" srcOrd="0" destOrd="0" presId="urn:microsoft.com/office/officeart/2005/8/layout/vList2"/>
    <dgm:cxn modelId="{A6E396BE-B9D0-440D-B71A-F378D224330B}" type="presParOf" srcId="{4C9FD00A-A2EE-4FA5-8BB8-2A57ADD6A020}" destId="{4C2F4D03-82E3-410D-AE1C-F4DC5A02FDB5}" srcOrd="0" destOrd="0" presId="urn:microsoft.com/office/officeart/2005/8/layout/vList2"/>
    <dgm:cxn modelId="{4C808896-AB57-446F-9648-1EB5FF9A67DF}" type="presParOf" srcId="{4C9FD00A-A2EE-4FA5-8BB8-2A57ADD6A020}" destId="{B8D4CF9F-3C10-4F1A-AC20-1686F5AB0E68}" srcOrd="1" destOrd="0" presId="urn:microsoft.com/office/officeart/2005/8/layout/vList2"/>
    <dgm:cxn modelId="{BA924966-9EF1-41EB-A061-4CA98E8A2B53}" type="presParOf" srcId="{4C9FD00A-A2EE-4FA5-8BB8-2A57ADD6A020}" destId="{DFCEC8D6-C26F-495E-AC5C-9BEB1ECDF769}" srcOrd="2" destOrd="0" presId="urn:microsoft.com/office/officeart/2005/8/layout/vList2"/>
    <dgm:cxn modelId="{25111691-FCE5-479E-B19E-55B2AC161E59}" type="presParOf" srcId="{4C9FD00A-A2EE-4FA5-8BB8-2A57ADD6A020}" destId="{0DC984E8-5249-4447-8D31-1E3AA29FE17D}" srcOrd="3" destOrd="0" presId="urn:microsoft.com/office/officeart/2005/8/layout/vList2"/>
    <dgm:cxn modelId="{FB4AEA56-D20C-4362-97C4-75303C977F87}" type="presParOf" srcId="{4C9FD00A-A2EE-4FA5-8BB8-2A57ADD6A020}" destId="{B568A779-12BD-47BB-993A-F152A78BC6D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1D9399-7667-4E3F-9C6F-ED74215FF152}"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6622C38D-CA4D-4395-A05B-CE2E807273EA}">
      <dgm:prSet custT="1"/>
      <dgm:spPr>
        <a:xfrm>
          <a:off x="4133480" y="71624"/>
          <a:ext cx="3622601" cy="460800"/>
        </a:xfrm>
      </dgm:spPr>
      <dgm:t>
        <a:bodyPr/>
        <a:lstStyle/>
        <a:p>
          <a:pPr>
            <a:buNone/>
          </a:pPr>
          <a:r>
            <a:rPr lang="nl-BE" sz="1800" b="1" dirty="0">
              <a:latin typeface="Segoe UI"/>
              <a:ea typeface="+mn-ea"/>
              <a:cs typeface="+mn-cs"/>
            </a:rPr>
            <a:t>SQL Server in Azure VM</a:t>
          </a:r>
          <a:endParaRPr lang="en-US" sz="1800" dirty="0">
            <a:latin typeface="Segoe UI"/>
            <a:ea typeface="+mn-ea"/>
            <a:cs typeface="+mn-cs"/>
          </a:endParaRPr>
        </a:p>
      </dgm:t>
    </dgm:pt>
    <dgm:pt modelId="{05DF670A-810F-43AE-AD8A-1168962C2087}" type="parTrans" cxnId="{06F48F80-1D20-49D3-A693-62FFAB75286E}">
      <dgm:prSet/>
      <dgm:spPr/>
      <dgm:t>
        <a:bodyPr/>
        <a:lstStyle/>
        <a:p>
          <a:endParaRPr lang="en-US"/>
        </a:p>
      </dgm:t>
    </dgm:pt>
    <dgm:pt modelId="{C6D3CBF4-C26E-46F4-8E17-0F6641FA2497}" type="sibTrans" cxnId="{06F48F80-1D20-49D3-A693-62FFAB75286E}">
      <dgm:prSet/>
      <dgm:spPr/>
      <dgm:t>
        <a:bodyPr/>
        <a:lstStyle/>
        <a:p>
          <a:endParaRPr lang="en-US"/>
        </a:p>
      </dgm:t>
    </dgm:pt>
    <dgm:pt modelId="{1526D4B6-E7EC-47EA-8CF3-1B7A7A87738D}">
      <dgm:prSet custT="1"/>
      <dgm:spPr>
        <a:xfrm>
          <a:off x="4133480" y="532424"/>
          <a:ext cx="3622601" cy="5228581"/>
        </a:xfrm>
      </dgm:spPr>
      <dgm:t>
        <a:bodyPr/>
        <a:lstStyle/>
        <a:p>
          <a:pPr>
            <a:buChar char="•"/>
          </a:pPr>
          <a:r>
            <a:rPr lang="en-US" sz="1400" dirty="0">
              <a:latin typeface="Segoe UI"/>
              <a:ea typeface="+mn-ea"/>
              <a:cs typeface="+mn-cs"/>
            </a:rPr>
            <a:t>New applications or existing on-premises applications that want to use the latest stable SQL Server features and that are migrated to the cloud with minimal changes.</a:t>
          </a:r>
          <a:endParaRPr lang="nl-BE" sz="1400" dirty="0">
            <a:latin typeface="Segoe UI"/>
            <a:ea typeface="+mn-ea"/>
            <a:cs typeface="+mn-cs"/>
          </a:endParaRPr>
        </a:p>
      </dgm:t>
    </dgm:pt>
    <dgm:pt modelId="{1EFD3C76-03A1-4B0F-97A0-60CD57E7038E}" type="parTrans" cxnId="{17C681BE-8ADC-4186-AD40-6E3AFE5EE7C9}">
      <dgm:prSet/>
      <dgm:spPr/>
      <dgm:t>
        <a:bodyPr/>
        <a:lstStyle/>
        <a:p>
          <a:endParaRPr lang="en-US"/>
        </a:p>
      </dgm:t>
    </dgm:pt>
    <dgm:pt modelId="{49486109-EA05-4877-91C9-D24D498AA2E4}" type="sibTrans" cxnId="{17C681BE-8ADC-4186-AD40-6E3AFE5EE7C9}">
      <dgm:prSet/>
      <dgm:spPr/>
      <dgm:t>
        <a:bodyPr/>
        <a:lstStyle/>
        <a:p>
          <a:endParaRPr lang="en-US"/>
        </a:p>
      </dgm:t>
    </dgm:pt>
    <dgm:pt modelId="{9BC9B252-FAF6-4A55-A635-063A947FBF3F}">
      <dgm:prSet custT="1"/>
      <dgm:spPr>
        <a:xfrm>
          <a:off x="4133480" y="532424"/>
          <a:ext cx="3622601" cy="5228581"/>
        </a:xfrm>
      </dgm:spPr>
      <dgm:t>
        <a:bodyPr/>
        <a:lstStyle/>
        <a:p>
          <a:pPr>
            <a:buChar char="•"/>
          </a:pPr>
          <a:r>
            <a:rPr lang="en-US" sz="1400">
              <a:latin typeface="Segoe UI"/>
              <a:ea typeface="+mn-ea"/>
              <a:cs typeface="+mn-cs"/>
            </a:rPr>
            <a:t>Teams that need built-in high availability, disaster recovery, and upgrade for the database.</a:t>
          </a:r>
        </a:p>
      </dgm:t>
    </dgm:pt>
    <dgm:pt modelId="{36AEC279-A643-4963-9C0F-CD5FB2573E67}" type="parTrans" cxnId="{7D2D0B60-1D00-4246-8E56-7E9A5F240C58}">
      <dgm:prSet/>
      <dgm:spPr/>
      <dgm:t>
        <a:bodyPr/>
        <a:lstStyle/>
        <a:p>
          <a:endParaRPr lang="en-US"/>
        </a:p>
      </dgm:t>
    </dgm:pt>
    <dgm:pt modelId="{62C70245-523E-4E2C-B718-CBD46A00FC16}" type="sibTrans" cxnId="{7D2D0B60-1D00-4246-8E56-7E9A5F240C58}">
      <dgm:prSet/>
      <dgm:spPr/>
      <dgm:t>
        <a:bodyPr/>
        <a:lstStyle/>
        <a:p>
          <a:endParaRPr lang="en-US"/>
        </a:p>
      </dgm:t>
    </dgm:pt>
    <dgm:pt modelId="{0B04F3E7-3650-4961-A057-36BCE8464EA9}">
      <dgm:prSet custT="1"/>
      <dgm:spPr>
        <a:xfrm>
          <a:off x="4133480" y="532424"/>
          <a:ext cx="3622601" cy="5228581"/>
        </a:xfrm>
      </dgm:spPr>
      <dgm:t>
        <a:bodyPr/>
        <a:lstStyle/>
        <a:p>
          <a:pPr>
            <a:buChar char="•"/>
          </a:pPr>
          <a:r>
            <a:rPr lang="en-US" sz="1400" dirty="0">
              <a:latin typeface="Segoe UI"/>
              <a:ea typeface="+mn-ea"/>
              <a:cs typeface="+mn-cs"/>
            </a:rPr>
            <a:t>Teams that do not want to manage the underlying operating system and configuration settings.</a:t>
          </a:r>
        </a:p>
      </dgm:t>
    </dgm:pt>
    <dgm:pt modelId="{30B89EF4-241E-44A8-B45C-76B0C48D5296}" type="parTrans" cxnId="{FDA6B3EB-8030-4271-894A-F53FE53C4986}">
      <dgm:prSet/>
      <dgm:spPr/>
      <dgm:t>
        <a:bodyPr/>
        <a:lstStyle/>
        <a:p>
          <a:endParaRPr lang="en-US"/>
        </a:p>
      </dgm:t>
    </dgm:pt>
    <dgm:pt modelId="{6FEFE518-BA9F-4280-94F5-0E2C7BE6A0CD}" type="sibTrans" cxnId="{FDA6B3EB-8030-4271-894A-F53FE53C4986}">
      <dgm:prSet/>
      <dgm:spPr/>
      <dgm:t>
        <a:bodyPr/>
        <a:lstStyle/>
        <a:p>
          <a:endParaRPr lang="en-US"/>
        </a:p>
      </dgm:t>
    </dgm:pt>
    <dgm:pt modelId="{621B0979-8D61-4574-A3F9-FEF306434B57}">
      <dgm:prSet custT="1"/>
      <dgm:spPr>
        <a:xfrm>
          <a:off x="4133480" y="532424"/>
          <a:ext cx="3622601" cy="5228581"/>
        </a:xfrm>
      </dgm:spPr>
      <dgm:t>
        <a:bodyPr/>
        <a:lstStyle/>
        <a:p>
          <a:pPr>
            <a:buChar char="•"/>
          </a:pPr>
          <a:r>
            <a:rPr lang="en-US" sz="1400">
              <a:latin typeface="Segoe UI"/>
              <a:ea typeface="+mn-ea"/>
              <a:cs typeface="+mn-cs"/>
            </a:rPr>
            <a:t>Databases of up to 8 TB, or larger databases that can be horizontally or vertically partitioned using a scale-out pattern.</a:t>
          </a:r>
          <a:endParaRPr lang="en-US" sz="1400" dirty="0">
            <a:latin typeface="Segoe UI"/>
            <a:ea typeface="+mn-ea"/>
            <a:cs typeface="+mn-cs"/>
          </a:endParaRPr>
        </a:p>
      </dgm:t>
    </dgm:pt>
    <dgm:pt modelId="{DF505AB1-F0EF-45A5-B60C-2BEFD3900E19}" type="parTrans" cxnId="{D1A54EF9-826A-43CE-ACCE-EB3CDBF577AA}">
      <dgm:prSet/>
      <dgm:spPr/>
      <dgm:t>
        <a:bodyPr/>
        <a:lstStyle/>
        <a:p>
          <a:endParaRPr lang="en-US"/>
        </a:p>
      </dgm:t>
    </dgm:pt>
    <dgm:pt modelId="{9BABEA73-6F08-42E6-A75E-763A7C04E977}" type="sibTrans" cxnId="{D1A54EF9-826A-43CE-ACCE-EB3CDBF577AA}">
      <dgm:prSet/>
      <dgm:spPr/>
      <dgm:t>
        <a:bodyPr/>
        <a:lstStyle/>
        <a:p>
          <a:endParaRPr lang="en-US"/>
        </a:p>
      </dgm:t>
    </dgm:pt>
    <dgm:pt modelId="{3E604CBF-D3E8-4636-9D8A-149C0773CC8F}">
      <dgm:prSet custT="1"/>
      <dgm:spPr>
        <a:xfrm>
          <a:off x="4133480" y="532424"/>
          <a:ext cx="3622601" cy="5228581"/>
        </a:xfrm>
      </dgm:spPr>
      <dgm:t>
        <a:bodyPr/>
        <a:lstStyle/>
        <a:p>
          <a:pPr>
            <a:buChar char="•"/>
          </a:pPr>
          <a:endParaRPr lang="nl-BE" sz="1400">
            <a:solidFill>
              <a:srgbClr val="505050"/>
            </a:solidFill>
            <a:latin typeface="Segoe UI"/>
            <a:ea typeface="+mn-ea"/>
            <a:cs typeface="+mn-cs"/>
          </a:endParaRPr>
        </a:p>
      </dgm:t>
    </dgm:pt>
    <dgm:pt modelId="{4C1F5967-D32D-4FB6-B82D-5F08E78C5D61}" type="parTrans" cxnId="{6F3D24BD-DB60-4890-AF54-1A62F00A33E4}">
      <dgm:prSet/>
      <dgm:spPr/>
      <dgm:t>
        <a:bodyPr/>
        <a:lstStyle/>
        <a:p>
          <a:endParaRPr lang="en-US"/>
        </a:p>
      </dgm:t>
    </dgm:pt>
    <dgm:pt modelId="{35EAD70B-24B7-4FE8-8721-C14ADA98EACB}" type="sibTrans" cxnId="{6F3D24BD-DB60-4890-AF54-1A62F00A33E4}">
      <dgm:prSet/>
      <dgm:spPr/>
      <dgm:t>
        <a:bodyPr/>
        <a:lstStyle/>
        <a:p>
          <a:endParaRPr lang="en-US"/>
        </a:p>
      </dgm:t>
    </dgm:pt>
    <dgm:pt modelId="{42D739D5-2C42-4586-8DF9-0EC85D4DD939}">
      <dgm:prSet custT="1"/>
      <dgm:spPr>
        <a:xfrm>
          <a:off x="4133480" y="532424"/>
          <a:ext cx="3622601" cy="5228581"/>
        </a:xfrm>
      </dgm:spPr>
      <dgm:t>
        <a:bodyPr/>
        <a:lstStyle/>
        <a:p>
          <a:pPr>
            <a:buChar char="•"/>
          </a:pPr>
          <a:endParaRPr lang="en-US" sz="1400">
            <a:solidFill>
              <a:srgbClr val="505050"/>
            </a:solidFill>
            <a:latin typeface="Segoe UI"/>
            <a:ea typeface="+mn-ea"/>
            <a:cs typeface="+mn-cs"/>
          </a:endParaRPr>
        </a:p>
      </dgm:t>
    </dgm:pt>
    <dgm:pt modelId="{26158B57-53BD-4445-B4BF-A9C8C9936C39}" type="parTrans" cxnId="{62C06C09-BB70-4F3E-8B5B-ACE88502421E}">
      <dgm:prSet/>
      <dgm:spPr/>
      <dgm:t>
        <a:bodyPr/>
        <a:lstStyle/>
        <a:p>
          <a:endParaRPr lang="en-US"/>
        </a:p>
      </dgm:t>
    </dgm:pt>
    <dgm:pt modelId="{92A4B315-D734-4C22-AA18-518A61B80F6A}" type="sibTrans" cxnId="{62C06C09-BB70-4F3E-8B5B-ACE88502421E}">
      <dgm:prSet/>
      <dgm:spPr/>
      <dgm:t>
        <a:bodyPr/>
        <a:lstStyle/>
        <a:p>
          <a:endParaRPr lang="en-US"/>
        </a:p>
      </dgm:t>
    </dgm:pt>
    <dgm:pt modelId="{B1C3D9BC-C4EA-4BF6-9B2B-A063D6FC232D}">
      <dgm:prSet custT="1"/>
      <dgm:spPr>
        <a:xfrm>
          <a:off x="4133480" y="532424"/>
          <a:ext cx="3622601" cy="5228581"/>
        </a:xfrm>
      </dgm:spPr>
      <dgm:t>
        <a:bodyPr/>
        <a:lstStyle/>
        <a:p>
          <a:pPr>
            <a:buChar char="•"/>
          </a:pPr>
          <a:endParaRPr lang="en-US" sz="1400">
            <a:solidFill>
              <a:srgbClr val="505050"/>
            </a:solidFill>
            <a:latin typeface="Segoe UI"/>
            <a:ea typeface="+mn-ea"/>
            <a:cs typeface="+mn-cs"/>
          </a:endParaRPr>
        </a:p>
      </dgm:t>
    </dgm:pt>
    <dgm:pt modelId="{8F6F125E-E872-4C12-91A8-B10B490E2940}" type="parTrans" cxnId="{67890775-500C-45EE-A894-0A730FD5281B}">
      <dgm:prSet/>
      <dgm:spPr/>
      <dgm:t>
        <a:bodyPr/>
        <a:lstStyle/>
        <a:p>
          <a:endParaRPr lang="en-US"/>
        </a:p>
      </dgm:t>
    </dgm:pt>
    <dgm:pt modelId="{B4AF8B9D-3BEF-4A4F-8BC5-CCA13BD0C613}" type="sibTrans" cxnId="{67890775-500C-45EE-A894-0A730FD5281B}">
      <dgm:prSet/>
      <dgm:spPr/>
      <dgm:t>
        <a:bodyPr/>
        <a:lstStyle/>
        <a:p>
          <a:endParaRPr lang="en-US"/>
        </a:p>
      </dgm:t>
    </dgm:pt>
    <dgm:pt modelId="{88FD2127-41F8-4D56-B458-5020A562CBF6}">
      <dgm:prSet custT="1"/>
      <dgm:spPr>
        <a:xfrm>
          <a:off x="3715" y="483327"/>
          <a:ext cx="3622601" cy="5294043"/>
        </a:xfrm>
      </dgm:spPr>
      <dgm:t>
        <a:bodyPr/>
        <a:lstStyle/>
        <a:p>
          <a:pPr>
            <a:buChar char="•"/>
          </a:pPr>
          <a:r>
            <a:rPr lang="en-US" sz="1400" dirty="0">
              <a:latin typeface="Segoe UI"/>
              <a:ea typeface="+mn-ea"/>
              <a:cs typeface="+mn-cs"/>
            </a:rPr>
            <a:t>New cloud-designed applications that want to use the latest stable SQL Server features and have time constraints in development and marketing.</a:t>
          </a:r>
          <a:endParaRPr lang="nl-BE" sz="1400" dirty="0">
            <a:latin typeface="Segoe UI"/>
            <a:ea typeface="+mn-ea"/>
            <a:cs typeface="+mn-cs"/>
          </a:endParaRPr>
        </a:p>
      </dgm:t>
    </dgm:pt>
    <dgm:pt modelId="{19D840C7-E747-49DA-B0D1-B6A926FE6C2F}" type="parTrans" cxnId="{EC8FFFA8-2EBC-4671-991B-4105C08CB3E1}">
      <dgm:prSet/>
      <dgm:spPr/>
      <dgm:t>
        <a:bodyPr/>
        <a:lstStyle/>
        <a:p>
          <a:endParaRPr lang="en-US"/>
        </a:p>
      </dgm:t>
    </dgm:pt>
    <dgm:pt modelId="{2A283F15-43B8-494F-8A60-F59B92212255}" type="sibTrans" cxnId="{EC8FFFA8-2EBC-4671-991B-4105C08CB3E1}">
      <dgm:prSet/>
      <dgm:spPr/>
      <dgm:t>
        <a:bodyPr/>
        <a:lstStyle/>
        <a:p>
          <a:endParaRPr lang="en-US"/>
        </a:p>
      </dgm:t>
    </dgm:pt>
    <dgm:pt modelId="{E53DAADF-D316-49D8-8FDB-19104076CC0B}">
      <dgm:prSet custT="1"/>
      <dgm:spPr>
        <a:xfrm>
          <a:off x="3715" y="483327"/>
          <a:ext cx="3622601" cy="5294043"/>
        </a:xfrm>
      </dgm:spPr>
      <dgm:t>
        <a:bodyPr/>
        <a:lstStyle/>
        <a:p>
          <a:pPr>
            <a:buChar char="•"/>
          </a:pPr>
          <a:endParaRPr lang="nl-BE" sz="1400" dirty="0">
            <a:solidFill>
              <a:srgbClr val="505050"/>
            </a:solidFill>
            <a:latin typeface="Segoe UI"/>
            <a:ea typeface="+mn-ea"/>
            <a:cs typeface="+mn-cs"/>
          </a:endParaRPr>
        </a:p>
      </dgm:t>
    </dgm:pt>
    <dgm:pt modelId="{44ED94C6-8130-4242-B14A-8A766702F68C}" type="parTrans" cxnId="{957BB1BD-9B1B-4CDA-85AB-2836CBA0D0A9}">
      <dgm:prSet/>
      <dgm:spPr/>
      <dgm:t>
        <a:bodyPr/>
        <a:lstStyle/>
        <a:p>
          <a:endParaRPr lang="en-US"/>
        </a:p>
      </dgm:t>
    </dgm:pt>
    <dgm:pt modelId="{8162D763-CEDD-4A8D-9ECE-D61BC97DCA1E}" type="sibTrans" cxnId="{957BB1BD-9B1B-4CDA-85AB-2836CBA0D0A9}">
      <dgm:prSet/>
      <dgm:spPr/>
      <dgm:t>
        <a:bodyPr/>
        <a:lstStyle/>
        <a:p>
          <a:endParaRPr lang="en-US"/>
        </a:p>
      </dgm:t>
    </dgm:pt>
    <dgm:pt modelId="{E9DAE887-AB35-47F8-8B1D-69D30668D3BD}">
      <dgm:prSet custT="1"/>
      <dgm:spPr>
        <a:xfrm>
          <a:off x="3715" y="483327"/>
          <a:ext cx="3622601" cy="5294043"/>
        </a:xfrm>
      </dgm:spPr>
      <dgm:t>
        <a:bodyPr/>
        <a:lstStyle/>
        <a:p>
          <a:pPr>
            <a:buChar char="•"/>
          </a:pPr>
          <a:r>
            <a:rPr lang="en-US" sz="1400" dirty="0">
              <a:latin typeface="Segoe UI"/>
              <a:ea typeface="+mn-ea"/>
              <a:cs typeface="+mn-cs"/>
            </a:rPr>
            <a:t>Teams that need built-in high availability, disaster recovery, and upgrade for the database.</a:t>
          </a:r>
        </a:p>
      </dgm:t>
    </dgm:pt>
    <dgm:pt modelId="{2793E381-B118-44AE-9E49-8EF49B9A21F1}" type="parTrans" cxnId="{B7AD77FA-4EA3-440C-BCE3-EACCC80ABAC8}">
      <dgm:prSet/>
      <dgm:spPr/>
      <dgm:t>
        <a:bodyPr/>
        <a:lstStyle/>
        <a:p>
          <a:endParaRPr lang="en-US"/>
        </a:p>
      </dgm:t>
    </dgm:pt>
    <dgm:pt modelId="{F4F3F9F7-2E6C-4453-B259-26CFBAE70BD5}" type="sibTrans" cxnId="{B7AD77FA-4EA3-440C-BCE3-EACCC80ABAC8}">
      <dgm:prSet/>
      <dgm:spPr/>
      <dgm:t>
        <a:bodyPr/>
        <a:lstStyle/>
        <a:p>
          <a:endParaRPr lang="en-US"/>
        </a:p>
      </dgm:t>
    </dgm:pt>
    <dgm:pt modelId="{34AB325B-B668-447A-83BD-D640DF2BCDCC}">
      <dgm:prSet custT="1"/>
      <dgm:spPr>
        <a:xfrm>
          <a:off x="3715" y="483327"/>
          <a:ext cx="3622601" cy="5294043"/>
        </a:xfrm>
      </dgm:spPr>
      <dgm:t>
        <a:bodyPr/>
        <a:lstStyle/>
        <a:p>
          <a:pPr>
            <a:buChar char="•"/>
          </a:pPr>
          <a:endParaRPr lang="en-US" sz="1400" dirty="0">
            <a:solidFill>
              <a:srgbClr val="505050"/>
            </a:solidFill>
            <a:latin typeface="Segoe UI"/>
            <a:ea typeface="+mn-ea"/>
            <a:cs typeface="+mn-cs"/>
          </a:endParaRPr>
        </a:p>
      </dgm:t>
    </dgm:pt>
    <dgm:pt modelId="{EE713FFE-D592-4591-A925-58EBCD4DC301}" type="parTrans" cxnId="{D781B4ED-5F5A-451B-8BB0-303B4855A5B6}">
      <dgm:prSet/>
      <dgm:spPr/>
      <dgm:t>
        <a:bodyPr/>
        <a:lstStyle/>
        <a:p>
          <a:endParaRPr lang="en-US"/>
        </a:p>
      </dgm:t>
    </dgm:pt>
    <dgm:pt modelId="{92AEF957-BC27-4560-9553-65204E8DC6B9}" type="sibTrans" cxnId="{D781B4ED-5F5A-451B-8BB0-303B4855A5B6}">
      <dgm:prSet/>
      <dgm:spPr/>
      <dgm:t>
        <a:bodyPr/>
        <a:lstStyle/>
        <a:p>
          <a:endParaRPr lang="en-US"/>
        </a:p>
      </dgm:t>
    </dgm:pt>
    <dgm:pt modelId="{68C1B624-1BC3-49F7-B4AB-EC3FC7374C4A}">
      <dgm:prSet custT="1"/>
      <dgm:spPr>
        <a:xfrm>
          <a:off x="3715" y="483327"/>
          <a:ext cx="3622601" cy="5294043"/>
        </a:xfrm>
      </dgm:spPr>
      <dgm:t>
        <a:bodyPr/>
        <a:lstStyle/>
        <a:p>
          <a:pPr>
            <a:buChar char="•"/>
          </a:pPr>
          <a:r>
            <a:rPr lang="en-US" sz="1400" dirty="0">
              <a:latin typeface="Segoe UI"/>
              <a:ea typeface="+mn-ea"/>
              <a:cs typeface="+mn-cs"/>
            </a:rPr>
            <a:t>Teams that do not want to manage the underlying operating system and configuration settings.</a:t>
          </a:r>
        </a:p>
      </dgm:t>
    </dgm:pt>
    <dgm:pt modelId="{1965D53B-23A6-4656-B33A-658E0D7B9518}" type="parTrans" cxnId="{A80AFE2F-0F04-4571-B61C-2BFC5D0F4D81}">
      <dgm:prSet/>
      <dgm:spPr/>
      <dgm:t>
        <a:bodyPr/>
        <a:lstStyle/>
        <a:p>
          <a:endParaRPr lang="en-US"/>
        </a:p>
      </dgm:t>
    </dgm:pt>
    <dgm:pt modelId="{43401577-5871-4CAB-92C0-0CA4658A253D}" type="sibTrans" cxnId="{A80AFE2F-0F04-4571-B61C-2BFC5D0F4D81}">
      <dgm:prSet/>
      <dgm:spPr/>
      <dgm:t>
        <a:bodyPr/>
        <a:lstStyle/>
        <a:p>
          <a:endParaRPr lang="en-US"/>
        </a:p>
      </dgm:t>
    </dgm:pt>
    <dgm:pt modelId="{9B062E4F-027A-4BC1-B189-1325A1017D91}">
      <dgm:prSet custT="1"/>
      <dgm:spPr>
        <a:xfrm>
          <a:off x="3715" y="483327"/>
          <a:ext cx="3622601" cy="5294043"/>
        </a:xfrm>
      </dgm:spPr>
      <dgm:t>
        <a:bodyPr/>
        <a:lstStyle/>
        <a:p>
          <a:pPr>
            <a:buChar char="•"/>
          </a:pPr>
          <a:endParaRPr lang="en-US" sz="1400" dirty="0">
            <a:solidFill>
              <a:srgbClr val="505050"/>
            </a:solidFill>
            <a:latin typeface="Segoe UI"/>
            <a:ea typeface="+mn-ea"/>
            <a:cs typeface="+mn-cs"/>
          </a:endParaRPr>
        </a:p>
      </dgm:t>
    </dgm:pt>
    <dgm:pt modelId="{09278422-9671-4CF2-B871-91220D963609}" type="parTrans" cxnId="{2AA2CA69-0C4D-4725-89C7-504F27796067}">
      <dgm:prSet/>
      <dgm:spPr/>
      <dgm:t>
        <a:bodyPr/>
        <a:lstStyle/>
        <a:p>
          <a:endParaRPr lang="en-US"/>
        </a:p>
      </dgm:t>
    </dgm:pt>
    <dgm:pt modelId="{7710DDA1-ECB8-4569-93B5-461AC0534BEF}" type="sibTrans" cxnId="{2AA2CA69-0C4D-4725-89C7-504F27796067}">
      <dgm:prSet/>
      <dgm:spPr/>
      <dgm:t>
        <a:bodyPr/>
        <a:lstStyle/>
        <a:p>
          <a:endParaRPr lang="en-US"/>
        </a:p>
      </dgm:t>
    </dgm:pt>
    <dgm:pt modelId="{C6663E03-060E-483E-AB41-1EFD3673E3EB}">
      <dgm:prSet custT="1"/>
      <dgm:spPr>
        <a:xfrm>
          <a:off x="3715" y="483327"/>
          <a:ext cx="3622601" cy="5294043"/>
        </a:xfrm>
      </dgm:spPr>
      <dgm:t>
        <a:bodyPr/>
        <a:lstStyle/>
        <a:p>
          <a:pPr>
            <a:buChar char="•"/>
          </a:pPr>
          <a:r>
            <a:rPr lang="en-US" sz="1400" dirty="0">
              <a:latin typeface="Segoe UI"/>
              <a:ea typeface="+mn-ea"/>
              <a:cs typeface="+mn-cs"/>
            </a:rPr>
            <a:t>Databases of up to 4 TB, or larger databases that can be horizontally or vertically partitioned using a scale-out pattern.</a:t>
          </a:r>
        </a:p>
      </dgm:t>
    </dgm:pt>
    <dgm:pt modelId="{80A09DFD-2727-4A36-9181-29838B880385}" type="parTrans" cxnId="{0064ABC9-CAB4-4C49-AC4A-A6B4BDBEA037}">
      <dgm:prSet/>
      <dgm:spPr/>
      <dgm:t>
        <a:bodyPr/>
        <a:lstStyle/>
        <a:p>
          <a:endParaRPr lang="en-US"/>
        </a:p>
      </dgm:t>
    </dgm:pt>
    <dgm:pt modelId="{E9DDF333-46A3-45B3-8462-C512913D5D83}" type="sibTrans" cxnId="{0064ABC9-CAB4-4C49-AC4A-A6B4BDBEA037}">
      <dgm:prSet/>
      <dgm:spPr/>
      <dgm:t>
        <a:bodyPr/>
        <a:lstStyle/>
        <a:p>
          <a:endParaRPr lang="en-US"/>
        </a:p>
      </dgm:t>
    </dgm:pt>
    <dgm:pt modelId="{B6819062-AB24-45FA-85B5-B182FC29FFF8}">
      <dgm:prSet custT="1"/>
      <dgm:spPr>
        <a:xfrm>
          <a:off x="8263246" y="532424"/>
          <a:ext cx="3622601" cy="5228581"/>
        </a:xfrm>
      </dgm:spPr>
      <dgm:t>
        <a:bodyPr/>
        <a:lstStyle/>
        <a:p>
          <a:pPr>
            <a:buChar char="•"/>
          </a:pPr>
          <a:r>
            <a:rPr lang="nl-BE" sz="1800" b="1" dirty="0">
              <a:latin typeface="Segoe UI"/>
              <a:ea typeface="+mn-ea"/>
              <a:cs typeface="+mn-cs"/>
            </a:rPr>
            <a:t>Azure SQL Datababase</a:t>
          </a:r>
          <a:endParaRPr lang="en-US" sz="1800" dirty="0">
            <a:latin typeface="Segoe UI"/>
            <a:ea typeface="+mn-ea"/>
            <a:cs typeface="+mn-cs"/>
          </a:endParaRPr>
        </a:p>
      </dgm:t>
    </dgm:pt>
    <dgm:pt modelId="{64348D9E-48BA-40C9-A70A-7736298C9B39}" type="parTrans" cxnId="{5305DDFA-D7A7-463B-B56D-7A009F1E7A99}">
      <dgm:prSet/>
      <dgm:spPr/>
      <dgm:t>
        <a:bodyPr/>
        <a:lstStyle/>
        <a:p>
          <a:endParaRPr lang="en-US"/>
        </a:p>
      </dgm:t>
    </dgm:pt>
    <dgm:pt modelId="{09EE4DD4-D24D-40F2-9D55-02EC9A5CDDC6}" type="sibTrans" cxnId="{5305DDFA-D7A7-463B-B56D-7A009F1E7A99}">
      <dgm:prSet/>
      <dgm:spPr/>
      <dgm:t>
        <a:bodyPr/>
        <a:lstStyle/>
        <a:p>
          <a:endParaRPr lang="en-US"/>
        </a:p>
      </dgm:t>
    </dgm:pt>
    <dgm:pt modelId="{EE6F4CFD-6E77-4B00-9445-13626E116585}">
      <dgm:prSet custT="1"/>
      <dgm:spPr>
        <a:xfrm>
          <a:off x="4133480" y="71624"/>
          <a:ext cx="3622601" cy="460800"/>
        </a:xfrm>
      </dgm:spPr>
      <dgm:t>
        <a:bodyPr/>
        <a:lstStyle/>
        <a:p>
          <a:pPr>
            <a:buChar char="•"/>
          </a:pPr>
          <a:r>
            <a:rPr lang="en-US" sz="1400" dirty="0">
              <a:latin typeface="Segoe UI"/>
              <a:ea typeface="+mn-ea"/>
              <a:cs typeface="+mn-cs"/>
            </a:rPr>
            <a:t>Existing applications that require fast migration to the cloud with minimal changes or no changes.</a:t>
          </a:r>
          <a:endParaRPr lang="nl-BE" sz="1400" dirty="0">
            <a:latin typeface="Segoe UI"/>
            <a:ea typeface="+mn-ea"/>
            <a:cs typeface="+mn-cs"/>
          </a:endParaRPr>
        </a:p>
      </dgm:t>
    </dgm:pt>
    <dgm:pt modelId="{404AB862-62D0-417F-B541-95688E882B40}" type="parTrans" cxnId="{6E420A6F-91A4-492F-8718-24E6B862980A}">
      <dgm:prSet/>
      <dgm:spPr/>
      <dgm:t>
        <a:bodyPr/>
        <a:lstStyle/>
        <a:p>
          <a:endParaRPr lang="en-US"/>
        </a:p>
      </dgm:t>
    </dgm:pt>
    <dgm:pt modelId="{FB378A0E-CE3B-4D54-A5F6-34D66D72EE69}" type="sibTrans" cxnId="{6E420A6F-91A4-492F-8718-24E6B862980A}">
      <dgm:prSet/>
      <dgm:spPr/>
      <dgm:t>
        <a:bodyPr/>
        <a:lstStyle/>
        <a:p>
          <a:endParaRPr lang="en-US"/>
        </a:p>
      </dgm:t>
    </dgm:pt>
    <dgm:pt modelId="{F435DC69-C0F5-49B1-A7C9-535D8DE4474A}">
      <dgm:prSet custT="1"/>
      <dgm:spPr>
        <a:xfrm>
          <a:off x="4133480" y="71624"/>
          <a:ext cx="3622601" cy="460800"/>
        </a:xfrm>
      </dgm:spPr>
      <dgm:t>
        <a:bodyPr/>
        <a:lstStyle/>
        <a:p>
          <a:pPr>
            <a:buChar char="•"/>
          </a:pPr>
          <a:endParaRPr lang="nl-BE" sz="1400" dirty="0">
            <a:solidFill>
              <a:srgbClr val="505050"/>
            </a:solidFill>
            <a:latin typeface="Segoe UI"/>
            <a:ea typeface="+mn-ea"/>
            <a:cs typeface="+mn-cs"/>
          </a:endParaRPr>
        </a:p>
      </dgm:t>
    </dgm:pt>
    <dgm:pt modelId="{951AB178-793C-468A-BC16-6A4B5082E901}" type="parTrans" cxnId="{10CECB0C-7443-4EE9-8C9E-72B56B0F540E}">
      <dgm:prSet/>
      <dgm:spPr/>
      <dgm:t>
        <a:bodyPr/>
        <a:lstStyle/>
        <a:p>
          <a:endParaRPr lang="en-US"/>
        </a:p>
      </dgm:t>
    </dgm:pt>
    <dgm:pt modelId="{2AFE8B10-3804-4F5B-AFFB-8E39276614BF}" type="sibTrans" cxnId="{10CECB0C-7443-4EE9-8C9E-72B56B0F540E}">
      <dgm:prSet/>
      <dgm:spPr/>
      <dgm:t>
        <a:bodyPr/>
        <a:lstStyle/>
        <a:p>
          <a:endParaRPr lang="en-US"/>
        </a:p>
      </dgm:t>
    </dgm:pt>
    <dgm:pt modelId="{F369171B-98B9-499F-96EF-F8C31A19A2F4}">
      <dgm:prSet custT="1"/>
      <dgm:spPr>
        <a:xfrm>
          <a:off x="4133480" y="71624"/>
          <a:ext cx="3622601" cy="460800"/>
        </a:xfrm>
      </dgm:spPr>
      <dgm:t>
        <a:bodyPr/>
        <a:lstStyle/>
        <a:p>
          <a:pPr>
            <a:buChar char="•"/>
          </a:pPr>
          <a:r>
            <a:rPr lang="en-US" sz="1400" dirty="0">
              <a:latin typeface="Segoe UI"/>
              <a:ea typeface="+mn-ea"/>
              <a:cs typeface="+mn-cs"/>
            </a:rPr>
            <a:t>Teams that can configure, fine tune, customize, and manage high availability, disaster recovery, and patching for SQL Server.</a:t>
          </a:r>
        </a:p>
      </dgm:t>
    </dgm:pt>
    <dgm:pt modelId="{405EFEA8-D33F-478C-8447-24F421B5BCBE}" type="parTrans" cxnId="{F8E04C1F-DFA6-4826-B543-01D44A3C4516}">
      <dgm:prSet/>
      <dgm:spPr/>
      <dgm:t>
        <a:bodyPr/>
        <a:lstStyle/>
        <a:p>
          <a:endParaRPr lang="en-US"/>
        </a:p>
      </dgm:t>
    </dgm:pt>
    <dgm:pt modelId="{735FBBB1-A2D0-49E5-B386-5788AD209CF1}" type="sibTrans" cxnId="{F8E04C1F-DFA6-4826-B543-01D44A3C4516}">
      <dgm:prSet/>
      <dgm:spPr/>
      <dgm:t>
        <a:bodyPr/>
        <a:lstStyle/>
        <a:p>
          <a:endParaRPr lang="en-US"/>
        </a:p>
      </dgm:t>
    </dgm:pt>
    <dgm:pt modelId="{65B02B7D-B4E2-4177-B644-451A89A72984}">
      <dgm:prSet custT="1"/>
      <dgm:spPr>
        <a:xfrm>
          <a:off x="4133480" y="71624"/>
          <a:ext cx="3622601" cy="460800"/>
        </a:xfrm>
      </dgm:spPr>
      <dgm:t>
        <a:bodyPr/>
        <a:lstStyle/>
        <a:p>
          <a:pPr>
            <a:buChar char="•"/>
          </a:pPr>
          <a:endParaRPr lang="en-US" sz="1400" dirty="0">
            <a:solidFill>
              <a:srgbClr val="505050"/>
            </a:solidFill>
            <a:latin typeface="Segoe UI"/>
            <a:ea typeface="+mn-ea"/>
            <a:cs typeface="+mn-cs"/>
          </a:endParaRPr>
        </a:p>
      </dgm:t>
    </dgm:pt>
    <dgm:pt modelId="{95853383-790D-4730-8175-4E65249B625C}" type="parTrans" cxnId="{6B118BB8-461F-4B7E-9C0F-F267F403BB66}">
      <dgm:prSet/>
      <dgm:spPr/>
      <dgm:t>
        <a:bodyPr/>
        <a:lstStyle/>
        <a:p>
          <a:endParaRPr lang="en-US"/>
        </a:p>
      </dgm:t>
    </dgm:pt>
    <dgm:pt modelId="{5C8CF27B-73AC-4E93-AB7D-2E9125CE54A6}" type="sibTrans" cxnId="{6B118BB8-461F-4B7E-9C0F-F267F403BB66}">
      <dgm:prSet/>
      <dgm:spPr/>
      <dgm:t>
        <a:bodyPr/>
        <a:lstStyle/>
        <a:p>
          <a:endParaRPr lang="en-US"/>
        </a:p>
      </dgm:t>
    </dgm:pt>
    <dgm:pt modelId="{4CA9CE44-9A57-4320-B670-F52C0582C39E}">
      <dgm:prSet custT="1"/>
      <dgm:spPr>
        <a:xfrm>
          <a:off x="4133480" y="71624"/>
          <a:ext cx="3622601" cy="460800"/>
        </a:xfrm>
      </dgm:spPr>
      <dgm:t>
        <a:bodyPr/>
        <a:lstStyle/>
        <a:p>
          <a:pPr>
            <a:buChar char="•"/>
          </a:pPr>
          <a:r>
            <a:rPr lang="en-US" sz="1400" dirty="0">
              <a:latin typeface="Segoe UI"/>
              <a:ea typeface="+mn-ea"/>
              <a:cs typeface="+mn-cs"/>
            </a:rPr>
            <a:t>You need a customized environment with full administrative rights.</a:t>
          </a:r>
        </a:p>
      </dgm:t>
    </dgm:pt>
    <dgm:pt modelId="{89916B6C-EBC5-4C6B-9989-B708C143B1F2}" type="parTrans" cxnId="{7338C87A-5DAD-42A0-B8B8-78D6DC1D8479}">
      <dgm:prSet/>
      <dgm:spPr/>
      <dgm:t>
        <a:bodyPr/>
        <a:lstStyle/>
        <a:p>
          <a:endParaRPr lang="en-US"/>
        </a:p>
      </dgm:t>
    </dgm:pt>
    <dgm:pt modelId="{D8B5C90A-E6B3-4B18-9FFD-2410B6C27B23}" type="sibTrans" cxnId="{7338C87A-5DAD-42A0-B8B8-78D6DC1D8479}">
      <dgm:prSet/>
      <dgm:spPr/>
      <dgm:t>
        <a:bodyPr/>
        <a:lstStyle/>
        <a:p>
          <a:endParaRPr lang="en-US"/>
        </a:p>
      </dgm:t>
    </dgm:pt>
    <dgm:pt modelId="{3612E95A-2B03-4D80-97C8-2BAF210601CE}">
      <dgm:prSet custT="1"/>
      <dgm:spPr>
        <a:xfrm>
          <a:off x="4133480" y="71624"/>
          <a:ext cx="3622601" cy="460800"/>
        </a:xfrm>
      </dgm:spPr>
      <dgm:t>
        <a:bodyPr/>
        <a:lstStyle/>
        <a:p>
          <a:pPr>
            <a:buChar char="•"/>
          </a:pPr>
          <a:endParaRPr lang="en-US" sz="1400" dirty="0">
            <a:solidFill>
              <a:srgbClr val="505050"/>
            </a:solidFill>
            <a:latin typeface="Segoe UI"/>
            <a:ea typeface="+mn-ea"/>
            <a:cs typeface="+mn-cs"/>
          </a:endParaRPr>
        </a:p>
      </dgm:t>
    </dgm:pt>
    <dgm:pt modelId="{A1D4F4A8-2B47-44C2-9C41-6F0ADBC1B60D}" type="parTrans" cxnId="{87BEC9C3-44FB-4B09-8F68-AF7022C49159}">
      <dgm:prSet/>
      <dgm:spPr/>
      <dgm:t>
        <a:bodyPr/>
        <a:lstStyle/>
        <a:p>
          <a:endParaRPr lang="en-US"/>
        </a:p>
      </dgm:t>
    </dgm:pt>
    <dgm:pt modelId="{369FC510-7C87-4611-8DA0-7D96D837A6FE}" type="sibTrans" cxnId="{87BEC9C3-44FB-4B09-8F68-AF7022C49159}">
      <dgm:prSet/>
      <dgm:spPr/>
      <dgm:t>
        <a:bodyPr/>
        <a:lstStyle/>
        <a:p>
          <a:endParaRPr lang="en-US"/>
        </a:p>
      </dgm:t>
    </dgm:pt>
    <dgm:pt modelId="{FE393B93-CCFA-4E75-A03C-F57A97B81A31}">
      <dgm:prSet custT="1"/>
      <dgm:spPr>
        <a:xfrm>
          <a:off x="4133480" y="71624"/>
          <a:ext cx="3622601" cy="460800"/>
        </a:xfrm>
      </dgm:spPr>
      <dgm:t>
        <a:bodyPr/>
        <a:lstStyle/>
        <a:p>
          <a:pPr>
            <a:buChar char="•"/>
          </a:pPr>
          <a:r>
            <a:rPr lang="en-US" sz="1400" dirty="0">
              <a:latin typeface="Segoe UI"/>
              <a:ea typeface="+mn-ea"/>
              <a:cs typeface="+mn-cs"/>
            </a:rPr>
            <a:t>SQL Server instances with up to 64 TB of storage. The instance can support as many databases as needed.</a:t>
          </a:r>
        </a:p>
      </dgm:t>
    </dgm:pt>
    <dgm:pt modelId="{F95D099E-DAED-48AB-944A-D2E7CDC77E2C}" type="parTrans" cxnId="{E485357E-2F72-4FF0-BAC7-65616527B136}">
      <dgm:prSet/>
      <dgm:spPr/>
      <dgm:t>
        <a:bodyPr/>
        <a:lstStyle/>
        <a:p>
          <a:endParaRPr lang="en-US"/>
        </a:p>
      </dgm:t>
    </dgm:pt>
    <dgm:pt modelId="{6AB060C7-559E-4F47-9C22-22E0EEFA26CC}" type="sibTrans" cxnId="{E485357E-2F72-4FF0-BAC7-65616527B136}">
      <dgm:prSet/>
      <dgm:spPr/>
      <dgm:t>
        <a:bodyPr/>
        <a:lstStyle/>
        <a:p>
          <a:endParaRPr lang="en-US"/>
        </a:p>
      </dgm:t>
    </dgm:pt>
    <dgm:pt modelId="{6201FA28-2BAD-41E0-97EF-D93219245D77}">
      <dgm:prSet custT="1"/>
      <dgm:spPr>
        <a:xfrm>
          <a:off x="4133480" y="71624"/>
          <a:ext cx="3622601" cy="460800"/>
        </a:xfrm>
      </dgm:spPr>
      <dgm:t>
        <a:bodyPr/>
        <a:lstStyle/>
        <a:p>
          <a:pPr>
            <a:buNone/>
          </a:pPr>
          <a:r>
            <a:rPr lang="nl-BE" sz="1800" b="1" dirty="0">
              <a:latin typeface="Segoe UI"/>
              <a:ea typeface="+mn-ea"/>
              <a:cs typeface="+mn-cs"/>
            </a:rPr>
            <a:t>Managed Instance</a:t>
          </a:r>
          <a:endParaRPr lang="en-US" sz="1800" dirty="0">
            <a:latin typeface="Segoe UI"/>
            <a:ea typeface="+mn-ea"/>
            <a:cs typeface="+mn-cs"/>
          </a:endParaRPr>
        </a:p>
      </dgm:t>
    </dgm:pt>
    <dgm:pt modelId="{08517092-59B0-4A8B-B0F7-FD3D99E2D4ED}" type="parTrans" cxnId="{E70FE163-AAD6-4765-BAC5-A4E5E4111D18}">
      <dgm:prSet/>
      <dgm:spPr/>
      <dgm:t>
        <a:bodyPr/>
        <a:lstStyle/>
        <a:p>
          <a:endParaRPr lang="en-US"/>
        </a:p>
      </dgm:t>
    </dgm:pt>
    <dgm:pt modelId="{0E234811-E1EC-4A03-9D0F-D9417E0DFAFF}" type="sibTrans" cxnId="{E70FE163-AAD6-4765-BAC5-A4E5E4111D18}">
      <dgm:prSet/>
      <dgm:spPr/>
      <dgm:t>
        <a:bodyPr/>
        <a:lstStyle/>
        <a:p>
          <a:endParaRPr lang="en-US"/>
        </a:p>
      </dgm:t>
    </dgm:pt>
    <dgm:pt modelId="{62A09538-0600-42BA-B538-8537C29C80AD}" type="pres">
      <dgm:prSet presAssocID="{9F1D9399-7667-4E3F-9C6F-ED74215FF152}" presName="Name0" presStyleCnt="0">
        <dgm:presLayoutVars>
          <dgm:dir/>
          <dgm:animLvl val="lvl"/>
          <dgm:resizeHandles val="exact"/>
        </dgm:presLayoutVars>
      </dgm:prSet>
      <dgm:spPr/>
    </dgm:pt>
    <dgm:pt modelId="{42B08CCC-2F12-4D98-BCEE-C0123F005EDA}" type="pres">
      <dgm:prSet presAssocID="{6622C38D-CA4D-4395-A05B-CE2E807273EA}" presName="composite" presStyleCnt="0"/>
      <dgm:spPr/>
    </dgm:pt>
    <dgm:pt modelId="{AA30D338-E269-431D-A98C-C0A93B715B27}" type="pres">
      <dgm:prSet presAssocID="{6622C38D-CA4D-4395-A05B-CE2E807273EA}" presName="parTx" presStyleLbl="alignNode1" presStyleIdx="0" presStyleCnt="3">
        <dgm:presLayoutVars>
          <dgm:chMax val="0"/>
          <dgm:chPref val="0"/>
          <dgm:bulletEnabled val="1"/>
        </dgm:presLayoutVars>
      </dgm:prSet>
      <dgm:spPr>
        <a:prstGeom prst="rect">
          <a:avLst/>
        </a:prstGeom>
      </dgm:spPr>
    </dgm:pt>
    <dgm:pt modelId="{F3A57436-5AA8-434C-BF63-BEA0FFE33A10}" type="pres">
      <dgm:prSet presAssocID="{6622C38D-CA4D-4395-A05B-CE2E807273EA}" presName="desTx" presStyleLbl="alignAccFollowNode1" presStyleIdx="0" presStyleCnt="3">
        <dgm:presLayoutVars>
          <dgm:bulletEnabled val="1"/>
        </dgm:presLayoutVars>
      </dgm:prSet>
      <dgm:spPr>
        <a:prstGeom prst="rect">
          <a:avLst/>
        </a:prstGeom>
      </dgm:spPr>
    </dgm:pt>
    <dgm:pt modelId="{87734321-104C-4FF7-A31A-58FDC7F45E21}" type="pres">
      <dgm:prSet presAssocID="{C6D3CBF4-C26E-46F4-8E17-0F6641FA2497}" presName="space" presStyleCnt="0"/>
      <dgm:spPr/>
    </dgm:pt>
    <dgm:pt modelId="{1A535B9B-AE45-4A47-B102-06667AC0E7FE}" type="pres">
      <dgm:prSet presAssocID="{6201FA28-2BAD-41E0-97EF-D93219245D77}" presName="composite" presStyleCnt="0"/>
      <dgm:spPr/>
    </dgm:pt>
    <dgm:pt modelId="{A2D15BCF-708C-4FF6-8EE7-EE2407D53939}" type="pres">
      <dgm:prSet presAssocID="{6201FA28-2BAD-41E0-97EF-D93219245D77}" presName="parTx" presStyleLbl="alignNode1" presStyleIdx="1" presStyleCnt="3">
        <dgm:presLayoutVars>
          <dgm:chMax val="0"/>
          <dgm:chPref val="0"/>
          <dgm:bulletEnabled val="1"/>
        </dgm:presLayoutVars>
      </dgm:prSet>
      <dgm:spPr/>
    </dgm:pt>
    <dgm:pt modelId="{3D465702-9231-4877-B6C5-F44EBDEA04CA}" type="pres">
      <dgm:prSet presAssocID="{6201FA28-2BAD-41E0-97EF-D93219245D77}" presName="desTx" presStyleLbl="alignAccFollowNode1" presStyleIdx="1" presStyleCnt="3">
        <dgm:presLayoutVars>
          <dgm:bulletEnabled val="1"/>
        </dgm:presLayoutVars>
      </dgm:prSet>
      <dgm:spPr/>
    </dgm:pt>
    <dgm:pt modelId="{3CA76ADD-C923-4FD4-8EC6-167640B354F7}" type="pres">
      <dgm:prSet presAssocID="{0E234811-E1EC-4A03-9D0F-D9417E0DFAFF}" presName="space" presStyleCnt="0"/>
      <dgm:spPr/>
    </dgm:pt>
    <dgm:pt modelId="{56A36901-E67E-4BE5-A3DC-11280FF0DB71}" type="pres">
      <dgm:prSet presAssocID="{B6819062-AB24-45FA-85B5-B182FC29FFF8}" presName="composite" presStyleCnt="0"/>
      <dgm:spPr/>
    </dgm:pt>
    <dgm:pt modelId="{0E037236-D9E1-4EC6-963E-04B05024B8FB}" type="pres">
      <dgm:prSet presAssocID="{B6819062-AB24-45FA-85B5-B182FC29FFF8}" presName="parTx" presStyleLbl="alignNode1" presStyleIdx="2" presStyleCnt="3">
        <dgm:presLayoutVars>
          <dgm:chMax val="0"/>
          <dgm:chPref val="0"/>
          <dgm:bulletEnabled val="1"/>
        </dgm:presLayoutVars>
      </dgm:prSet>
      <dgm:spPr/>
    </dgm:pt>
    <dgm:pt modelId="{E6A5368B-206B-4DAE-BAF7-B0396F4E16C2}" type="pres">
      <dgm:prSet presAssocID="{B6819062-AB24-45FA-85B5-B182FC29FFF8}" presName="desTx" presStyleLbl="alignAccFollowNode1" presStyleIdx="2" presStyleCnt="3">
        <dgm:presLayoutVars>
          <dgm:bulletEnabled val="1"/>
        </dgm:presLayoutVars>
      </dgm:prSet>
      <dgm:spPr/>
    </dgm:pt>
  </dgm:ptLst>
  <dgm:cxnLst>
    <dgm:cxn modelId="{A827E102-17B9-43F8-A372-5A622AE9F286}" type="presOf" srcId="{6622C38D-CA4D-4395-A05B-CE2E807273EA}" destId="{AA30D338-E269-431D-A98C-C0A93B715B27}" srcOrd="0" destOrd="0" presId="urn:microsoft.com/office/officeart/2005/8/layout/hList1"/>
    <dgm:cxn modelId="{62C06C09-BB70-4F3E-8B5B-ACE88502421E}" srcId="{6201FA28-2BAD-41E0-97EF-D93219245D77}" destId="{42D739D5-2C42-4586-8DF9-0EC85D4DD939}" srcOrd="3" destOrd="0" parTransId="{26158B57-53BD-4445-B4BF-A9C8C9936C39}" sibTransId="{92A4B315-D734-4C22-AA18-518A61B80F6A}"/>
    <dgm:cxn modelId="{10CECB0C-7443-4EE9-8C9E-72B56B0F540E}" srcId="{6622C38D-CA4D-4395-A05B-CE2E807273EA}" destId="{F435DC69-C0F5-49B1-A7C9-535D8DE4474A}" srcOrd="1" destOrd="0" parTransId="{951AB178-793C-468A-BC16-6A4B5082E901}" sibTransId="{2AFE8B10-3804-4F5B-AFFB-8E39276614BF}"/>
    <dgm:cxn modelId="{59BE400F-2869-4BC9-A606-A049CEB2758C}" type="presOf" srcId="{EE6F4CFD-6E77-4B00-9445-13626E116585}" destId="{F3A57436-5AA8-434C-BF63-BEA0FFE33A10}" srcOrd="0" destOrd="0" presId="urn:microsoft.com/office/officeart/2005/8/layout/hList1"/>
    <dgm:cxn modelId="{F8E04C1F-DFA6-4826-B543-01D44A3C4516}" srcId="{6622C38D-CA4D-4395-A05B-CE2E807273EA}" destId="{F369171B-98B9-499F-96EF-F8C31A19A2F4}" srcOrd="2" destOrd="0" parTransId="{405EFEA8-D33F-478C-8447-24F421B5BCBE}" sibTransId="{735FBBB1-A2D0-49E5-B386-5788AD209CF1}"/>
    <dgm:cxn modelId="{3C23C120-74AC-4FB1-9C6B-5419EBE86425}" type="presOf" srcId="{34AB325B-B668-447A-83BD-D640DF2BCDCC}" destId="{E6A5368B-206B-4DAE-BAF7-B0396F4E16C2}" srcOrd="0" destOrd="3" presId="urn:microsoft.com/office/officeart/2005/8/layout/hList1"/>
    <dgm:cxn modelId="{DF03B922-9293-4C36-BF85-8A00927CB428}" type="presOf" srcId="{68C1B624-1BC3-49F7-B4AB-EC3FC7374C4A}" destId="{E6A5368B-206B-4DAE-BAF7-B0396F4E16C2}" srcOrd="0" destOrd="4" presId="urn:microsoft.com/office/officeart/2005/8/layout/hList1"/>
    <dgm:cxn modelId="{6EAFA32F-1D97-48D8-AD51-4E1A6AA2ED86}" type="presOf" srcId="{88FD2127-41F8-4D56-B458-5020A562CBF6}" destId="{E6A5368B-206B-4DAE-BAF7-B0396F4E16C2}" srcOrd="0" destOrd="0" presId="urn:microsoft.com/office/officeart/2005/8/layout/hList1"/>
    <dgm:cxn modelId="{A80AFE2F-0F04-4571-B61C-2BFC5D0F4D81}" srcId="{B6819062-AB24-45FA-85B5-B182FC29FFF8}" destId="{68C1B624-1BC3-49F7-B4AB-EC3FC7374C4A}" srcOrd="4" destOrd="0" parTransId="{1965D53B-23A6-4656-B33A-658E0D7B9518}" sibTransId="{43401577-5871-4CAB-92C0-0CA4658A253D}"/>
    <dgm:cxn modelId="{51B83332-1071-4476-88A6-78457E5CF944}" type="presOf" srcId="{B1C3D9BC-C4EA-4BF6-9B2B-A063D6FC232D}" destId="{3D465702-9231-4877-B6C5-F44EBDEA04CA}" srcOrd="0" destOrd="5" presId="urn:microsoft.com/office/officeart/2005/8/layout/hList1"/>
    <dgm:cxn modelId="{52297C32-F84D-4B82-B1D3-2475C7613122}" type="presOf" srcId="{6201FA28-2BAD-41E0-97EF-D93219245D77}" destId="{A2D15BCF-708C-4FF6-8EE7-EE2407D53939}" srcOrd="0" destOrd="0" presId="urn:microsoft.com/office/officeart/2005/8/layout/hList1"/>
    <dgm:cxn modelId="{AFA9453D-49B4-46A2-99A2-9E9CC7EF2B0E}" type="presOf" srcId="{E9DAE887-AB35-47F8-8B1D-69D30668D3BD}" destId="{E6A5368B-206B-4DAE-BAF7-B0396F4E16C2}" srcOrd="0" destOrd="2" presId="urn:microsoft.com/office/officeart/2005/8/layout/hList1"/>
    <dgm:cxn modelId="{57ABF05E-F7FB-4D21-B013-D8AE8AFBC76E}" type="presOf" srcId="{F435DC69-C0F5-49B1-A7C9-535D8DE4474A}" destId="{F3A57436-5AA8-434C-BF63-BEA0FFE33A10}" srcOrd="0" destOrd="1" presId="urn:microsoft.com/office/officeart/2005/8/layout/hList1"/>
    <dgm:cxn modelId="{7D2D0B60-1D00-4246-8E56-7E9A5F240C58}" srcId="{6201FA28-2BAD-41E0-97EF-D93219245D77}" destId="{9BC9B252-FAF6-4A55-A635-063A947FBF3F}" srcOrd="2" destOrd="0" parTransId="{36AEC279-A643-4963-9C0F-CD5FB2573E67}" sibTransId="{62C70245-523E-4E2C-B718-CBD46A00FC16}"/>
    <dgm:cxn modelId="{C724C560-46E9-451F-A5CC-A9416FF0C297}" type="presOf" srcId="{3612E95A-2B03-4D80-97C8-2BAF210601CE}" destId="{F3A57436-5AA8-434C-BF63-BEA0FFE33A10}" srcOrd="0" destOrd="5" presId="urn:microsoft.com/office/officeart/2005/8/layout/hList1"/>
    <dgm:cxn modelId="{5933B562-2210-41CD-AB0B-A04BDF4884B7}" type="presOf" srcId="{B6819062-AB24-45FA-85B5-B182FC29FFF8}" destId="{0E037236-D9E1-4EC6-963E-04B05024B8FB}" srcOrd="0" destOrd="0" presId="urn:microsoft.com/office/officeart/2005/8/layout/hList1"/>
    <dgm:cxn modelId="{E70FE163-AAD6-4765-BAC5-A4E5E4111D18}" srcId="{9F1D9399-7667-4E3F-9C6F-ED74215FF152}" destId="{6201FA28-2BAD-41E0-97EF-D93219245D77}" srcOrd="1" destOrd="0" parTransId="{08517092-59B0-4A8B-B0F7-FD3D99E2D4ED}" sibTransId="{0E234811-E1EC-4A03-9D0F-D9417E0DFAFF}"/>
    <dgm:cxn modelId="{E88C9946-4A15-4DED-A582-D0A71BE81EB7}" type="presOf" srcId="{42D739D5-2C42-4586-8DF9-0EC85D4DD939}" destId="{3D465702-9231-4877-B6C5-F44EBDEA04CA}" srcOrd="0" destOrd="3" presId="urn:microsoft.com/office/officeart/2005/8/layout/hList1"/>
    <dgm:cxn modelId="{05485B47-8728-482B-81BA-07CF46D63A23}" type="presOf" srcId="{FE393B93-CCFA-4E75-A03C-F57A97B81A31}" destId="{F3A57436-5AA8-434C-BF63-BEA0FFE33A10}" srcOrd="0" destOrd="6" presId="urn:microsoft.com/office/officeart/2005/8/layout/hList1"/>
    <dgm:cxn modelId="{C7EB5668-498C-46E7-8C6B-4B8CB7D82BFD}" type="presOf" srcId="{C6663E03-060E-483E-AB41-1EFD3673E3EB}" destId="{E6A5368B-206B-4DAE-BAF7-B0396F4E16C2}" srcOrd="0" destOrd="6" presId="urn:microsoft.com/office/officeart/2005/8/layout/hList1"/>
    <dgm:cxn modelId="{2AA2CA69-0C4D-4725-89C7-504F27796067}" srcId="{B6819062-AB24-45FA-85B5-B182FC29FFF8}" destId="{9B062E4F-027A-4BC1-B189-1325A1017D91}" srcOrd="5" destOrd="0" parTransId="{09278422-9671-4CF2-B871-91220D963609}" sibTransId="{7710DDA1-ECB8-4569-93B5-461AC0534BEF}"/>
    <dgm:cxn modelId="{6E420A6F-91A4-492F-8718-24E6B862980A}" srcId="{6622C38D-CA4D-4395-A05B-CE2E807273EA}" destId="{EE6F4CFD-6E77-4B00-9445-13626E116585}" srcOrd="0" destOrd="0" parTransId="{404AB862-62D0-417F-B541-95688E882B40}" sibTransId="{FB378A0E-CE3B-4D54-A5F6-34D66D72EE69}"/>
    <dgm:cxn modelId="{28747052-EC51-4491-A1DA-A5D6E426ECDF}" type="presOf" srcId="{1526D4B6-E7EC-47EA-8CF3-1B7A7A87738D}" destId="{3D465702-9231-4877-B6C5-F44EBDEA04CA}" srcOrd="0" destOrd="0" presId="urn:microsoft.com/office/officeart/2005/8/layout/hList1"/>
    <dgm:cxn modelId="{67890775-500C-45EE-A894-0A730FD5281B}" srcId="{6201FA28-2BAD-41E0-97EF-D93219245D77}" destId="{B1C3D9BC-C4EA-4BF6-9B2B-A063D6FC232D}" srcOrd="5" destOrd="0" parTransId="{8F6F125E-E872-4C12-91A8-B10B490E2940}" sibTransId="{B4AF8B9D-3BEF-4A4F-8BC5-CCA13BD0C613}"/>
    <dgm:cxn modelId="{7338C87A-5DAD-42A0-B8B8-78D6DC1D8479}" srcId="{6622C38D-CA4D-4395-A05B-CE2E807273EA}" destId="{4CA9CE44-9A57-4320-B670-F52C0582C39E}" srcOrd="4" destOrd="0" parTransId="{89916B6C-EBC5-4C6B-9989-B708C143B1F2}" sibTransId="{D8B5C90A-E6B3-4B18-9FFD-2410B6C27B23}"/>
    <dgm:cxn modelId="{E485357E-2F72-4FF0-BAC7-65616527B136}" srcId="{6622C38D-CA4D-4395-A05B-CE2E807273EA}" destId="{FE393B93-CCFA-4E75-A03C-F57A97B81A31}" srcOrd="6" destOrd="0" parTransId="{F95D099E-DAED-48AB-944A-D2E7CDC77E2C}" sibTransId="{6AB060C7-559E-4F47-9C22-22E0EEFA26CC}"/>
    <dgm:cxn modelId="{06F48F80-1D20-49D3-A693-62FFAB75286E}" srcId="{9F1D9399-7667-4E3F-9C6F-ED74215FF152}" destId="{6622C38D-CA4D-4395-A05B-CE2E807273EA}" srcOrd="0" destOrd="0" parTransId="{05DF670A-810F-43AE-AD8A-1168962C2087}" sibTransId="{C6D3CBF4-C26E-46F4-8E17-0F6641FA2497}"/>
    <dgm:cxn modelId="{489DDC96-7887-4E8C-B7E0-2EBBFED4EF87}" type="presOf" srcId="{9B062E4F-027A-4BC1-B189-1325A1017D91}" destId="{E6A5368B-206B-4DAE-BAF7-B0396F4E16C2}" srcOrd="0" destOrd="5" presId="urn:microsoft.com/office/officeart/2005/8/layout/hList1"/>
    <dgm:cxn modelId="{6483499D-096C-4447-8B21-E91FDF257738}" type="presOf" srcId="{F369171B-98B9-499F-96EF-F8C31A19A2F4}" destId="{F3A57436-5AA8-434C-BF63-BEA0FFE33A10}" srcOrd="0" destOrd="2" presId="urn:microsoft.com/office/officeart/2005/8/layout/hList1"/>
    <dgm:cxn modelId="{C5347CA1-2A92-4D72-A365-25AFE97A6EA8}" type="presOf" srcId="{4CA9CE44-9A57-4320-B670-F52C0582C39E}" destId="{F3A57436-5AA8-434C-BF63-BEA0FFE33A10}" srcOrd="0" destOrd="4" presId="urn:microsoft.com/office/officeart/2005/8/layout/hList1"/>
    <dgm:cxn modelId="{1F21E5A3-A124-4418-9BBF-54220C04257D}" type="presOf" srcId="{9BC9B252-FAF6-4A55-A635-063A947FBF3F}" destId="{3D465702-9231-4877-B6C5-F44EBDEA04CA}" srcOrd="0" destOrd="2" presId="urn:microsoft.com/office/officeart/2005/8/layout/hList1"/>
    <dgm:cxn modelId="{FD7DB6A7-5EC5-461B-8351-2287DCD45259}" type="presOf" srcId="{E53DAADF-D316-49D8-8FDB-19104076CC0B}" destId="{E6A5368B-206B-4DAE-BAF7-B0396F4E16C2}" srcOrd="0" destOrd="1" presId="urn:microsoft.com/office/officeart/2005/8/layout/hList1"/>
    <dgm:cxn modelId="{EC8FFFA8-2EBC-4671-991B-4105C08CB3E1}" srcId="{B6819062-AB24-45FA-85B5-B182FC29FFF8}" destId="{88FD2127-41F8-4D56-B458-5020A562CBF6}" srcOrd="0" destOrd="0" parTransId="{19D840C7-E747-49DA-B0D1-B6A926FE6C2F}" sibTransId="{2A283F15-43B8-494F-8A60-F59B92212255}"/>
    <dgm:cxn modelId="{7C5D87B0-3252-49BD-948C-2AB263B24F56}" type="presOf" srcId="{621B0979-8D61-4574-A3F9-FEF306434B57}" destId="{3D465702-9231-4877-B6C5-F44EBDEA04CA}" srcOrd="0" destOrd="6" presId="urn:microsoft.com/office/officeart/2005/8/layout/hList1"/>
    <dgm:cxn modelId="{0F5CF6B6-E0FA-48B5-8866-83F2D126C9C0}" type="presOf" srcId="{9F1D9399-7667-4E3F-9C6F-ED74215FF152}" destId="{62A09538-0600-42BA-B538-8537C29C80AD}" srcOrd="0" destOrd="0" presId="urn:microsoft.com/office/officeart/2005/8/layout/hList1"/>
    <dgm:cxn modelId="{6B118BB8-461F-4B7E-9C0F-F267F403BB66}" srcId="{6622C38D-CA4D-4395-A05B-CE2E807273EA}" destId="{65B02B7D-B4E2-4177-B644-451A89A72984}" srcOrd="3" destOrd="0" parTransId="{95853383-790D-4730-8175-4E65249B625C}" sibTransId="{5C8CF27B-73AC-4E93-AB7D-2E9125CE54A6}"/>
    <dgm:cxn modelId="{6F3D24BD-DB60-4890-AF54-1A62F00A33E4}" srcId="{6201FA28-2BAD-41E0-97EF-D93219245D77}" destId="{3E604CBF-D3E8-4636-9D8A-149C0773CC8F}" srcOrd="1" destOrd="0" parTransId="{4C1F5967-D32D-4FB6-B82D-5F08E78C5D61}" sibTransId="{35EAD70B-24B7-4FE8-8721-C14ADA98EACB}"/>
    <dgm:cxn modelId="{957BB1BD-9B1B-4CDA-85AB-2836CBA0D0A9}" srcId="{B6819062-AB24-45FA-85B5-B182FC29FFF8}" destId="{E53DAADF-D316-49D8-8FDB-19104076CC0B}" srcOrd="1" destOrd="0" parTransId="{44ED94C6-8130-4242-B14A-8A766702F68C}" sibTransId="{8162D763-CEDD-4A8D-9ECE-D61BC97DCA1E}"/>
    <dgm:cxn modelId="{17C681BE-8ADC-4186-AD40-6E3AFE5EE7C9}" srcId="{6201FA28-2BAD-41E0-97EF-D93219245D77}" destId="{1526D4B6-E7EC-47EA-8CF3-1B7A7A87738D}" srcOrd="0" destOrd="0" parTransId="{1EFD3C76-03A1-4B0F-97A0-60CD57E7038E}" sibTransId="{49486109-EA05-4877-91C9-D24D498AA2E4}"/>
    <dgm:cxn modelId="{87BEC9C3-44FB-4B09-8F68-AF7022C49159}" srcId="{6622C38D-CA4D-4395-A05B-CE2E807273EA}" destId="{3612E95A-2B03-4D80-97C8-2BAF210601CE}" srcOrd="5" destOrd="0" parTransId="{A1D4F4A8-2B47-44C2-9C41-6F0ADBC1B60D}" sibTransId="{369FC510-7C87-4611-8DA0-7D96D837A6FE}"/>
    <dgm:cxn modelId="{0064ABC9-CAB4-4C49-AC4A-A6B4BDBEA037}" srcId="{B6819062-AB24-45FA-85B5-B182FC29FFF8}" destId="{C6663E03-060E-483E-AB41-1EFD3673E3EB}" srcOrd="6" destOrd="0" parTransId="{80A09DFD-2727-4A36-9181-29838B880385}" sibTransId="{E9DDF333-46A3-45B3-8462-C512913D5D83}"/>
    <dgm:cxn modelId="{BC8826D2-3715-4EFA-9650-012FF9365742}" type="presOf" srcId="{3E604CBF-D3E8-4636-9D8A-149C0773CC8F}" destId="{3D465702-9231-4877-B6C5-F44EBDEA04CA}" srcOrd="0" destOrd="1" presId="urn:microsoft.com/office/officeart/2005/8/layout/hList1"/>
    <dgm:cxn modelId="{B9DB72E3-73BF-43AC-ADE2-492BB7F68B95}" type="presOf" srcId="{65B02B7D-B4E2-4177-B644-451A89A72984}" destId="{F3A57436-5AA8-434C-BF63-BEA0FFE33A10}" srcOrd="0" destOrd="3" presId="urn:microsoft.com/office/officeart/2005/8/layout/hList1"/>
    <dgm:cxn modelId="{541930E6-531F-421E-8D8F-0500F65D3F93}" type="presOf" srcId="{0B04F3E7-3650-4961-A057-36BCE8464EA9}" destId="{3D465702-9231-4877-B6C5-F44EBDEA04CA}" srcOrd="0" destOrd="4" presId="urn:microsoft.com/office/officeart/2005/8/layout/hList1"/>
    <dgm:cxn modelId="{FDA6B3EB-8030-4271-894A-F53FE53C4986}" srcId="{6201FA28-2BAD-41E0-97EF-D93219245D77}" destId="{0B04F3E7-3650-4961-A057-36BCE8464EA9}" srcOrd="4" destOrd="0" parTransId="{30B89EF4-241E-44A8-B45C-76B0C48D5296}" sibTransId="{6FEFE518-BA9F-4280-94F5-0E2C7BE6A0CD}"/>
    <dgm:cxn modelId="{D781B4ED-5F5A-451B-8BB0-303B4855A5B6}" srcId="{B6819062-AB24-45FA-85B5-B182FC29FFF8}" destId="{34AB325B-B668-447A-83BD-D640DF2BCDCC}" srcOrd="3" destOrd="0" parTransId="{EE713FFE-D592-4591-A925-58EBCD4DC301}" sibTransId="{92AEF957-BC27-4560-9553-65204E8DC6B9}"/>
    <dgm:cxn modelId="{D1A54EF9-826A-43CE-ACCE-EB3CDBF577AA}" srcId="{6201FA28-2BAD-41E0-97EF-D93219245D77}" destId="{621B0979-8D61-4574-A3F9-FEF306434B57}" srcOrd="6" destOrd="0" parTransId="{DF505AB1-F0EF-45A5-B60C-2BEFD3900E19}" sibTransId="{9BABEA73-6F08-42E6-A75E-763A7C04E977}"/>
    <dgm:cxn modelId="{B7AD77FA-4EA3-440C-BCE3-EACCC80ABAC8}" srcId="{B6819062-AB24-45FA-85B5-B182FC29FFF8}" destId="{E9DAE887-AB35-47F8-8B1D-69D30668D3BD}" srcOrd="2" destOrd="0" parTransId="{2793E381-B118-44AE-9E49-8EF49B9A21F1}" sibTransId="{F4F3F9F7-2E6C-4453-B259-26CFBAE70BD5}"/>
    <dgm:cxn modelId="{5305DDFA-D7A7-463B-B56D-7A009F1E7A99}" srcId="{9F1D9399-7667-4E3F-9C6F-ED74215FF152}" destId="{B6819062-AB24-45FA-85B5-B182FC29FFF8}" srcOrd="2" destOrd="0" parTransId="{64348D9E-48BA-40C9-A70A-7736298C9B39}" sibTransId="{09EE4DD4-D24D-40F2-9D55-02EC9A5CDDC6}"/>
    <dgm:cxn modelId="{8BAD3F28-D7AC-420E-869C-028B4FDBE599}" type="presParOf" srcId="{62A09538-0600-42BA-B538-8537C29C80AD}" destId="{42B08CCC-2F12-4D98-BCEE-C0123F005EDA}" srcOrd="0" destOrd="0" presId="urn:microsoft.com/office/officeart/2005/8/layout/hList1"/>
    <dgm:cxn modelId="{753DB5F5-D214-4D84-BB4A-D4AE3FB37ADE}" type="presParOf" srcId="{42B08CCC-2F12-4D98-BCEE-C0123F005EDA}" destId="{AA30D338-E269-431D-A98C-C0A93B715B27}" srcOrd="0" destOrd="0" presId="urn:microsoft.com/office/officeart/2005/8/layout/hList1"/>
    <dgm:cxn modelId="{AE7C9FFE-1F6B-4F46-9631-E50899570EE2}" type="presParOf" srcId="{42B08CCC-2F12-4D98-BCEE-C0123F005EDA}" destId="{F3A57436-5AA8-434C-BF63-BEA0FFE33A10}" srcOrd="1" destOrd="0" presId="urn:microsoft.com/office/officeart/2005/8/layout/hList1"/>
    <dgm:cxn modelId="{551DB35D-9858-480A-AA2C-2DA84F29EEBB}" type="presParOf" srcId="{62A09538-0600-42BA-B538-8537C29C80AD}" destId="{87734321-104C-4FF7-A31A-58FDC7F45E21}" srcOrd="1" destOrd="0" presId="urn:microsoft.com/office/officeart/2005/8/layout/hList1"/>
    <dgm:cxn modelId="{D079AC35-2C51-4307-808D-94BA97C11EF7}" type="presParOf" srcId="{62A09538-0600-42BA-B538-8537C29C80AD}" destId="{1A535B9B-AE45-4A47-B102-06667AC0E7FE}" srcOrd="2" destOrd="0" presId="urn:microsoft.com/office/officeart/2005/8/layout/hList1"/>
    <dgm:cxn modelId="{DFA43ECD-610C-4FA9-B5C9-ACD08A3AD4DD}" type="presParOf" srcId="{1A535B9B-AE45-4A47-B102-06667AC0E7FE}" destId="{A2D15BCF-708C-4FF6-8EE7-EE2407D53939}" srcOrd="0" destOrd="0" presId="urn:microsoft.com/office/officeart/2005/8/layout/hList1"/>
    <dgm:cxn modelId="{AA70155F-BF29-410A-BA1A-12D8D8BA9510}" type="presParOf" srcId="{1A535B9B-AE45-4A47-B102-06667AC0E7FE}" destId="{3D465702-9231-4877-B6C5-F44EBDEA04CA}" srcOrd="1" destOrd="0" presId="urn:microsoft.com/office/officeart/2005/8/layout/hList1"/>
    <dgm:cxn modelId="{334C01A2-74D9-4717-BF64-CE3BB324F490}" type="presParOf" srcId="{62A09538-0600-42BA-B538-8537C29C80AD}" destId="{3CA76ADD-C923-4FD4-8EC6-167640B354F7}" srcOrd="3" destOrd="0" presId="urn:microsoft.com/office/officeart/2005/8/layout/hList1"/>
    <dgm:cxn modelId="{9574FD4A-FE6F-4D8D-9484-B1A9E5662FBA}" type="presParOf" srcId="{62A09538-0600-42BA-B538-8537C29C80AD}" destId="{56A36901-E67E-4BE5-A3DC-11280FF0DB71}" srcOrd="4" destOrd="0" presId="urn:microsoft.com/office/officeart/2005/8/layout/hList1"/>
    <dgm:cxn modelId="{5946B56E-55A4-45C5-8755-F2B36A38F0AB}" type="presParOf" srcId="{56A36901-E67E-4BE5-A3DC-11280FF0DB71}" destId="{0E037236-D9E1-4EC6-963E-04B05024B8FB}" srcOrd="0" destOrd="0" presId="urn:microsoft.com/office/officeart/2005/8/layout/hList1"/>
    <dgm:cxn modelId="{3A05BA59-F285-41F2-918D-D8B0F2064FDD}" type="presParOf" srcId="{56A36901-E67E-4BE5-A3DC-11280FF0DB71}" destId="{E6A5368B-206B-4DAE-BAF7-B0396F4E16C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AD98C9-DAD4-43F9-9C59-0BA2A780652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750C14C-314B-4B94-9D59-BCC1F286F72D}">
      <dgm:prSet/>
      <dgm:spPr/>
      <dgm:t>
        <a:bodyPr/>
        <a:lstStyle/>
        <a:p>
          <a:r>
            <a:rPr lang="en-US" baseline="0"/>
            <a:t>Database Transaction Unit (DTU) model</a:t>
          </a:r>
          <a:endParaRPr lang="en-US"/>
        </a:p>
      </dgm:t>
    </dgm:pt>
    <dgm:pt modelId="{6AD199FD-F928-4787-96A7-9AD442A46CF0}" type="parTrans" cxnId="{D50D5BC5-C296-4DC8-99A0-7CF243D3312B}">
      <dgm:prSet/>
      <dgm:spPr/>
      <dgm:t>
        <a:bodyPr/>
        <a:lstStyle/>
        <a:p>
          <a:endParaRPr lang="en-US"/>
        </a:p>
      </dgm:t>
    </dgm:pt>
    <dgm:pt modelId="{C9FB4340-6A1A-4A50-B3A3-1D9C539A8479}" type="sibTrans" cxnId="{D50D5BC5-C296-4DC8-99A0-7CF243D3312B}">
      <dgm:prSet/>
      <dgm:spPr/>
      <dgm:t>
        <a:bodyPr/>
        <a:lstStyle/>
        <a:p>
          <a:endParaRPr lang="en-US"/>
        </a:p>
      </dgm:t>
    </dgm:pt>
    <dgm:pt modelId="{01004DBA-96C4-49D4-ABC7-AE18EEAEFD88}">
      <dgm:prSet/>
      <dgm:spPr/>
      <dgm:t>
        <a:bodyPr/>
        <a:lstStyle/>
        <a:p>
          <a:r>
            <a:rPr lang="en-US"/>
            <a:t>Pre-packaged, bundled unit that represents the database power. </a:t>
          </a:r>
        </a:p>
      </dgm:t>
    </dgm:pt>
    <dgm:pt modelId="{9683143A-6BC5-4C59-8F57-6EBC65194C71}" type="parTrans" cxnId="{9B4D969E-3EB9-41BC-BDAE-9D0A0C43EB2C}">
      <dgm:prSet/>
      <dgm:spPr/>
      <dgm:t>
        <a:bodyPr/>
        <a:lstStyle/>
        <a:p>
          <a:endParaRPr lang="en-US"/>
        </a:p>
      </dgm:t>
    </dgm:pt>
    <dgm:pt modelId="{1079C7B0-C4E5-4D09-8F12-C060326DF406}" type="sibTrans" cxnId="{9B4D969E-3EB9-41BC-BDAE-9D0A0C43EB2C}">
      <dgm:prSet/>
      <dgm:spPr/>
      <dgm:t>
        <a:bodyPr/>
        <a:lstStyle/>
        <a:p>
          <a:endParaRPr lang="en-US"/>
        </a:p>
      </dgm:t>
    </dgm:pt>
    <dgm:pt modelId="{AA8B2ED1-2348-498F-8382-D0E44385A6B1}">
      <dgm:prSet/>
      <dgm:spPr/>
      <dgm:t>
        <a:bodyPr/>
        <a:lstStyle/>
        <a:p>
          <a:r>
            <a:rPr lang="en-US" baseline="0" dirty="0"/>
            <a:t>vCore model</a:t>
          </a:r>
          <a:endParaRPr lang="en-US" dirty="0"/>
        </a:p>
      </dgm:t>
    </dgm:pt>
    <dgm:pt modelId="{8D19A4B7-1FD3-48D0-AB80-05E70B7AC4F9}" type="parTrans" cxnId="{455DD7FF-18EE-41EE-993E-1487F70F838F}">
      <dgm:prSet/>
      <dgm:spPr/>
      <dgm:t>
        <a:bodyPr/>
        <a:lstStyle/>
        <a:p>
          <a:endParaRPr lang="en-US"/>
        </a:p>
      </dgm:t>
    </dgm:pt>
    <dgm:pt modelId="{8D14AB4A-8A95-4049-8B7C-ACFD9B20BE9D}" type="sibTrans" cxnId="{455DD7FF-18EE-41EE-993E-1487F70F838F}">
      <dgm:prSet/>
      <dgm:spPr/>
      <dgm:t>
        <a:bodyPr/>
        <a:lstStyle/>
        <a:p>
          <a:endParaRPr lang="en-US"/>
        </a:p>
      </dgm:t>
    </dgm:pt>
    <dgm:pt modelId="{7B190D35-1419-4CB2-B87D-6BCFE31000FD}">
      <dgm:prSet/>
      <dgm:spPr/>
      <dgm:t>
        <a:bodyPr/>
        <a:lstStyle/>
        <a:p>
          <a:r>
            <a:rPr lang="en-US"/>
            <a:t>À La carte approach deconstructs the DTU model into separate parts.</a:t>
          </a:r>
        </a:p>
      </dgm:t>
    </dgm:pt>
    <dgm:pt modelId="{F08D2EB3-DD7E-4B00-AC24-B2E0B82CC8C3}" type="parTrans" cxnId="{4F28D30E-C095-4E88-9FF3-E88EDF4EFBBD}">
      <dgm:prSet/>
      <dgm:spPr/>
      <dgm:t>
        <a:bodyPr/>
        <a:lstStyle/>
        <a:p>
          <a:endParaRPr lang="en-US"/>
        </a:p>
      </dgm:t>
    </dgm:pt>
    <dgm:pt modelId="{6E3D6670-C22E-4E0D-B884-894486BE3379}" type="sibTrans" cxnId="{4F28D30E-C095-4E88-9FF3-E88EDF4EFBBD}">
      <dgm:prSet/>
      <dgm:spPr/>
      <dgm:t>
        <a:bodyPr/>
        <a:lstStyle/>
        <a:p>
          <a:endParaRPr lang="en-US"/>
        </a:p>
      </dgm:t>
    </dgm:pt>
    <dgm:pt modelId="{519722E7-B25E-4AE7-8C77-4F5E8ED9442A}">
      <dgm:prSet/>
      <dgm:spPr/>
      <dgm:t>
        <a:bodyPr/>
        <a:lstStyle/>
        <a:p>
          <a:r>
            <a:rPr lang="en-US"/>
            <a:t>Customers can select compute and storage independently.</a:t>
          </a:r>
          <a:endParaRPr lang="en-US">
            <a:cs typeface="Segoe UI"/>
          </a:endParaRPr>
        </a:p>
      </dgm:t>
    </dgm:pt>
    <dgm:pt modelId="{F8FA5A1F-0E53-4FC3-BBF4-A0665B3941F6}" type="parTrans" cxnId="{368FF869-EB4D-4527-8DAF-FED6E30336B7}">
      <dgm:prSet/>
      <dgm:spPr/>
      <dgm:t>
        <a:bodyPr/>
        <a:lstStyle/>
        <a:p>
          <a:endParaRPr lang="en-US"/>
        </a:p>
      </dgm:t>
    </dgm:pt>
    <dgm:pt modelId="{537C09EB-7CA8-4B05-9363-253F74E85A48}" type="sibTrans" cxnId="{368FF869-EB4D-4527-8DAF-FED6E30336B7}">
      <dgm:prSet/>
      <dgm:spPr/>
      <dgm:t>
        <a:bodyPr/>
        <a:lstStyle/>
        <a:p>
          <a:endParaRPr lang="en-US"/>
        </a:p>
      </dgm:t>
    </dgm:pt>
    <dgm:pt modelId="{1BDB64A4-D452-42B0-A44E-A3D168117F99}">
      <dgm:prSet/>
      <dgm:spPr/>
      <dgm:t>
        <a:bodyPr/>
        <a:lstStyle/>
        <a:p>
          <a:r>
            <a:rPr lang="en-US"/>
            <a:t>Allows customers to right-size their compute requirements in the cloud.</a:t>
          </a:r>
          <a:endParaRPr lang="en-US">
            <a:cs typeface="Segoe UI"/>
          </a:endParaRPr>
        </a:p>
      </dgm:t>
    </dgm:pt>
    <dgm:pt modelId="{42894E30-DF9C-4DC9-B96B-D364D75B07E6}" type="parTrans" cxnId="{BDF28627-E289-460D-9387-D9EE930CBB0C}">
      <dgm:prSet/>
      <dgm:spPr/>
      <dgm:t>
        <a:bodyPr/>
        <a:lstStyle/>
        <a:p>
          <a:endParaRPr lang="en-US"/>
        </a:p>
      </dgm:t>
    </dgm:pt>
    <dgm:pt modelId="{6FDB6E0D-FC38-45D0-88BF-CB67490F0FEE}" type="sibTrans" cxnId="{BDF28627-E289-460D-9387-D9EE930CBB0C}">
      <dgm:prSet/>
      <dgm:spPr/>
      <dgm:t>
        <a:bodyPr/>
        <a:lstStyle/>
        <a:p>
          <a:endParaRPr lang="en-US"/>
        </a:p>
      </dgm:t>
    </dgm:pt>
    <dgm:pt modelId="{FD015494-380E-40B7-A75F-F11C6AB005CE}">
      <dgm:prSet/>
      <dgm:spPr/>
      <dgm:t>
        <a:bodyPr/>
        <a:lstStyle/>
        <a:p>
          <a:r>
            <a:rPr lang="en-US" dirty="0"/>
            <a:t>vCore sizing offers flexibility of choice.</a:t>
          </a:r>
        </a:p>
      </dgm:t>
    </dgm:pt>
    <dgm:pt modelId="{57C77BA8-5A73-4A38-B7B8-3BD5083D116A}" type="parTrans" cxnId="{8255F210-2D08-4732-8523-19796BB211E8}">
      <dgm:prSet/>
      <dgm:spPr/>
      <dgm:t>
        <a:bodyPr/>
        <a:lstStyle/>
        <a:p>
          <a:endParaRPr lang="en-US"/>
        </a:p>
      </dgm:t>
    </dgm:pt>
    <dgm:pt modelId="{BC99CF4D-34DD-4CA3-9448-5AEC62514A29}" type="sibTrans" cxnId="{8255F210-2D08-4732-8523-19796BB211E8}">
      <dgm:prSet/>
      <dgm:spPr/>
      <dgm:t>
        <a:bodyPr/>
        <a:lstStyle/>
        <a:p>
          <a:endParaRPr lang="en-US"/>
        </a:p>
      </dgm:t>
    </dgm:pt>
    <dgm:pt modelId="{DDC11327-B406-4DE1-8C30-3FB4F1FB0998}">
      <dgm:prSet/>
      <dgm:spPr/>
      <dgm:t>
        <a:bodyPr/>
        <a:lstStyle/>
        <a:p>
          <a:r>
            <a:rPr lang="en-US"/>
            <a:t>Provides a choice between a </a:t>
          </a:r>
          <a:r>
            <a:rPr lang="en-US" b="1"/>
            <a:t>provisioned compute tier</a:t>
          </a:r>
          <a:r>
            <a:rPr lang="en-US"/>
            <a:t> and a </a:t>
          </a:r>
          <a:r>
            <a:rPr lang="en-US" b="1"/>
            <a:t>serverless</a:t>
          </a:r>
          <a:r>
            <a:rPr lang="en-US"/>
            <a:t> </a:t>
          </a:r>
          <a:r>
            <a:rPr lang="en-US" b="1"/>
            <a:t>compute tier</a:t>
          </a:r>
          <a:r>
            <a:rPr lang="en-US"/>
            <a:t>.</a:t>
          </a:r>
          <a:endParaRPr lang="en-US">
            <a:cs typeface="Segoe UI"/>
          </a:endParaRPr>
        </a:p>
      </dgm:t>
    </dgm:pt>
    <dgm:pt modelId="{DB2733B7-99AB-4F66-9C70-75780DC128D3}" type="parTrans" cxnId="{66CB192B-3E29-4A83-89DB-645BEE6624EC}">
      <dgm:prSet/>
      <dgm:spPr/>
      <dgm:t>
        <a:bodyPr/>
        <a:lstStyle/>
        <a:p>
          <a:endParaRPr lang="en-US"/>
        </a:p>
      </dgm:t>
    </dgm:pt>
    <dgm:pt modelId="{F2645C56-8CB5-493E-949B-9174F7A2BFEE}" type="sibTrans" cxnId="{66CB192B-3E29-4A83-89DB-645BEE6624EC}">
      <dgm:prSet/>
      <dgm:spPr/>
      <dgm:t>
        <a:bodyPr/>
        <a:lstStyle/>
        <a:p>
          <a:endParaRPr lang="en-US"/>
        </a:p>
      </dgm:t>
    </dgm:pt>
    <dgm:pt modelId="{442AA7D9-FCB9-4296-B960-4298DCB4D660}">
      <dgm:prSet/>
      <dgm:spPr/>
      <dgm:t>
        <a:bodyPr/>
        <a:lstStyle/>
        <a:p>
          <a:r>
            <a:rPr lang="en-US"/>
            <a:t>Designed for </a:t>
          </a:r>
          <a:r>
            <a:rPr lang="en-US" b="1"/>
            <a:t>predictable performance</a:t>
          </a:r>
          <a:r>
            <a:rPr lang="en-US"/>
            <a:t>, but somewhat inflexible and limited in options.</a:t>
          </a:r>
          <a:endParaRPr lang="en-US">
            <a:cs typeface="Segoe UI"/>
          </a:endParaRPr>
        </a:p>
      </dgm:t>
    </dgm:pt>
    <dgm:pt modelId="{0F835F7C-C0E1-4EA3-A6AC-833A581D5411}" type="parTrans" cxnId="{CE3259E0-2384-48C3-A1AD-4546AE7CC070}">
      <dgm:prSet/>
      <dgm:spPr/>
      <dgm:t>
        <a:bodyPr/>
        <a:lstStyle/>
        <a:p>
          <a:endParaRPr lang="en-US"/>
        </a:p>
      </dgm:t>
    </dgm:pt>
    <dgm:pt modelId="{BCBDBBAF-65FB-4EBC-B369-1BED4DFDFEA5}" type="sibTrans" cxnId="{CE3259E0-2384-48C3-A1AD-4546AE7CC070}">
      <dgm:prSet/>
      <dgm:spPr/>
      <dgm:t>
        <a:bodyPr/>
        <a:lstStyle/>
        <a:p>
          <a:endParaRPr lang="en-US"/>
        </a:p>
      </dgm:t>
    </dgm:pt>
    <dgm:pt modelId="{B90F6B63-05A6-41EA-AB28-D4C1C274BC74}">
      <dgm:prSet/>
      <dgm:spPr/>
      <dgm:t>
        <a:bodyPr/>
        <a:lstStyle/>
        <a:p>
          <a:r>
            <a:rPr lang="en-US" dirty="0"/>
            <a:t>DTU sizing offers simplicity of choice. </a:t>
          </a:r>
        </a:p>
      </dgm:t>
    </dgm:pt>
    <dgm:pt modelId="{2DFFE2BA-2F12-4969-B0A6-864CC54F67DA}" type="parTrans" cxnId="{51F8E7F2-CF13-4886-9FA7-44B747F42F5A}">
      <dgm:prSet/>
      <dgm:spPr/>
      <dgm:t>
        <a:bodyPr/>
        <a:lstStyle/>
        <a:p>
          <a:endParaRPr lang="en-US"/>
        </a:p>
      </dgm:t>
    </dgm:pt>
    <dgm:pt modelId="{055E1133-0BD0-491F-8EA6-9DBD61FA1418}" type="sibTrans" cxnId="{51F8E7F2-CF13-4886-9FA7-44B747F42F5A}">
      <dgm:prSet/>
      <dgm:spPr/>
      <dgm:t>
        <a:bodyPr/>
        <a:lstStyle/>
        <a:p>
          <a:endParaRPr lang="en-US"/>
        </a:p>
      </dgm:t>
    </dgm:pt>
    <dgm:pt modelId="{8F1B0CB3-2C32-42C0-A427-121CCD828CAC}">
      <dgm:prSet/>
      <dgm:spPr/>
      <dgm:t>
        <a:bodyPr/>
        <a:lstStyle/>
        <a:p>
          <a:r>
            <a:rPr lang="en-US">
              <a:cs typeface="Segoe UI"/>
            </a:rPr>
            <a:t>Blended measure of CPU, memory, and read-write rates.</a:t>
          </a:r>
        </a:p>
      </dgm:t>
    </dgm:pt>
    <dgm:pt modelId="{2C6E67B5-BA27-41C4-8B21-4DEBAE1FF1E0}" type="parTrans" cxnId="{CFA12F2F-ADDD-4FFE-95E9-852043A89F92}">
      <dgm:prSet/>
      <dgm:spPr/>
      <dgm:t>
        <a:bodyPr/>
        <a:lstStyle/>
        <a:p>
          <a:endParaRPr lang="en-US"/>
        </a:p>
      </dgm:t>
    </dgm:pt>
    <dgm:pt modelId="{20039D3B-B073-4D64-997D-AE24E53B009A}" type="sibTrans" cxnId="{CFA12F2F-ADDD-4FFE-95E9-852043A89F92}">
      <dgm:prSet/>
      <dgm:spPr/>
      <dgm:t>
        <a:bodyPr/>
        <a:lstStyle/>
        <a:p>
          <a:endParaRPr lang="en-US"/>
        </a:p>
      </dgm:t>
    </dgm:pt>
    <dgm:pt modelId="{E9E0891D-69B5-4315-895F-8684D61FC4F9}" type="pres">
      <dgm:prSet presAssocID="{57AD98C9-DAD4-43F9-9C59-0BA2A780652B}" presName="linear" presStyleCnt="0">
        <dgm:presLayoutVars>
          <dgm:animLvl val="lvl"/>
          <dgm:resizeHandles val="exact"/>
        </dgm:presLayoutVars>
      </dgm:prSet>
      <dgm:spPr/>
    </dgm:pt>
    <dgm:pt modelId="{AEC62253-02D6-41BA-BDFA-87B7011E16A3}" type="pres">
      <dgm:prSet presAssocID="{E750C14C-314B-4B94-9D59-BCC1F286F72D}" presName="parentText" presStyleLbl="node1" presStyleIdx="0" presStyleCnt="2">
        <dgm:presLayoutVars>
          <dgm:chMax val="0"/>
          <dgm:bulletEnabled val="1"/>
        </dgm:presLayoutVars>
      </dgm:prSet>
      <dgm:spPr/>
    </dgm:pt>
    <dgm:pt modelId="{8E733FAC-E24A-4DF8-9BB9-862F4FD0A711}" type="pres">
      <dgm:prSet presAssocID="{E750C14C-314B-4B94-9D59-BCC1F286F72D}" presName="childText" presStyleLbl="revTx" presStyleIdx="0" presStyleCnt="2">
        <dgm:presLayoutVars>
          <dgm:bulletEnabled val="1"/>
        </dgm:presLayoutVars>
      </dgm:prSet>
      <dgm:spPr/>
    </dgm:pt>
    <dgm:pt modelId="{FD123AF8-832B-463D-9A48-EA0F6004285B}" type="pres">
      <dgm:prSet presAssocID="{AA8B2ED1-2348-498F-8382-D0E44385A6B1}" presName="parentText" presStyleLbl="node1" presStyleIdx="1" presStyleCnt="2">
        <dgm:presLayoutVars>
          <dgm:chMax val="0"/>
          <dgm:bulletEnabled val="1"/>
        </dgm:presLayoutVars>
      </dgm:prSet>
      <dgm:spPr/>
    </dgm:pt>
    <dgm:pt modelId="{DB95D02C-0B75-4757-804F-2486895801FA}" type="pres">
      <dgm:prSet presAssocID="{AA8B2ED1-2348-498F-8382-D0E44385A6B1}" presName="childText" presStyleLbl="revTx" presStyleIdx="1" presStyleCnt="2">
        <dgm:presLayoutVars>
          <dgm:bulletEnabled val="1"/>
        </dgm:presLayoutVars>
      </dgm:prSet>
      <dgm:spPr/>
    </dgm:pt>
  </dgm:ptLst>
  <dgm:cxnLst>
    <dgm:cxn modelId="{4F28D30E-C095-4E88-9FF3-E88EDF4EFBBD}" srcId="{AA8B2ED1-2348-498F-8382-D0E44385A6B1}" destId="{7B190D35-1419-4CB2-B87D-6BCFE31000FD}" srcOrd="0" destOrd="0" parTransId="{F08D2EB3-DD7E-4B00-AC24-B2E0B82CC8C3}" sibTransId="{6E3D6670-C22E-4E0D-B884-894486BE3379}"/>
    <dgm:cxn modelId="{8255F210-2D08-4732-8523-19796BB211E8}" srcId="{AA8B2ED1-2348-498F-8382-D0E44385A6B1}" destId="{FD015494-380E-40B7-A75F-F11C6AB005CE}" srcOrd="3" destOrd="0" parTransId="{57C77BA8-5A73-4A38-B7B8-3BD5083D116A}" sibTransId="{BC99CF4D-34DD-4CA3-9448-5AEC62514A29}"/>
    <dgm:cxn modelId="{BDF28627-E289-460D-9387-D9EE930CBB0C}" srcId="{AA8B2ED1-2348-498F-8382-D0E44385A6B1}" destId="{1BDB64A4-D452-42B0-A44E-A3D168117F99}" srcOrd="2" destOrd="0" parTransId="{42894E30-DF9C-4DC9-B96B-D364D75B07E6}" sibTransId="{6FDB6E0D-FC38-45D0-88BF-CB67490F0FEE}"/>
    <dgm:cxn modelId="{FCFC7A2A-844E-41FD-9589-5153854A67FE}" type="presOf" srcId="{442AA7D9-FCB9-4296-B960-4298DCB4D660}" destId="{8E733FAC-E24A-4DF8-9BB9-862F4FD0A711}" srcOrd="0" destOrd="1" presId="urn:microsoft.com/office/officeart/2005/8/layout/vList2"/>
    <dgm:cxn modelId="{66CB192B-3E29-4A83-89DB-645BEE6624EC}" srcId="{AA8B2ED1-2348-498F-8382-D0E44385A6B1}" destId="{DDC11327-B406-4DE1-8C30-3FB4F1FB0998}" srcOrd="4" destOrd="0" parTransId="{DB2733B7-99AB-4F66-9C70-75780DC128D3}" sibTransId="{F2645C56-8CB5-493E-949B-9174F7A2BFEE}"/>
    <dgm:cxn modelId="{CFA12F2F-ADDD-4FFE-95E9-852043A89F92}" srcId="{E750C14C-314B-4B94-9D59-BCC1F286F72D}" destId="{8F1B0CB3-2C32-42C0-A427-121CCD828CAC}" srcOrd="3" destOrd="0" parTransId="{2C6E67B5-BA27-41C4-8B21-4DEBAE1FF1E0}" sibTransId="{20039D3B-B073-4D64-997D-AE24E53B009A}"/>
    <dgm:cxn modelId="{26F20A3B-7656-41FD-98D4-FA136D683F08}" type="presOf" srcId="{57AD98C9-DAD4-43F9-9C59-0BA2A780652B}" destId="{E9E0891D-69B5-4315-895F-8684D61FC4F9}" srcOrd="0" destOrd="0" presId="urn:microsoft.com/office/officeart/2005/8/layout/vList2"/>
    <dgm:cxn modelId="{368FF869-EB4D-4527-8DAF-FED6E30336B7}" srcId="{AA8B2ED1-2348-498F-8382-D0E44385A6B1}" destId="{519722E7-B25E-4AE7-8C77-4F5E8ED9442A}" srcOrd="1" destOrd="0" parTransId="{F8FA5A1F-0E53-4FC3-BBF4-A0665B3941F6}" sibTransId="{537C09EB-7CA8-4B05-9363-253F74E85A48}"/>
    <dgm:cxn modelId="{53D36B6E-86A8-425E-B78A-6F4BC87FFE6C}" type="presOf" srcId="{7B190D35-1419-4CB2-B87D-6BCFE31000FD}" destId="{DB95D02C-0B75-4757-804F-2486895801FA}" srcOrd="0" destOrd="0" presId="urn:microsoft.com/office/officeart/2005/8/layout/vList2"/>
    <dgm:cxn modelId="{20AD6E50-AF0D-42C8-830C-D9CFE593BE5C}" type="presOf" srcId="{FD015494-380E-40B7-A75F-F11C6AB005CE}" destId="{DB95D02C-0B75-4757-804F-2486895801FA}" srcOrd="0" destOrd="3" presId="urn:microsoft.com/office/officeart/2005/8/layout/vList2"/>
    <dgm:cxn modelId="{E58C6275-4B46-4617-8A73-878C51E3E701}" type="presOf" srcId="{AA8B2ED1-2348-498F-8382-D0E44385A6B1}" destId="{FD123AF8-832B-463D-9A48-EA0F6004285B}" srcOrd="0" destOrd="0" presId="urn:microsoft.com/office/officeart/2005/8/layout/vList2"/>
    <dgm:cxn modelId="{2E684057-9B9A-4448-A000-CCDA8E763E39}" type="presOf" srcId="{DDC11327-B406-4DE1-8C30-3FB4F1FB0998}" destId="{DB95D02C-0B75-4757-804F-2486895801FA}" srcOrd="0" destOrd="4" presId="urn:microsoft.com/office/officeart/2005/8/layout/vList2"/>
    <dgm:cxn modelId="{9B4D969E-3EB9-41BC-BDAE-9D0A0C43EB2C}" srcId="{E750C14C-314B-4B94-9D59-BCC1F286F72D}" destId="{01004DBA-96C4-49D4-ABC7-AE18EEAEFD88}" srcOrd="0" destOrd="0" parTransId="{9683143A-6BC5-4C59-8F57-6EBC65194C71}" sibTransId="{1079C7B0-C4E5-4D09-8F12-C060326DF406}"/>
    <dgm:cxn modelId="{B08B6EA7-6F78-44CB-91DF-218E75CE1F85}" type="presOf" srcId="{E750C14C-314B-4B94-9D59-BCC1F286F72D}" destId="{AEC62253-02D6-41BA-BDFA-87B7011E16A3}" srcOrd="0" destOrd="0" presId="urn:microsoft.com/office/officeart/2005/8/layout/vList2"/>
    <dgm:cxn modelId="{3613A6C2-E64A-4388-8C39-37FB0B3B3DA9}" type="presOf" srcId="{B90F6B63-05A6-41EA-AB28-D4C1C274BC74}" destId="{8E733FAC-E24A-4DF8-9BB9-862F4FD0A711}" srcOrd="0" destOrd="2" presId="urn:microsoft.com/office/officeart/2005/8/layout/vList2"/>
    <dgm:cxn modelId="{D50D5BC5-C296-4DC8-99A0-7CF243D3312B}" srcId="{57AD98C9-DAD4-43F9-9C59-0BA2A780652B}" destId="{E750C14C-314B-4B94-9D59-BCC1F286F72D}" srcOrd="0" destOrd="0" parTransId="{6AD199FD-F928-4787-96A7-9AD442A46CF0}" sibTransId="{C9FB4340-6A1A-4A50-B3A3-1D9C539A8479}"/>
    <dgm:cxn modelId="{4168F6D0-047B-4B93-B9B8-7EABE9A131B7}" type="presOf" srcId="{1BDB64A4-D452-42B0-A44E-A3D168117F99}" destId="{DB95D02C-0B75-4757-804F-2486895801FA}" srcOrd="0" destOrd="2" presId="urn:microsoft.com/office/officeart/2005/8/layout/vList2"/>
    <dgm:cxn modelId="{577169DD-E137-44AD-96EE-86A67D3375BD}" type="presOf" srcId="{8F1B0CB3-2C32-42C0-A427-121CCD828CAC}" destId="{8E733FAC-E24A-4DF8-9BB9-862F4FD0A711}" srcOrd="0" destOrd="3" presId="urn:microsoft.com/office/officeart/2005/8/layout/vList2"/>
    <dgm:cxn modelId="{CE3259E0-2384-48C3-A1AD-4546AE7CC070}" srcId="{E750C14C-314B-4B94-9D59-BCC1F286F72D}" destId="{442AA7D9-FCB9-4296-B960-4298DCB4D660}" srcOrd="1" destOrd="0" parTransId="{0F835F7C-C0E1-4EA3-A6AC-833A581D5411}" sibTransId="{BCBDBBAF-65FB-4EBC-B369-1BED4DFDFEA5}"/>
    <dgm:cxn modelId="{0DEC1BE9-C099-43A9-BD90-45E61133627A}" type="presOf" srcId="{01004DBA-96C4-49D4-ABC7-AE18EEAEFD88}" destId="{8E733FAC-E24A-4DF8-9BB9-862F4FD0A711}" srcOrd="0" destOrd="0" presId="urn:microsoft.com/office/officeart/2005/8/layout/vList2"/>
    <dgm:cxn modelId="{8CEC15EA-2A6B-4D34-9553-FDBAE4FC3201}" type="presOf" srcId="{519722E7-B25E-4AE7-8C77-4F5E8ED9442A}" destId="{DB95D02C-0B75-4757-804F-2486895801FA}" srcOrd="0" destOrd="1" presId="urn:microsoft.com/office/officeart/2005/8/layout/vList2"/>
    <dgm:cxn modelId="{51F8E7F2-CF13-4886-9FA7-44B747F42F5A}" srcId="{E750C14C-314B-4B94-9D59-BCC1F286F72D}" destId="{B90F6B63-05A6-41EA-AB28-D4C1C274BC74}" srcOrd="2" destOrd="0" parTransId="{2DFFE2BA-2F12-4969-B0A6-864CC54F67DA}" sibTransId="{055E1133-0BD0-491F-8EA6-9DBD61FA1418}"/>
    <dgm:cxn modelId="{455DD7FF-18EE-41EE-993E-1487F70F838F}" srcId="{57AD98C9-DAD4-43F9-9C59-0BA2A780652B}" destId="{AA8B2ED1-2348-498F-8382-D0E44385A6B1}" srcOrd="1" destOrd="0" parTransId="{8D19A4B7-1FD3-48D0-AB80-05E70B7AC4F9}" sibTransId="{8D14AB4A-8A95-4049-8B7C-ACFD9B20BE9D}"/>
    <dgm:cxn modelId="{ABC4AE84-A82C-40BB-B0A5-AD88DBCF09E1}" type="presParOf" srcId="{E9E0891D-69B5-4315-895F-8684D61FC4F9}" destId="{AEC62253-02D6-41BA-BDFA-87B7011E16A3}" srcOrd="0" destOrd="0" presId="urn:microsoft.com/office/officeart/2005/8/layout/vList2"/>
    <dgm:cxn modelId="{B48972A3-CF3A-4D9F-B445-EF505FFC9A9E}" type="presParOf" srcId="{E9E0891D-69B5-4315-895F-8684D61FC4F9}" destId="{8E733FAC-E24A-4DF8-9BB9-862F4FD0A711}" srcOrd="1" destOrd="0" presId="urn:microsoft.com/office/officeart/2005/8/layout/vList2"/>
    <dgm:cxn modelId="{9D586701-5BCF-45C7-B16F-634035C7AB03}" type="presParOf" srcId="{E9E0891D-69B5-4315-895F-8684D61FC4F9}" destId="{FD123AF8-832B-463D-9A48-EA0F6004285B}" srcOrd="2" destOrd="0" presId="urn:microsoft.com/office/officeart/2005/8/layout/vList2"/>
    <dgm:cxn modelId="{BE97BC04-2FD5-4D2A-A039-C29BDB75F8B5}" type="presParOf" srcId="{E9E0891D-69B5-4315-895F-8684D61FC4F9}" destId="{DB95D02C-0B75-4757-804F-2486895801F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E4C6A8-3F90-4D07-9801-5C92A36774EC}" type="doc">
      <dgm:prSet loTypeId="urn:microsoft.com/office/officeart/2005/8/layout/lProcess3" loCatId="process" qsTypeId="urn:microsoft.com/office/officeart/2005/8/quickstyle/simple4" qsCatId="simple" csTypeId="urn:microsoft.com/office/officeart/2005/8/colors/accent0_3" csCatId="mainScheme" phldr="1"/>
      <dgm:spPr/>
      <dgm:t>
        <a:bodyPr/>
        <a:lstStyle/>
        <a:p>
          <a:endParaRPr lang="en-US"/>
        </a:p>
      </dgm:t>
    </dgm:pt>
    <dgm:pt modelId="{51758E5C-751B-4A57-9FE0-395C30450753}">
      <dgm:prSet custT="1"/>
      <dgm:spPr/>
      <dgm:t>
        <a:bodyPr/>
        <a:lstStyle/>
        <a:p>
          <a:r>
            <a:rPr lang="en-US" sz="2800" baseline="0" dirty="0"/>
            <a:t>DTU based </a:t>
          </a:r>
          <a:endParaRPr lang="en-US" sz="2800" dirty="0"/>
        </a:p>
      </dgm:t>
    </dgm:pt>
    <dgm:pt modelId="{D33D65B3-A818-4E34-9DE8-6C21E28F9B9B}" type="parTrans" cxnId="{9C2E7681-28FD-439C-8F80-CFEB8ACE6AC4}">
      <dgm:prSet/>
      <dgm:spPr/>
      <dgm:t>
        <a:bodyPr/>
        <a:lstStyle/>
        <a:p>
          <a:endParaRPr lang="en-US"/>
        </a:p>
      </dgm:t>
    </dgm:pt>
    <dgm:pt modelId="{45B3366C-4E07-4172-9880-1E00C256126C}" type="sibTrans" cxnId="{9C2E7681-28FD-439C-8F80-CFEB8ACE6AC4}">
      <dgm:prSet/>
      <dgm:spPr/>
      <dgm:t>
        <a:bodyPr/>
        <a:lstStyle/>
        <a:p>
          <a:endParaRPr lang="en-US"/>
        </a:p>
      </dgm:t>
    </dgm:pt>
    <dgm:pt modelId="{823F805F-FC65-42A0-B7BC-9DCE0AF69AA6}">
      <dgm:prSet custT="1"/>
      <dgm:spPr/>
      <dgm:t>
        <a:bodyPr/>
        <a:lstStyle/>
        <a:p>
          <a:r>
            <a:rPr lang="en-US" sz="2000" b="1" baseline="0" dirty="0"/>
            <a:t>Basic</a:t>
          </a:r>
          <a:endParaRPr lang="en-US" sz="2000" dirty="0"/>
        </a:p>
      </dgm:t>
    </dgm:pt>
    <dgm:pt modelId="{BC1AEAB2-5CCB-452B-819F-594545ED1B35}" type="parTrans" cxnId="{9F8E82D1-420A-451E-ACD5-C275640AE161}">
      <dgm:prSet/>
      <dgm:spPr/>
      <dgm:t>
        <a:bodyPr/>
        <a:lstStyle/>
        <a:p>
          <a:endParaRPr lang="en-US"/>
        </a:p>
      </dgm:t>
    </dgm:pt>
    <dgm:pt modelId="{097F88CC-8A42-4326-8203-386A1E6A30D2}" type="sibTrans" cxnId="{9F8E82D1-420A-451E-ACD5-C275640AE161}">
      <dgm:prSet/>
      <dgm:spPr/>
      <dgm:t>
        <a:bodyPr/>
        <a:lstStyle/>
        <a:p>
          <a:endParaRPr lang="en-US"/>
        </a:p>
      </dgm:t>
    </dgm:pt>
    <dgm:pt modelId="{15E010B6-1A3C-4C25-917C-C0B6D50A38F4}">
      <dgm:prSet custT="1"/>
      <dgm:spPr/>
      <dgm:t>
        <a:bodyPr/>
        <a:lstStyle/>
        <a:p>
          <a:r>
            <a:rPr lang="en-US" sz="2000" b="1" baseline="0" dirty="0"/>
            <a:t>Standard</a:t>
          </a:r>
          <a:endParaRPr lang="en-US" sz="2000" dirty="0"/>
        </a:p>
      </dgm:t>
    </dgm:pt>
    <dgm:pt modelId="{B123135C-3D1A-4EAB-B7CA-196C738454F6}" type="parTrans" cxnId="{C39A5C37-26CE-4EEC-9E45-732ED006824E}">
      <dgm:prSet/>
      <dgm:spPr/>
      <dgm:t>
        <a:bodyPr/>
        <a:lstStyle/>
        <a:p>
          <a:endParaRPr lang="en-US"/>
        </a:p>
      </dgm:t>
    </dgm:pt>
    <dgm:pt modelId="{AE8E94A1-C489-4993-BE8B-FCA2C555AA7F}" type="sibTrans" cxnId="{C39A5C37-26CE-4EEC-9E45-732ED006824E}">
      <dgm:prSet/>
      <dgm:spPr/>
      <dgm:t>
        <a:bodyPr/>
        <a:lstStyle/>
        <a:p>
          <a:endParaRPr lang="en-US"/>
        </a:p>
      </dgm:t>
    </dgm:pt>
    <dgm:pt modelId="{19D5A510-FDEE-41C2-A585-C5DD16760B8B}">
      <dgm:prSet custT="1"/>
      <dgm:spPr/>
      <dgm:t>
        <a:bodyPr/>
        <a:lstStyle/>
        <a:p>
          <a:r>
            <a:rPr lang="en-US" sz="2000" b="1" baseline="0" dirty="0"/>
            <a:t>Premium</a:t>
          </a:r>
          <a:endParaRPr lang="en-US" sz="2000" dirty="0"/>
        </a:p>
      </dgm:t>
    </dgm:pt>
    <dgm:pt modelId="{3C553C65-4D04-4F09-9DA3-A3C44AFCD7B6}" type="parTrans" cxnId="{18086F78-F235-487A-A443-C08F6956C0F7}">
      <dgm:prSet/>
      <dgm:spPr/>
      <dgm:t>
        <a:bodyPr/>
        <a:lstStyle/>
        <a:p>
          <a:endParaRPr lang="en-US"/>
        </a:p>
      </dgm:t>
    </dgm:pt>
    <dgm:pt modelId="{095FE177-4FBB-48E2-99B5-99ED2F57ABB6}" type="sibTrans" cxnId="{18086F78-F235-487A-A443-C08F6956C0F7}">
      <dgm:prSet/>
      <dgm:spPr/>
      <dgm:t>
        <a:bodyPr/>
        <a:lstStyle/>
        <a:p>
          <a:endParaRPr lang="en-US"/>
        </a:p>
      </dgm:t>
    </dgm:pt>
    <dgm:pt modelId="{C71269B8-1D69-472D-8C16-2C35A3138555}">
      <dgm:prSet custT="1"/>
      <dgm:spPr/>
      <dgm:t>
        <a:bodyPr/>
        <a:lstStyle/>
        <a:p>
          <a:r>
            <a:rPr lang="en-US" sz="2800" baseline="0" dirty="0"/>
            <a:t>vCore based</a:t>
          </a:r>
          <a:endParaRPr lang="en-US" sz="2800" dirty="0"/>
        </a:p>
      </dgm:t>
    </dgm:pt>
    <dgm:pt modelId="{8671F9A2-6218-499B-AF8E-5DCC05C21E4F}" type="parTrans" cxnId="{EE200D7F-B278-4599-A918-B2A0B9AC8C50}">
      <dgm:prSet/>
      <dgm:spPr/>
      <dgm:t>
        <a:bodyPr/>
        <a:lstStyle/>
        <a:p>
          <a:endParaRPr lang="en-US"/>
        </a:p>
      </dgm:t>
    </dgm:pt>
    <dgm:pt modelId="{2AC182E8-AD2F-451C-B1DA-BC0B56BE93F5}" type="sibTrans" cxnId="{EE200D7F-B278-4599-A918-B2A0B9AC8C50}">
      <dgm:prSet/>
      <dgm:spPr/>
      <dgm:t>
        <a:bodyPr/>
        <a:lstStyle/>
        <a:p>
          <a:endParaRPr lang="en-US"/>
        </a:p>
      </dgm:t>
    </dgm:pt>
    <dgm:pt modelId="{811E6214-DE5B-4312-98BF-EC268B52DED0}">
      <dgm:prSet custT="1"/>
      <dgm:spPr/>
      <dgm:t>
        <a:bodyPr/>
        <a:lstStyle/>
        <a:p>
          <a:r>
            <a:rPr lang="en-US" sz="2000" b="1" baseline="0" dirty="0"/>
            <a:t>General purpose</a:t>
          </a:r>
          <a:r>
            <a:rPr lang="en-US" sz="2000" baseline="0" dirty="0"/>
            <a:t>.</a:t>
          </a:r>
          <a:endParaRPr lang="en-US" sz="2000" dirty="0"/>
        </a:p>
      </dgm:t>
    </dgm:pt>
    <dgm:pt modelId="{1B13A972-36BF-4475-AD3C-9C1679C23B3A}" type="parTrans" cxnId="{647B49E8-3D40-42F3-B886-E37251F0D43F}">
      <dgm:prSet/>
      <dgm:spPr/>
      <dgm:t>
        <a:bodyPr/>
        <a:lstStyle/>
        <a:p>
          <a:endParaRPr lang="en-US"/>
        </a:p>
      </dgm:t>
    </dgm:pt>
    <dgm:pt modelId="{E48311DA-A7ED-4038-95C8-4A7A7629DFCC}" type="sibTrans" cxnId="{647B49E8-3D40-42F3-B886-E37251F0D43F}">
      <dgm:prSet/>
      <dgm:spPr/>
      <dgm:t>
        <a:bodyPr/>
        <a:lstStyle/>
        <a:p>
          <a:endParaRPr lang="en-US"/>
        </a:p>
      </dgm:t>
    </dgm:pt>
    <dgm:pt modelId="{0DB6AC95-AC52-4E09-A224-B031781BD25B}">
      <dgm:prSet custT="1"/>
      <dgm:spPr/>
      <dgm:t>
        <a:bodyPr/>
        <a:lstStyle/>
        <a:p>
          <a:r>
            <a:rPr lang="en-US" sz="2000" b="1" baseline="0" dirty="0"/>
            <a:t>Business critical	</a:t>
          </a:r>
          <a:endParaRPr lang="en-US" sz="2000" dirty="0"/>
        </a:p>
      </dgm:t>
    </dgm:pt>
    <dgm:pt modelId="{18FD2BAA-4652-4833-9272-CA1FE6DDB458}" type="parTrans" cxnId="{694D9D15-8C7C-4DCE-AD1C-1B759DCF2CB3}">
      <dgm:prSet/>
      <dgm:spPr/>
      <dgm:t>
        <a:bodyPr/>
        <a:lstStyle/>
        <a:p>
          <a:endParaRPr lang="en-US"/>
        </a:p>
      </dgm:t>
    </dgm:pt>
    <dgm:pt modelId="{9913F241-C722-4341-8A45-3BA9942DA6C6}" type="sibTrans" cxnId="{694D9D15-8C7C-4DCE-AD1C-1B759DCF2CB3}">
      <dgm:prSet/>
      <dgm:spPr/>
      <dgm:t>
        <a:bodyPr/>
        <a:lstStyle/>
        <a:p>
          <a:endParaRPr lang="en-US"/>
        </a:p>
      </dgm:t>
    </dgm:pt>
    <dgm:pt modelId="{06A5C58F-9D32-4460-83F5-EA906350993C}">
      <dgm:prSet custT="1"/>
      <dgm:spPr/>
      <dgm:t>
        <a:bodyPr/>
        <a:lstStyle/>
        <a:p>
          <a:r>
            <a:rPr lang="en-US" sz="2000" b="1" baseline="0" dirty="0"/>
            <a:t>Hyperscale</a:t>
          </a:r>
          <a:endParaRPr lang="en-US" sz="2000" dirty="0"/>
        </a:p>
      </dgm:t>
    </dgm:pt>
    <dgm:pt modelId="{E7C1488E-0E05-4DC2-9BA4-D05119280962}" type="parTrans" cxnId="{7BEB8C44-27E3-424E-AC00-1E4A35F61CC8}">
      <dgm:prSet/>
      <dgm:spPr/>
      <dgm:t>
        <a:bodyPr/>
        <a:lstStyle/>
        <a:p>
          <a:endParaRPr lang="en-US"/>
        </a:p>
      </dgm:t>
    </dgm:pt>
    <dgm:pt modelId="{8B0645AC-F9C0-42E9-A8CC-2F6723306375}" type="sibTrans" cxnId="{7BEB8C44-27E3-424E-AC00-1E4A35F61CC8}">
      <dgm:prSet/>
      <dgm:spPr/>
      <dgm:t>
        <a:bodyPr/>
        <a:lstStyle/>
        <a:p>
          <a:endParaRPr lang="en-US"/>
        </a:p>
      </dgm:t>
    </dgm:pt>
    <dgm:pt modelId="{BAC24337-23BE-4368-905C-3B72BEC5C5F5}" type="pres">
      <dgm:prSet presAssocID="{8AE4C6A8-3F90-4D07-9801-5C92A36774EC}" presName="Name0" presStyleCnt="0">
        <dgm:presLayoutVars>
          <dgm:chPref val="3"/>
          <dgm:dir/>
          <dgm:animLvl val="lvl"/>
          <dgm:resizeHandles/>
        </dgm:presLayoutVars>
      </dgm:prSet>
      <dgm:spPr/>
    </dgm:pt>
    <dgm:pt modelId="{4E2015D7-98D7-435C-B459-6396BB6FF08B}" type="pres">
      <dgm:prSet presAssocID="{51758E5C-751B-4A57-9FE0-395C30450753}" presName="horFlow" presStyleCnt="0"/>
      <dgm:spPr/>
    </dgm:pt>
    <dgm:pt modelId="{8E3546D4-27AC-4908-AA2C-9C4CAFE6CB68}" type="pres">
      <dgm:prSet presAssocID="{51758E5C-751B-4A57-9FE0-395C30450753}" presName="bigChev" presStyleLbl="node1" presStyleIdx="0" presStyleCnt="2"/>
      <dgm:spPr/>
    </dgm:pt>
    <dgm:pt modelId="{854D3D42-B596-4515-8317-D2026D3B9E66}" type="pres">
      <dgm:prSet presAssocID="{BC1AEAB2-5CCB-452B-819F-594545ED1B35}" presName="parTrans" presStyleCnt="0"/>
      <dgm:spPr/>
    </dgm:pt>
    <dgm:pt modelId="{D828D2B7-B7E9-4A37-B1AE-C80A7E6C30B0}" type="pres">
      <dgm:prSet presAssocID="{823F805F-FC65-42A0-B7BC-9DCE0AF69AA6}" presName="node" presStyleLbl="alignAccFollowNode1" presStyleIdx="0" presStyleCnt="6">
        <dgm:presLayoutVars>
          <dgm:bulletEnabled val="1"/>
        </dgm:presLayoutVars>
      </dgm:prSet>
      <dgm:spPr/>
    </dgm:pt>
    <dgm:pt modelId="{B2E905D6-C4FD-4C1E-9C76-4776C91E2658}" type="pres">
      <dgm:prSet presAssocID="{097F88CC-8A42-4326-8203-386A1E6A30D2}" presName="sibTrans" presStyleCnt="0"/>
      <dgm:spPr/>
    </dgm:pt>
    <dgm:pt modelId="{6679B128-AD39-4BAB-8CF9-168F57776BA2}" type="pres">
      <dgm:prSet presAssocID="{15E010B6-1A3C-4C25-917C-C0B6D50A38F4}" presName="node" presStyleLbl="alignAccFollowNode1" presStyleIdx="1" presStyleCnt="6">
        <dgm:presLayoutVars>
          <dgm:bulletEnabled val="1"/>
        </dgm:presLayoutVars>
      </dgm:prSet>
      <dgm:spPr/>
    </dgm:pt>
    <dgm:pt modelId="{D63C4EF9-E161-46B6-8C5F-4AC72307500E}" type="pres">
      <dgm:prSet presAssocID="{AE8E94A1-C489-4993-BE8B-FCA2C555AA7F}" presName="sibTrans" presStyleCnt="0"/>
      <dgm:spPr/>
    </dgm:pt>
    <dgm:pt modelId="{F68BEEB1-9633-43E9-8BE2-8EAF9E0B2A3E}" type="pres">
      <dgm:prSet presAssocID="{19D5A510-FDEE-41C2-A585-C5DD16760B8B}" presName="node" presStyleLbl="alignAccFollowNode1" presStyleIdx="2" presStyleCnt="6">
        <dgm:presLayoutVars>
          <dgm:bulletEnabled val="1"/>
        </dgm:presLayoutVars>
      </dgm:prSet>
      <dgm:spPr/>
    </dgm:pt>
    <dgm:pt modelId="{D9564BC1-3CAF-4165-9A2C-9D8A06C53CB4}" type="pres">
      <dgm:prSet presAssocID="{51758E5C-751B-4A57-9FE0-395C30450753}" presName="vSp" presStyleCnt="0"/>
      <dgm:spPr/>
    </dgm:pt>
    <dgm:pt modelId="{FE3E8159-4572-42EA-BA0F-0CC3E6C4B1DC}" type="pres">
      <dgm:prSet presAssocID="{C71269B8-1D69-472D-8C16-2C35A3138555}" presName="horFlow" presStyleCnt="0"/>
      <dgm:spPr/>
    </dgm:pt>
    <dgm:pt modelId="{4C260DCB-F5FD-4739-B27A-C3C202058DAC}" type="pres">
      <dgm:prSet presAssocID="{C71269B8-1D69-472D-8C16-2C35A3138555}" presName="bigChev" presStyleLbl="node1" presStyleIdx="1" presStyleCnt="2"/>
      <dgm:spPr/>
    </dgm:pt>
    <dgm:pt modelId="{6532D4FC-60E0-4A7D-A4CD-6B20DE7D3E0C}" type="pres">
      <dgm:prSet presAssocID="{1B13A972-36BF-4475-AD3C-9C1679C23B3A}" presName="parTrans" presStyleCnt="0"/>
      <dgm:spPr/>
    </dgm:pt>
    <dgm:pt modelId="{206D7FF8-F6B9-4500-9E02-2062541EEAD4}" type="pres">
      <dgm:prSet presAssocID="{811E6214-DE5B-4312-98BF-EC268B52DED0}" presName="node" presStyleLbl="alignAccFollowNode1" presStyleIdx="3" presStyleCnt="6">
        <dgm:presLayoutVars>
          <dgm:bulletEnabled val="1"/>
        </dgm:presLayoutVars>
      </dgm:prSet>
      <dgm:spPr/>
    </dgm:pt>
    <dgm:pt modelId="{3A5E6353-F5A5-4890-A19B-86961F5BAAD5}" type="pres">
      <dgm:prSet presAssocID="{E48311DA-A7ED-4038-95C8-4A7A7629DFCC}" presName="sibTrans" presStyleCnt="0"/>
      <dgm:spPr/>
    </dgm:pt>
    <dgm:pt modelId="{3B623178-8E9D-4A3D-ADEB-54F2F088518A}" type="pres">
      <dgm:prSet presAssocID="{0DB6AC95-AC52-4E09-A224-B031781BD25B}" presName="node" presStyleLbl="alignAccFollowNode1" presStyleIdx="4" presStyleCnt="6">
        <dgm:presLayoutVars>
          <dgm:bulletEnabled val="1"/>
        </dgm:presLayoutVars>
      </dgm:prSet>
      <dgm:spPr/>
    </dgm:pt>
    <dgm:pt modelId="{DFBC9158-D8E0-4A1F-8ABA-ADF328AF0B5A}" type="pres">
      <dgm:prSet presAssocID="{9913F241-C722-4341-8A45-3BA9942DA6C6}" presName="sibTrans" presStyleCnt="0"/>
      <dgm:spPr/>
    </dgm:pt>
    <dgm:pt modelId="{D64817FE-A4A1-48B6-9EAA-67AC8D3DE931}" type="pres">
      <dgm:prSet presAssocID="{06A5C58F-9D32-4460-83F5-EA906350993C}" presName="node" presStyleLbl="alignAccFollowNode1" presStyleIdx="5" presStyleCnt="6">
        <dgm:presLayoutVars>
          <dgm:bulletEnabled val="1"/>
        </dgm:presLayoutVars>
      </dgm:prSet>
      <dgm:spPr/>
    </dgm:pt>
  </dgm:ptLst>
  <dgm:cxnLst>
    <dgm:cxn modelId="{89E2E712-50B9-4F3F-A224-1DAA9F863A52}" type="presOf" srcId="{823F805F-FC65-42A0-B7BC-9DCE0AF69AA6}" destId="{D828D2B7-B7E9-4A37-B1AE-C80A7E6C30B0}" srcOrd="0" destOrd="0" presId="urn:microsoft.com/office/officeart/2005/8/layout/lProcess3"/>
    <dgm:cxn modelId="{694D9D15-8C7C-4DCE-AD1C-1B759DCF2CB3}" srcId="{C71269B8-1D69-472D-8C16-2C35A3138555}" destId="{0DB6AC95-AC52-4E09-A224-B031781BD25B}" srcOrd="1" destOrd="0" parTransId="{18FD2BAA-4652-4833-9272-CA1FE6DDB458}" sibTransId="{9913F241-C722-4341-8A45-3BA9942DA6C6}"/>
    <dgm:cxn modelId="{C39A5C37-26CE-4EEC-9E45-732ED006824E}" srcId="{51758E5C-751B-4A57-9FE0-395C30450753}" destId="{15E010B6-1A3C-4C25-917C-C0B6D50A38F4}" srcOrd="1" destOrd="0" parTransId="{B123135C-3D1A-4EAB-B7CA-196C738454F6}" sibTransId="{AE8E94A1-C489-4993-BE8B-FCA2C555AA7F}"/>
    <dgm:cxn modelId="{7BEB8C44-27E3-424E-AC00-1E4A35F61CC8}" srcId="{C71269B8-1D69-472D-8C16-2C35A3138555}" destId="{06A5C58F-9D32-4460-83F5-EA906350993C}" srcOrd="2" destOrd="0" parTransId="{E7C1488E-0E05-4DC2-9BA4-D05119280962}" sibTransId="{8B0645AC-F9C0-42E9-A8CC-2F6723306375}"/>
    <dgm:cxn modelId="{18086F78-F235-487A-A443-C08F6956C0F7}" srcId="{51758E5C-751B-4A57-9FE0-395C30450753}" destId="{19D5A510-FDEE-41C2-A585-C5DD16760B8B}" srcOrd="2" destOrd="0" parTransId="{3C553C65-4D04-4F09-9DA3-A3C44AFCD7B6}" sibTransId="{095FE177-4FBB-48E2-99B5-99ED2F57ABB6}"/>
    <dgm:cxn modelId="{EE200D7F-B278-4599-A918-B2A0B9AC8C50}" srcId="{8AE4C6A8-3F90-4D07-9801-5C92A36774EC}" destId="{C71269B8-1D69-472D-8C16-2C35A3138555}" srcOrd="1" destOrd="0" parTransId="{8671F9A2-6218-499B-AF8E-5DCC05C21E4F}" sibTransId="{2AC182E8-AD2F-451C-B1DA-BC0B56BE93F5}"/>
    <dgm:cxn modelId="{9C2E7681-28FD-439C-8F80-CFEB8ACE6AC4}" srcId="{8AE4C6A8-3F90-4D07-9801-5C92A36774EC}" destId="{51758E5C-751B-4A57-9FE0-395C30450753}" srcOrd="0" destOrd="0" parTransId="{D33D65B3-A818-4E34-9DE8-6C21E28F9B9B}" sibTransId="{45B3366C-4E07-4172-9880-1E00C256126C}"/>
    <dgm:cxn modelId="{D666A585-0991-475B-85CF-3637F082D034}" type="presOf" srcId="{06A5C58F-9D32-4460-83F5-EA906350993C}" destId="{D64817FE-A4A1-48B6-9EAA-67AC8D3DE931}" srcOrd="0" destOrd="0" presId="urn:microsoft.com/office/officeart/2005/8/layout/lProcess3"/>
    <dgm:cxn modelId="{7B22FD92-35BC-4426-BB51-19336DEB4C91}" type="presOf" srcId="{811E6214-DE5B-4312-98BF-EC268B52DED0}" destId="{206D7FF8-F6B9-4500-9E02-2062541EEAD4}" srcOrd="0" destOrd="0" presId="urn:microsoft.com/office/officeart/2005/8/layout/lProcess3"/>
    <dgm:cxn modelId="{E1B952AC-154E-403C-B3FF-8B109F751CCE}" type="presOf" srcId="{0DB6AC95-AC52-4E09-A224-B031781BD25B}" destId="{3B623178-8E9D-4A3D-ADEB-54F2F088518A}" srcOrd="0" destOrd="0" presId="urn:microsoft.com/office/officeart/2005/8/layout/lProcess3"/>
    <dgm:cxn modelId="{4E5C63B2-D81A-4C1E-AE3E-29513F4194A3}" type="presOf" srcId="{15E010B6-1A3C-4C25-917C-C0B6D50A38F4}" destId="{6679B128-AD39-4BAB-8CF9-168F57776BA2}" srcOrd="0" destOrd="0" presId="urn:microsoft.com/office/officeart/2005/8/layout/lProcess3"/>
    <dgm:cxn modelId="{69AED1C3-4C6B-4F6C-8660-398436FACA38}" type="presOf" srcId="{51758E5C-751B-4A57-9FE0-395C30450753}" destId="{8E3546D4-27AC-4908-AA2C-9C4CAFE6CB68}" srcOrd="0" destOrd="0" presId="urn:microsoft.com/office/officeart/2005/8/layout/lProcess3"/>
    <dgm:cxn modelId="{2E703BCD-8039-4DB6-8D00-707D4F07FA33}" type="presOf" srcId="{C71269B8-1D69-472D-8C16-2C35A3138555}" destId="{4C260DCB-F5FD-4739-B27A-C3C202058DAC}" srcOrd="0" destOrd="0" presId="urn:microsoft.com/office/officeart/2005/8/layout/lProcess3"/>
    <dgm:cxn modelId="{9F8E82D1-420A-451E-ACD5-C275640AE161}" srcId="{51758E5C-751B-4A57-9FE0-395C30450753}" destId="{823F805F-FC65-42A0-B7BC-9DCE0AF69AA6}" srcOrd="0" destOrd="0" parTransId="{BC1AEAB2-5CCB-452B-819F-594545ED1B35}" sibTransId="{097F88CC-8A42-4326-8203-386A1E6A30D2}"/>
    <dgm:cxn modelId="{2566CBD7-2DED-4B3A-9CD0-6736F83E16E0}" type="presOf" srcId="{19D5A510-FDEE-41C2-A585-C5DD16760B8B}" destId="{F68BEEB1-9633-43E9-8BE2-8EAF9E0B2A3E}" srcOrd="0" destOrd="0" presId="urn:microsoft.com/office/officeart/2005/8/layout/lProcess3"/>
    <dgm:cxn modelId="{647B49E8-3D40-42F3-B886-E37251F0D43F}" srcId="{C71269B8-1D69-472D-8C16-2C35A3138555}" destId="{811E6214-DE5B-4312-98BF-EC268B52DED0}" srcOrd="0" destOrd="0" parTransId="{1B13A972-36BF-4475-AD3C-9C1679C23B3A}" sibTransId="{E48311DA-A7ED-4038-95C8-4A7A7629DFCC}"/>
    <dgm:cxn modelId="{0AF2CAF1-DE70-4347-9B32-113D8D9B5D45}" type="presOf" srcId="{8AE4C6A8-3F90-4D07-9801-5C92A36774EC}" destId="{BAC24337-23BE-4368-905C-3B72BEC5C5F5}" srcOrd="0" destOrd="0" presId="urn:microsoft.com/office/officeart/2005/8/layout/lProcess3"/>
    <dgm:cxn modelId="{F8F5DDB1-9C71-4790-B7FA-46F02A7077EB}" type="presParOf" srcId="{BAC24337-23BE-4368-905C-3B72BEC5C5F5}" destId="{4E2015D7-98D7-435C-B459-6396BB6FF08B}" srcOrd="0" destOrd="0" presId="urn:microsoft.com/office/officeart/2005/8/layout/lProcess3"/>
    <dgm:cxn modelId="{6CEDB7B1-FEEE-4328-834C-764DE754006A}" type="presParOf" srcId="{4E2015D7-98D7-435C-B459-6396BB6FF08B}" destId="{8E3546D4-27AC-4908-AA2C-9C4CAFE6CB68}" srcOrd="0" destOrd="0" presId="urn:microsoft.com/office/officeart/2005/8/layout/lProcess3"/>
    <dgm:cxn modelId="{F4770907-2CC2-4E6F-A54C-0A2E504FB14A}" type="presParOf" srcId="{4E2015D7-98D7-435C-B459-6396BB6FF08B}" destId="{854D3D42-B596-4515-8317-D2026D3B9E66}" srcOrd="1" destOrd="0" presId="urn:microsoft.com/office/officeart/2005/8/layout/lProcess3"/>
    <dgm:cxn modelId="{A16FCC4A-8985-4B4E-85B5-2DA73C807F21}" type="presParOf" srcId="{4E2015D7-98D7-435C-B459-6396BB6FF08B}" destId="{D828D2B7-B7E9-4A37-B1AE-C80A7E6C30B0}" srcOrd="2" destOrd="0" presId="urn:microsoft.com/office/officeart/2005/8/layout/lProcess3"/>
    <dgm:cxn modelId="{DA6CE710-A822-4B49-9AB8-2C2F832A52FA}" type="presParOf" srcId="{4E2015D7-98D7-435C-B459-6396BB6FF08B}" destId="{B2E905D6-C4FD-4C1E-9C76-4776C91E2658}" srcOrd="3" destOrd="0" presId="urn:microsoft.com/office/officeart/2005/8/layout/lProcess3"/>
    <dgm:cxn modelId="{E254B9BB-F5B3-4F69-9181-4A3DAEE0AABE}" type="presParOf" srcId="{4E2015D7-98D7-435C-B459-6396BB6FF08B}" destId="{6679B128-AD39-4BAB-8CF9-168F57776BA2}" srcOrd="4" destOrd="0" presId="urn:microsoft.com/office/officeart/2005/8/layout/lProcess3"/>
    <dgm:cxn modelId="{C1A5E8DE-BB77-4F3A-A1BD-97FFCAC08DB0}" type="presParOf" srcId="{4E2015D7-98D7-435C-B459-6396BB6FF08B}" destId="{D63C4EF9-E161-46B6-8C5F-4AC72307500E}" srcOrd="5" destOrd="0" presId="urn:microsoft.com/office/officeart/2005/8/layout/lProcess3"/>
    <dgm:cxn modelId="{E9266258-C198-46FB-9335-F6A4915E4546}" type="presParOf" srcId="{4E2015D7-98D7-435C-B459-6396BB6FF08B}" destId="{F68BEEB1-9633-43E9-8BE2-8EAF9E0B2A3E}" srcOrd="6" destOrd="0" presId="urn:microsoft.com/office/officeart/2005/8/layout/lProcess3"/>
    <dgm:cxn modelId="{FD08142E-8018-4736-9AC0-219CA36B31BB}" type="presParOf" srcId="{BAC24337-23BE-4368-905C-3B72BEC5C5F5}" destId="{D9564BC1-3CAF-4165-9A2C-9D8A06C53CB4}" srcOrd="1" destOrd="0" presId="urn:microsoft.com/office/officeart/2005/8/layout/lProcess3"/>
    <dgm:cxn modelId="{E7960C35-2754-46CD-B1DF-27F1B40D23EE}" type="presParOf" srcId="{BAC24337-23BE-4368-905C-3B72BEC5C5F5}" destId="{FE3E8159-4572-42EA-BA0F-0CC3E6C4B1DC}" srcOrd="2" destOrd="0" presId="urn:microsoft.com/office/officeart/2005/8/layout/lProcess3"/>
    <dgm:cxn modelId="{F9DF24D2-6B43-4B9B-B96D-CE5106795458}" type="presParOf" srcId="{FE3E8159-4572-42EA-BA0F-0CC3E6C4B1DC}" destId="{4C260DCB-F5FD-4739-B27A-C3C202058DAC}" srcOrd="0" destOrd="0" presId="urn:microsoft.com/office/officeart/2005/8/layout/lProcess3"/>
    <dgm:cxn modelId="{F8EFB029-5EB3-481D-BD82-2190F70EEFA1}" type="presParOf" srcId="{FE3E8159-4572-42EA-BA0F-0CC3E6C4B1DC}" destId="{6532D4FC-60E0-4A7D-A4CD-6B20DE7D3E0C}" srcOrd="1" destOrd="0" presId="urn:microsoft.com/office/officeart/2005/8/layout/lProcess3"/>
    <dgm:cxn modelId="{C7817B2A-CD8D-4C22-9985-657E4F838028}" type="presParOf" srcId="{FE3E8159-4572-42EA-BA0F-0CC3E6C4B1DC}" destId="{206D7FF8-F6B9-4500-9E02-2062541EEAD4}" srcOrd="2" destOrd="0" presId="urn:microsoft.com/office/officeart/2005/8/layout/lProcess3"/>
    <dgm:cxn modelId="{3C00DDA3-9A0B-485B-BB87-70538BF1F0A7}" type="presParOf" srcId="{FE3E8159-4572-42EA-BA0F-0CC3E6C4B1DC}" destId="{3A5E6353-F5A5-4890-A19B-86961F5BAAD5}" srcOrd="3" destOrd="0" presId="urn:microsoft.com/office/officeart/2005/8/layout/lProcess3"/>
    <dgm:cxn modelId="{E0D2486A-B1E0-4693-9F18-A48DD631F484}" type="presParOf" srcId="{FE3E8159-4572-42EA-BA0F-0CC3E6C4B1DC}" destId="{3B623178-8E9D-4A3D-ADEB-54F2F088518A}" srcOrd="4" destOrd="0" presId="urn:microsoft.com/office/officeart/2005/8/layout/lProcess3"/>
    <dgm:cxn modelId="{6FE31D32-6952-4E8E-8541-BE18A025BB79}" type="presParOf" srcId="{FE3E8159-4572-42EA-BA0F-0CC3E6C4B1DC}" destId="{DFBC9158-D8E0-4A1F-8ABA-ADF328AF0B5A}" srcOrd="5" destOrd="0" presId="urn:microsoft.com/office/officeart/2005/8/layout/lProcess3"/>
    <dgm:cxn modelId="{6FFFB044-BBBA-41A2-8762-03D35B8DA2CD}" type="presParOf" srcId="{FE3E8159-4572-42EA-BA0F-0CC3E6C4B1DC}" destId="{D64817FE-A4A1-48B6-9EAA-67AC8D3DE931}"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BA8A08-8A95-4770-808C-3A4678B2B7C9}"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C0EFE3B8-B633-404F-AA0E-1434628AA957}">
      <dgm:prSet custT="1"/>
      <dgm:spPr/>
      <dgm:t>
        <a:bodyPr/>
        <a:lstStyle/>
        <a:p>
          <a:r>
            <a:rPr lang="en-US" sz="2400" baseline="0" dirty="0"/>
            <a:t>PowerShell</a:t>
          </a:r>
          <a:endParaRPr lang="en-US" sz="2400" dirty="0"/>
        </a:p>
      </dgm:t>
    </dgm:pt>
    <dgm:pt modelId="{5EFF0955-76F5-442F-8703-6199E8FCC48B}" type="parTrans" cxnId="{1187067B-0B6E-430C-A8DF-4AC14DA71800}">
      <dgm:prSet/>
      <dgm:spPr/>
      <dgm:t>
        <a:bodyPr/>
        <a:lstStyle/>
        <a:p>
          <a:endParaRPr lang="en-US"/>
        </a:p>
      </dgm:t>
    </dgm:pt>
    <dgm:pt modelId="{068B0316-1B9A-49A9-8C53-4B9E6826C9A1}" type="sibTrans" cxnId="{1187067B-0B6E-430C-A8DF-4AC14DA71800}">
      <dgm:prSet/>
      <dgm:spPr/>
      <dgm:t>
        <a:bodyPr/>
        <a:lstStyle/>
        <a:p>
          <a:endParaRPr lang="en-US"/>
        </a:p>
      </dgm:t>
    </dgm:pt>
    <dgm:pt modelId="{7AA261E6-0072-4448-84EA-59236AD8E93A}">
      <dgm:prSet custT="1"/>
      <dgm:spPr/>
      <dgm:t>
        <a:bodyPr/>
        <a:lstStyle/>
        <a:p>
          <a:r>
            <a:rPr lang="en-US" sz="2000" baseline="0" dirty="0"/>
            <a:t>Set-</a:t>
          </a:r>
          <a:r>
            <a:rPr lang="en-US" sz="2000" baseline="0" dirty="0" err="1"/>
            <a:t>AzSqlDatabase</a:t>
          </a:r>
          <a:endParaRPr lang="en-US" sz="2000" dirty="0"/>
        </a:p>
      </dgm:t>
    </dgm:pt>
    <dgm:pt modelId="{079660E7-870D-4972-9B9A-E1FBC521894C}" type="parTrans" cxnId="{0320E1C2-1012-4237-A6B4-CFB6C7FA82BC}">
      <dgm:prSet/>
      <dgm:spPr/>
      <dgm:t>
        <a:bodyPr/>
        <a:lstStyle/>
        <a:p>
          <a:endParaRPr lang="en-US"/>
        </a:p>
      </dgm:t>
    </dgm:pt>
    <dgm:pt modelId="{2DCFA3EE-61C9-4FCD-8A19-3380D57B7F86}" type="sibTrans" cxnId="{0320E1C2-1012-4237-A6B4-CFB6C7FA82BC}">
      <dgm:prSet/>
      <dgm:spPr/>
      <dgm:t>
        <a:bodyPr/>
        <a:lstStyle/>
        <a:p>
          <a:endParaRPr lang="en-US"/>
        </a:p>
      </dgm:t>
    </dgm:pt>
    <dgm:pt modelId="{89B18726-44E6-48D3-BFC4-D4F4A6B09AE5}">
      <dgm:prSet custT="1"/>
      <dgm:spPr/>
      <dgm:t>
        <a:bodyPr/>
        <a:lstStyle/>
        <a:p>
          <a:r>
            <a:rPr lang="en-US" sz="2400" baseline="0" dirty="0"/>
            <a:t>REST</a:t>
          </a:r>
          <a:endParaRPr lang="en-US" sz="2400" dirty="0"/>
        </a:p>
      </dgm:t>
    </dgm:pt>
    <dgm:pt modelId="{22654B07-8A16-43DE-9EB5-3E5170A60730}" type="parTrans" cxnId="{849A32D5-8710-4961-88C9-1C03F636D5D4}">
      <dgm:prSet/>
      <dgm:spPr/>
      <dgm:t>
        <a:bodyPr/>
        <a:lstStyle/>
        <a:p>
          <a:endParaRPr lang="en-US"/>
        </a:p>
      </dgm:t>
    </dgm:pt>
    <dgm:pt modelId="{912579E7-6050-4FC4-8148-0FC6BEE84012}" type="sibTrans" cxnId="{849A32D5-8710-4961-88C9-1C03F636D5D4}">
      <dgm:prSet/>
      <dgm:spPr/>
      <dgm:t>
        <a:bodyPr/>
        <a:lstStyle/>
        <a:p>
          <a:endParaRPr lang="en-US"/>
        </a:p>
      </dgm:t>
    </dgm:pt>
    <dgm:pt modelId="{5995C2FD-F367-4342-93E4-C38E1A72E8FA}">
      <dgm:prSet custT="1"/>
      <dgm:spPr/>
      <dgm:t>
        <a:bodyPr/>
        <a:lstStyle/>
        <a:p>
          <a:r>
            <a:rPr lang="en-US" sz="2000" baseline="0" dirty="0"/>
            <a:t>Update database</a:t>
          </a:r>
          <a:endParaRPr lang="en-US" sz="2000" dirty="0"/>
        </a:p>
      </dgm:t>
    </dgm:pt>
    <dgm:pt modelId="{E3635DDD-CEEF-4875-8A4D-F45E1B81D96C}" type="parTrans" cxnId="{0B56C2EF-EC3E-4F83-B815-599F8803D548}">
      <dgm:prSet/>
      <dgm:spPr/>
      <dgm:t>
        <a:bodyPr/>
        <a:lstStyle/>
        <a:p>
          <a:endParaRPr lang="en-US"/>
        </a:p>
      </dgm:t>
    </dgm:pt>
    <dgm:pt modelId="{B349F384-C6C5-4BC8-A64B-2E1D5B98DE0F}" type="sibTrans" cxnId="{0B56C2EF-EC3E-4F83-B815-599F8803D548}">
      <dgm:prSet/>
      <dgm:spPr/>
      <dgm:t>
        <a:bodyPr/>
        <a:lstStyle/>
        <a:p>
          <a:endParaRPr lang="en-US"/>
        </a:p>
      </dgm:t>
    </dgm:pt>
    <dgm:pt modelId="{0A0A7117-436E-4ECF-84FD-42FB7EA50312}">
      <dgm:prSet custT="1"/>
      <dgm:spPr/>
      <dgm:t>
        <a:bodyPr/>
        <a:lstStyle/>
        <a:p>
          <a:r>
            <a:rPr lang="en-US" sz="2400" baseline="0" dirty="0"/>
            <a:t>Azure CLI</a:t>
          </a:r>
          <a:endParaRPr lang="en-US" sz="2400" dirty="0"/>
        </a:p>
      </dgm:t>
    </dgm:pt>
    <dgm:pt modelId="{2699208A-C58A-41E4-8242-5D8597D6BDE6}" type="parTrans" cxnId="{6DC0A238-CF37-4BE6-85EB-F90D3CFB0F23}">
      <dgm:prSet/>
      <dgm:spPr/>
      <dgm:t>
        <a:bodyPr/>
        <a:lstStyle/>
        <a:p>
          <a:endParaRPr lang="en-US"/>
        </a:p>
      </dgm:t>
    </dgm:pt>
    <dgm:pt modelId="{88D2414F-149C-429F-8DC5-8A44D9014D5F}" type="sibTrans" cxnId="{6DC0A238-CF37-4BE6-85EB-F90D3CFB0F23}">
      <dgm:prSet/>
      <dgm:spPr/>
      <dgm:t>
        <a:bodyPr/>
        <a:lstStyle/>
        <a:p>
          <a:endParaRPr lang="en-US"/>
        </a:p>
      </dgm:t>
    </dgm:pt>
    <dgm:pt modelId="{B004EA40-81D9-4767-A6D5-7B9AFEFC5626}">
      <dgm:prSet custT="1"/>
      <dgm:spPr/>
      <dgm:t>
        <a:bodyPr/>
        <a:lstStyle/>
        <a:p>
          <a:r>
            <a:rPr lang="en-US" sz="2000" baseline="0" dirty="0" err="1"/>
            <a:t>az</a:t>
          </a:r>
          <a:r>
            <a:rPr lang="en-US" sz="2000" baseline="0" dirty="0"/>
            <a:t> </a:t>
          </a:r>
          <a:r>
            <a:rPr lang="en-US" sz="2000" baseline="0" dirty="0" err="1"/>
            <a:t>sql</a:t>
          </a:r>
          <a:r>
            <a:rPr lang="en-US" sz="2000" baseline="0" dirty="0"/>
            <a:t> </a:t>
          </a:r>
          <a:r>
            <a:rPr lang="en-US" sz="2000" baseline="0" dirty="0" err="1"/>
            <a:t>db</a:t>
          </a:r>
          <a:r>
            <a:rPr lang="en-US" sz="2000" baseline="0" dirty="0"/>
            <a:t> update</a:t>
          </a:r>
          <a:endParaRPr lang="en-US" sz="2000" dirty="0"/>
        </a:p>
      </dgm:t>
    </dgm:pt>
    <dgm:pt modelId="{B20DF906-47EA-4F5E-9820-2EC247386444}" type="parTrans" cxnId="{387B1308-B269-4DC4-B534-40A4DB8BCEFA}">
      <dgm:prSet/>
      <dgm:spPr/>
      <dgm:t>
        <a:bodyPr/>
        <a:lstStyle/>
        <a:p>
          <a:endParaRPr lang="en-US"/>
        </a:p>
      </dgm:t>
    </dgm:pt>
    <dgm:pt modelId="{7BBF65BE-D164-4F4F-B1E9-607E9C646B69}" type="sibTrans" cxnId="{387B1308-B269-4DC4-B534-40A4DB8BCEFA}">
      <dgm:prSet/>
      <dgm:spPr/>
      <dgm:t>
        <a:bodyPr/>
        <a:lstStyle/>
        <a:p>
          <a:endParaRPr lang="en-US"/>
        </a:p>
      </dgm:t>
    </dgm:pt>
    <dgm:pt modelId="{323E7F2C-FA61-4E07-9F8E-F74A58801BC9}">
      <dgm:prSet custT="1"/>
      <dgm:spPr/>
      <dgm:t>
        <a:bodyPr/>
        <a:lstStyle/>
        <a:p>
          <a:r>
            <a:rPr lang="en-US" sz="2400" baseline="0" dirty="0"/>
            <a:t>T-SQL</a:t>
          </a:r>
          <a:endParaRPr lang="en-US" sz="2400" dirty="0"/>
        </a:p>
      </dgm:t>
    </dgm:pt>
    <dgm:pt modelId="{26676EC0-4336-45A5-878F-5BA8E6AF0EAC}" type="parTrans" cxnId="{594820F1-EE3A-40F2-95FE-51491C3A165A}">
      <dgm:prSet/>
      <dgm:spPr/>
      <dgm:t>
        <a:bodyPr/>
        <a:lstStyle/>
        <a:p>
          <a:endParaRPr lang="en-US"/>
        </a:p>
      </dgm:t>
    </dgm:pt>
    <dgm:pt modelId="{7AD0ADAA-EB24-4BEF-8133-30CF82916F31}" type="sibTrans" cxnId="{594820F1-EE3A-40F2-95FE-51491C3A165A}">
      <dgm:prSet/>
      <dgm:spPr/>
      <dgm:t>
        <a:bodyPr/>
        <a:lstStyle/>
        <a:p>
          <a:endParaRPr lang="en-US"/>
        </a:p>
      </dgm:t>
    </dgm:pt>
    <dgm:pt modelId="{491BDCC4-8526-4B2F-80CB-C84D8EBB4C55}">
      <dgm:prSet custT="1"/>
      <dgm:spPr/>
      <dgm:t>
        <a:bodyPr/>
        <a:lstStyle/>
        <a:p>
          <a:r>
            <a:rPr lang="en-US" sz="2000" baseline="0" dirty="0"/>
            <a:t>ALTER DATABASE … MODIFY (EDITION = …)</a:t>
          </a:r>
          <a:endParaRPr lang="en-US" sz="2000" dirty="0"/>
        </a:p>
      </dgm:t>
    </dgm:pt>
    <dgm:pt modelId="{A5EE1DBA-260C-4F3A-AB46-71D487F2A89C}" type="parTrans" cxnId="{2F30E610-D4C9-40C9-9491-86AF5C71E782}">
      <dgm:prSet/>
      <dgm:spPr/>
      <dgm:t>
        <a:bodyPr/>
        <a:lstStyle/>
        <a:p>
          <a:endParaRPr lang="en-US"/>
        </a:p>
      </dgm:t>
    </dgm:pt>
    <dgm:pt modelId="{0CE4D21D-D36D-444A-BB27-EE09AE6313B4}" type="sibTrans" cxnId="{2F30E610-D4C9-40C9-9491-86AF5C71E782}">
      <dgm:prSet/>
      <dgm:spPr/>
      <dgm:t>
        <a:bodyPr/>
        <a:lstStyle/>
        <a:p>
          <a:endParaRPr lang="en-US"/>
        </a:p>
      </dgm:t>
    </dgm:pt>
    <dgm:pt modelId="{6DECA1BD-5C65-480F-9FBE-194722771469}" type="pres">
      <dgm:prSet presAssocID="{66BA8A08-8A95-4770-808C-3A4678B2B7C9}" presName="linear" presStyleCnt="0">
        <dgm:presLayoutVars>
          <dgm:animLvl val="lvl"/>
          <dgm:resizeHandles val="exact"/>
        </dgm:presLayoutVars>
      </dgm:prSet>
      <dgm:spPr/>
    </dgm:pt>
    <dgm:pt modelId="{808A5EAB-3BB0-4A6C-9794-7BD56124DAF8}" type="pres">
      <dgm:prSet presAssocID="{C0EFE3B8-B633-404F-AA0E-1434628AA957}" presName="parentText" presStyleLbl="node1" presStyleIdx="0" presStyleCnt="4">
        <dgm:presLayoutVars>
          <dgm:chMax val="0"/>
          <dgm:bulletEnabled val="1"/>
        </dgm:presLayoutVars>
      </dgm:prSet>
      <dgm:spPr/>
    </dgm:pt>
    <dgm:pt modelId="{3325B63E-757F-46A1-B90D-EB50213FEDF1}" type="pres">
      <dgm:prSet presAssocID="{C0EFE3B8-B633-404F-AA0E-1434628AA957}" presName="childText" presStyleLbl="revTx" presStyleIdx="0" presStyleCnt="4">
        <dgm:presLayoutVars>
          <dgm:bulletEnabled val="1"/>
        </dgm:presLayoutVars>
      </dgm:prSet>
      <dgm:spPr/>
    </dgm:pt>
    <dgm:pt modelId="{934805BF-8023-4612-B5F3-CC19F4A2752C}" type="pres">
      <dgm:prSet presAssocID="{89B18726-44E6-48D3-BFC4-D4F4A6B09AE5}" presName="parentText" presStyleLbl="node1" presStyleIdx="1" presStyleCnt="4">
        <dgm:presLayoutVars>
          <dgm:chMax val="0"/>
          <dgm:bulletEnabled val="1"/>
        </dgm:presLayoutVars>
      </dgm:prSet>
      <dgm:spPr/>
    </dgm:pt>
    <dgm:pt modelId="{3D612DB5-6F16-4F93-AE2E-250304AFBD00}" type="pres">
      <dgm:prSet presAssocID="{89B18726-44E6-48D3-BFC4-D4F4A6B09AE5}" presName="childText" presStyleLbl="revTx" presStyleIdx="1" presStyleCnt="4">
        <dgm:presLayoutVars>
          <dgm:bulletEnabled val="1"/>
        </dgm:presLayoutVars>
      </dgm:prSet>
      <dgm:spPr/>
    </dgm:pt>
    <dgm:pt modelId="{B1C242CC-A693-4C4F-B4D5-DCFD04B25411}" type="pres">
      <dgm:prSet presAssocID="{0A0A7117-436E-4ECF-84FD-42FB7EA50312}" presName="parentText" presStyleLbl="node1" presStyleIdx="2" presStyleCnt="4">
        <dgm:presLayoutVars>
          <dgm:chMax val="0"/>
          <dgm:bulletEnabled val="1"/>
        </dgm:presLayoutVars>
      </dgm:prSet>
      <dgm:spPr/>
    </dgm:pt>
    <dgm:pt modelId="{261C8662-6846-41B8-AED8-16DC4F7656DF}" type="pres">
      <dgm:prSet presAssocID="{0A0A7117-436E-4ECF-84FD-42FB7EA50312}" presName="childText" presStyleLbl="revTx" presStyleIdx="2" presStyleCnt="4">
        <dgm:presLayoutVars>
          <dgm:bulletEnabled val="1"/>
        </dgm:presLayoutVars>
      </dgm:prSet>
      <dgm:spPr/>
    </dgm:pt>
    <dgm:pt modelId="{39774D1A-67C5-490C-96D8-ABCDC9A7C164}" type="pres">
      <dgm:prSet presAssocID="{323E7F2C-FA61-4E07-9F8E-F74A58801BC9}" presName="parentText" presStyleLbl="node1" presStyleIdx="3" presStyleCnt="4">
        <dgm:presLayoutVars>
          <dgm:chMax val="0"/>
          <dgm:bulletEnabled val="1"/>
        </dgm:presLayoutVars>
      </dgm:prSet>
      <dgm:spPr/>
    </dgm:pt>
    <dgm:pt modelId="{206AE505-7652-422D-9A53-65D5EEBFE51D}" type="pres">
      <dgm:prSet presAssocID="{323E7F2C-FA61-4E07-9F8E-F74A58801BC9}" presName="childText" presStyleLbl="revTx" presStyleIdx="3" presStyleCnt="4">
        <dgm:presLayoutVars>
          <dgm:bulletEnabled val="1"/>
        </dgm:presLayoutVars>
      </dgm:prSet>
      <dgm:spPr/>
    </dgm:pt>
  </dgm:ptLst>
  <dgm:cxnLst>
    <dgm:cxn modelId="{7B7E1F01-1EBE-48BE-AF2D-2F7404D1F001}" type="presOf" srcId="{323E7F2C-FA61-4E07-9F8E-F74A58801BC9}" destId="{39774D1A-67C5-490C-96D8-ABCDC9A7C164}" srcOrd="0" destOrd="0" presId="urn:microsoft.com/office/officeart/2005/8/layout/vList2"/>
    <dgm:cxn modelId="{387B1308-B269-4DC4-B534-40A4DB8BCEFA}" srcId="{0A0A7117-436E-4ECF-84FD-42FB7EA50312}" destId="{B004EA40-81D9-4767-A6D5-7B9AFEFC5626}" srcOrd="0" destOrd="0" parTransId="{B20DF906-47EA-4F5E-9820-2EC247386444}" sibTransId="{7BBF65BE-D164-4F4F-B1E9-607E9C646B69}"/>
    <dgm:cxn modelId="{3DE73F0D-9098-45DD-B2C4-A8C8A639F20E}" type="presOf" srcId="{B004EA40-81D9-4767-A6D5-7B9AFEFC5626}" destId="{261C8662-6846-41B8-AED8-16DC4F7656DF}" srcOrd="0" destOrd="0" presId="urn:microsoft.com/office/officeart/2005/8/layout/vList2"/>
    <dgm:cxn modelId="{2F30E610-D4C9-40C9-9491-86AF5C71E782}" srcId="{323E7F2C-FA61-4E07-9F8E-F74A58801BC9}" destId="{491BDCC4-8526-4B2F-80CB-C84D8EBB4C55}" srcOrd="0" destOrd="0" parTransId="{A5EE1DBA-260C-4F3A-AB46-71D487F2A89C}" sibTransId="{0CE4D21D-D36D-444A-BB27-EE09AE6313B4}"/>
    <dgm:cxn modelId="{6DC0A238-CF37-4BE6-85EB-F90D3CFB0F23}" srcId="{66BA8A08-8A95-4770-808C-3A4678B2B7C9}" destId="{0A0A7117-436E-4ECF-84FD-42FB7EA50312}" srcOrd="2" destOrd="0" parTransId="{2699208A-C58A-41E4-8242-5D8597D6BDE6}" sibTransId="{88D2414F-149C-429F-8DC5-8A44D9014D5F}"/>
    <dgm:cxn modelId="{41B54365-06F5-452B-91D4-2706632C5947}" type="presOf" srcId="{7AA261E6-0072-4448-84EA-59236AD8E93A}" destId="{3325B63E-757F-46A1-B90D-EB50213FEDF1}" srcOrd="0" destOrd="0" presId="urn:microsoft.com/office/officeart/2005/8/layout/vList2"/>
    <dgm:cxn modelId="{1187067B-0B6E-430C-A8DF-4AC14DA71800}" srcId="{66BA8A08-8A95-4770-808C-3A4678B2B7C9}" destId="{C0EFE3B8-B633-404F-AA0E-1434628AA957}" srcOrd="0" destOrd="0" parTransId="{5EFF0955-76F5-442F-8703-6199E8FCC48B}" sibTransId="{068B0316-1B9A-49A9-8C53-4B9E6826C9A1}"/>
    <dgm:cxn modelId="{C39C0E7B-73A4-467D-95D1-58752E11F0DD}" type="presOf" srcId="{0A0A7117-436E-4ECF-84FD-42FB7EA50312}" destId="{B1C242CC-A693-4C4F-B4D5-DCFD04B25411}" srcOrd="0" destOrd="0" presId="urn:microsoft.com/office/officeart/2005/8/layout/vList2"/>
    <dgm:cxn modelId="{853ECF84-A056-480D-8D6D-6EA13A31E714}" type="presOf" srcId="{C0EFE3B8-B633-404F-AA0E-1434628AA957}" destId="{808A5EAB-3BB0-4A6C-9794-7BD56124DAF8}" srcOrd="0" destOrd="0" presId="urn:microsoft.com/office/officeart/2005/8/layout/vList2"/>
    <dgm:cxn modelId="{83E131AA-9EAF-4496-B831-AE7492A379DB}" type="presOf" srcId="{5995C2FD-F367-4342-93E4-C38E1A72E8FA}" destId="{3D612DB5-6F16-4F93-AE2E-250304AFBD00}" srcOrd="0" destOrd="0" presId="urn:microsoft.com/office/officeart/2005/8/layout/vList2"/>
    <dgm:cxn modelId="{5FAF41C0-FD70-4244-8C0E-61665174CE1C}" type="presOf" srcId="{491BDCC4-8526-4B2F-80CB-C84D8EBB4C55}" destId="{206AE505-7652-422D-9A53-65D5EEBFE51D}" srcOrd="0" destOrd="0" presId="urn:microsoft.com/office/officeart/2005/8/layout/vList2"/>
    <dgm:cxn modelId="{0320E1C2-1012-4237-A6B4-CFB6C7FA82BC}" srcId="{C0EFE3B8-B633-404F-AA0E-1434628AA957}" destId="{7AA261E6-0072-4448-84EA-59236AD8E93A}" srcOrd="0" destOrd="0" parTransId="{079660E7-870D-4972-9B9A-E1FBC521894C}" sibTransId="{2DCFA3EE-61C9-4FCD-8A19-3380D57B7F86}"/>
    <dgm:cxn modelId="{849A32D5-8710-4961-88C9-1C03F636D5D4}" srcId="{66BA8A08-8A95-4770-808C-3A4678B2B7C9}" destId="{89B18726-44E6-48D3-BFC4-D4F4A6B09AE5}" srcOrd="1" destOrd="0" parTransId="{22654B07-8A16-43DE-9EB5-3E5170A60730}" sibTransId="{912579E7-6050-4FC4-8148-0FC6BEE84012}"/>
    <dgm:cxn modelId="{3258EBD6-9747-4488-96CC-6308C784A7B7}" type="presOf" srcId="{66BA8A08-8A95-4770-808C-3A4678B2B7C9}" destId="{6DECA1BD-5C65-480F-9FBE-194722771469}" srcOrd="0" destOrd="0" presId="urn:microsoft.com/office/officeart/2005/8/layout/vList2"/>
    <dgm:cxn modelId="{0B56C2EF-EC3E-4F83-B815-599F8803D548}" srcId="{89B18726-44E6-48D3-BFC4-D4F4A6B09AE5}" destId="{5995C2FD-F367-4342-93E4-C38E1A72E8FA}" srcOrd="0" destOrd="0" parTransId="{E3635DDD-CEEF-4875-8A4D-F45E1B81D96C}" sibTransId="{B349F384-C6C5-4BC8-A64B-2E1D5B98DE0F}"/>
    <dgm:cxn modelId="{594820F1-EE3A-40F2-95FE-51491C3A165A}" srcId="{66BA8A08-8A95-4770-808C-3A4678B2B7C9}" destId="{323E7F2C-FA61-4E07-9F8E-F74A58801BC9}" srcOrd="3" destOrd="0" parTransId="{26676EC0-4336-45A5-878F-5BA8E6AF0EAC}" sibTransId="{7AD0ADAA-EB24-4BEF-8133-30CF82916F31}"/>
    <dgm:cxn modelId="{9C67DEF8-EF04-4EB5-A68D-3C637E064303}" type="presOf" srcId="{89B18726-44E6-48D3-BFC4-D4F4A6B09AE5}" destId="{934805BF-8023-4612-B5F3-CC19F4A2752C}" srcOrd="0" destOrd="0" presId="urn:microsoft.com/office/officeart/2005/8/layout/vList2"/>
    <dgm:cxn modelId="{0CDE443B-0A57-45CE-9F97-EB7DD76475FD}" type="presParOf" srcId="{6DECA1BD-5C65-480F-9FBE-194722771469}" destId="{808A5EAB-3BB0-4A6C-9794-7BD56124DAF8}" srcOrd="0" destOrd="0" presId="urn:microsoft.com/office/officeart/2005/8/layout/vList2"/>
    <dgm:cxn modelId="{0AA1BA04-9F99-4425-8EEA-D4EA449541EF}" type="presParOf" srcId="{6DECA1BD-5C65-480F-9FBE-194722771469}" destId="{3325B63E-757F-46A1-B90D-EB50213FEDF1}" srcOrd="1" destOrd="0" presId="urn:microsoft.com/office/officeart/2005/8/layout/vList2"/>
    <dgm:cxn modelId="{00FA4FE5-7ED1-4E33-9567-6CBC6D2AB0EB}" type="presParOf" srcId="{6DECA1BD-5C65-480F-9FBE-194722771469}" destId="{934805BF-8023-4612-B5F3-CC19F4A2752C}" srcOrd="2" destOrd="0" presId="urn:microsoft.com/office/officeart/2005/8/layout/vList2"/>
    <dgm:cxn modelId="{36D73799-C9FA-4193-ABA0-720B1546B584}" type="presParOf" srcId="{6DECA1BD-5C65-480F-9FBE-194722771469}" destId="{3D612DB5-6F16-4F93-AE2E-250304AFBD00}" srcOrd="3" destOrd="0" presId="urn:microsoft.com/office/officeart/2005/8/layout/vList2"/>
    <dgm:cxn modelId="{3F9A094E-D036-45B1-88CE-ADA780E365C0}" type="presParOf" srcId="{6DECA1BD-5C65-480F-9FBE-194722771469}" destId="{B1C242CC-A693-4C4F-B4D5-DCFD04B25411}" srcOrd="4" destOrd="0" presId="urn:microsoft.com/office/officeart/2005/8/layout/vList2"/>
    <dgm:cxn modelId="{DD8FEF3C-2E7B-46C2-ADC6-7C13B5498AD4}" type="presParOf" srcId="{6DECA1BD-5C65-480F-9FBE-194722771469}" destId="{261C8662-6846-41B8-AED8-16DC4F7656DF}" srcOrd="5" destOrd="0" presId="urn:microsoft.com/office/officeart/2005/8/layout/vList2"/>
    <dgm:cxn modelId="{41BE60BE-EA19-44EA-8CE7-2881A07DAF86}" type="presParOf" srcId="{6DECA1BD-5C65-480F-9FBE-194722771469}" destId="{39774D1A-67C5-490C-96D8-ABCDC9A7C164}" srcOrd="6" destOrd="0" presId="urn:microsoft.com/office/officeart/2005/8/layout/vList2"/>
    <dgm:cxn modelId="{E8B085C3-2879-4CFA-AA9E-63E806FD834D}" type="presParOf" srcId="{6DECA1BD-5C65-480F-9FBE-194722771469}" destId="{206AE505-7652-422D-9A53-65D5EEBFE51D}"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23DA72C-4838-45AA-918B-0605E2A3961A}"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8E4409CC-8029-42EC-9BB8-8B819E66F679}">
      <dgm:prSet custT="1"/>
      <dgm:spPr/>
      <dgm:t>
        <a:bodyPr/>
        <a:lstStyle/>
        <a:p>
          <a:r>
            <a:rPr lang="en-US" sz="2400" baseline="0" dirty="0"/>
            <a:t>PowerShell</a:t>
          </a:r>
          <a:endParaRPr lang="en-US" sz="2400" dirty="0"/>
        </a:p>
      </dgm:t>
    </dgm:pt>
    <dgm:pt modelId="{012DD303-E46D-4378-9200-C4B4CADC6B30}" type="parTrans" cxnId="{FB86BC56-DBC1-4A39-AC5B-9B49393AD7A3}">
      <dgm:prSet/>
      <dgm:spPr/>
      <dgm:t>
        <a:bodyPr/>
        <a:lstStyle/>
        <a:p>
          <a:endParaRPr lang="en-US"/>
        </a:p>
      </dgm:t>
    </dgm:pt>
    <dgm:pt modelId="{69BCE278-52FA-4556-90C8-220920E63186}" type="sibTrans" cxnId="{FB86BC56-DBC1-4A39-AC5B-9B49393AD7A3}">
      <dgm:prSet/>
      <dgm:spPr/>
      <dgm:t>
        <a:bodyPr/>
        <a:lstStyle/>
        <a:p>
          <a:endParaRPr lang="en-US"/>
        </a:p>
      </dgm:t>
    </dgm:pt>
    <dgm:pt modelId="{D6D2D148-CF9B-47EA-88C4-312557DD7721}">
      <dgm:prSet custT="1"/>
      <dgm:spPr/>
      <dgm:t>
        <a:bodyPr/>
        <a:lstStyle/>
        <a:p>
          <a:r>
            <a:rPr lang="en-US" sz="2000" baseline="0" dirty="0"/>
            <a:t>Set-</a:t>
          </a:r>
          <a:r>
            <a:rPr lang="en-US" sz="2000" baseline="0" dirty="0" err="1"/>
            <a:t>AzSqlDatabase</a:t>
          </a:r>
          <a:endParaRPr lang="en-US" sz="2000" dirty="0"/>
        </a:p>
      </dgm:t>
    </dgm:pt>
    <dgm:pt modelId="{131B2987-A308-4BE9-A378-45D7DD05E900}" type="parTrans" cxnId="{7BB315AE-44BA-48A9-8A13-ECE98A374585}">
      <dgm:prSet/>
      <dgm:spPr/>
      <dgm:t>
        <a:bodyPr/>
        <a:lstStyle/>
        <a:p>
          <a:endParaRPr lang="en-US"/>
        </a:p>
      </dgm:t>
    </dgm:pt>
    <dgm:pt modelId="{DD4A867B-ACCA-4733-B5D8-E012C9975971}" type="sibTrans" cxnId="{7BB315AE-44BA-48A9-8A13-ECE98A374585}">
      <dgm:prSet/>
      <dgm:spPr/>
      <dgm:t>
        <a:bodyPr/>
        <a:lstStyle/>
        <a:p>
          <a:endParaRPr lang="en-US"/>
        </a:p>
      </dgm:t>
    </dgm:pt>
    <dgm:pt modelId="{A860A2F9-9671-4418-8AE5-9796394CA685}">
      <dgm:prSet custT="1"/>
      <dgm:spPr/>
      <dgm:t>
        <a:bodyPr/>
        <a:lstStyle/>
        <a:p>
          <a:r>
            <a:rPr lang="en-US" sz="2400" baseline="0" dirty="0"/>
            <a:t>REST</a:t>
          </a:r>
          <a:endParaRPr lang="en-US" sz="2400" dirty="0"/>
        </a:p>
      </dgm:t>
    </dgm:pt>
    <dgm:pt modelId="{1F5147E3-A203-4C79-B457-856BA658F593}" type="parTrans" cxnId="{5D05BF6B-2959-49CD-A1DD-2318A9EF267E}">
      <dgm:prSet/>
      <dgm:spPr/>
      <dgm:t>
        <a:bodyPr/>
        <a:lstStyle/>
        <a:p>
          <a:endParaRPr lang="en-US"/>
        </a:p>
      </dgm:t>
    </dgm:pt>
    <dgm:pt modelId="{597F03B3-B51F-4994-B721-65BED2DBB3C8}" type="sibTrans" cxnId="{5D05BF6B-2959-49CD-A1DD-2318A9EF267E}">
      <dgm:prSet/>
      <dgm:spPr/>
      <dgm:t>
        <a:bodyPr/>
        <a:lstStyle/>
        <a:p>
          <a:endParaRPr lang="en-US"/>
        </a:p>
      </dgm:t>
    </dgm:pt>
    <dgm:pt modelId="{1B46D320-7CB3-4A0A-938F-D2B0460E8E33}">
      <dgm:prSet custT="1"/>
      <dgm:spPr/>
      <dgm:t>
        <a:bodyPr/>
        <a:lstStyle/>
        <a:p>
          <a:r>
            <a:rPr lang="en-US" sz="2000" baseline="0" dirty="0"/>
            <a:t>Update database</a:t>
          </a:r>
          <a:endParaRPr lang="en-US" sz="2000" dirty="0"/>
        </a:p>
      </dgm:t>
    </dgm:pt>
    <dgm:pt modelId="{AF1641C0-BD02-4FBC-86C5-4FB62F8D1A83}" type="parTrans" cxnId="{2B0267D0-59FF-4394-A88B-6E1D277E8702}">
      <dgm:prSet/>
      <dgm:spPr/>
      <dgm:t>
        <a:bodyPr/>
        <a:lstStyle/>
        <a:p>
          <a:endParaRPr lang="en-US"/>
        </a:p>
      </dgm:t>
    </dgm:pt>
    <dgm:pt modelId="{F13ADD12-3BB1-48CA-B119-52F75629A980}" type="sibTrans" cxnId="{2B0267D0-59FF-4394-A88B-6E1D277E8702}">
      <dgm:prSet/>
      <dgm:spPr/>
      <dgm:t>
        <a:bodyPr/>
        <a:lstStyle/>
        <a:p>
          <a:endParaRPr lang="en-US"/>
        </a:p>
      </dgm:t>
    </dgm:pt>
    <dgm:pt modelId="{431C2029-0310-4865-9BB2-5DC4B4DBECDF}">
      <dgm:prSet custT="1"/>
      <dgm:spPr/>
      <dgm:t>
        <a:bodyPr/>
        <a:lstStyle/>
        <a:p>
          <a:r>
            <a:rPr lang="en-US" sz="2400" baseline="0" dirty="0"/>
            <a:t>Azure CLI</a:t>
          </a:r>
          <a:endParaRPr lang="en-US" sz="2400" dirty="0"/>
        </a:p>
      </dgm:t>
    </dgm:pt>
    <dgm:pt modelId="{D113B86D-0650-4920-98A8-43D22363A03E}" type="parTrans" cxnId="{2EE7DE59-DB63-44F6-BC86-D22ED258A2AC}">
      <dgm:prSet/>
      <dgm:spPr/>
      <dgm:t>
        <a:bodyPr/>
        <a:lstStyle/>
        <a:p>
          <a:endParaRPr lang="en-US"/>
        </a:p>
      </dgm:t>
    </dgm:pt>
    <dgm:pt modelId="{9532E2D4-07BA-4FD1-9E8A-39EFF6018A99}" type="sibTrans" cxnId="{2EE7DE59-DB63-44F6-BC86-D22ED258A2AC}">
      <dgm:prSet/>
      <dgm:spPr/>
      <dgm:t>
        <a:bodyPr/>
        <a:lstStyle/>
        <a:p>
          <a:endParaRPr lang="en-US"/>
        </a:p>
      </dgm:t>
    </dgm:pt>
    <dgm:pt modelId="{2522468C-527F-4E32-85C0-3B8D0AA7100C}">
      <dgm:prSet custT="1"/>
      <dgm:spPr/>
      <dgm:t>
        <a:bodyPr/>
        <a:lstStyle/>
        <a:p>
          <a:r>
            <a:rPr lang="en-US" sz="2000" baseline="0" dirty="0" err="1"/>
            <a:t>az</a:t>
          </a:r>
          <a:r>
            <a:rPr lang="en-US" sz="2000" baseline="0" dirty="0"/>
            <a:t> </a:t>
          </a:r>
          <a:r>
            <a:rPr lang="en-US" sz="2000" baseline="0" dirty="0" err="1"/>
            <a:t>sql</a:t>
          </a:r>
          <a:r>
            <a:rPr lang="en-US" sz="2000" baseline="0" dirty="0"/>
            <a:t> </a:t>
          </a:r>
          <a:r>
            <a:rPr lang="en-US" sz="2000" baseline="0" dirty="0" err="1"/>
            <a:t>db</a:t>
          </a:r>
          <a:r>
            <a:rPr lang="en-US" sz="2000" baseline="0" dirty="0"/>
            <a:t> update</a:t>
          </a:r>
          <a:endParaRPr lang="en-US" sz="2000" dirty="0"/>
        </a:p>
      </dgm:t>
    </dgm:pt>
    <dgm:pt modelId="{672F963F-8F5F-41EB-8225-FF963BDAC41F}" type="parTrans" cxnId="{EA7E02F5-55F7-45B2-8F7A-154C1F8FE6E4}">
      <dgm:prSet/>
      <dgm:spPr/>
      <dgm:t>
        <a:bodyPr/>
        <a:lstStyle/>
        <a:p>
          <a:endParaRPr lang="en-US"/>
        </a:p>
      </dgm:t>
    </dgm:pt>
    <dgm:pt modelId="{30A07736-A061-4484-985F-C0F073E7D951}" type="sibTrans" cxnId="{EA7E02F5-55F7-45B2-8F7A-154C1F8FE6E4}">
      <dgm:prSet/>
      <dgm:spPr/>
      <dgm:t>
        <a:bodyPr/>
        <a:lstStyle/>
        <a:p>
          <a:endParaRPr lang="en-US"/>
        </a:p>
      </dgm:t>
    </dgm:pt>
    <dgm:pt modelId="{0A34EC52-F8D8-4EE3-B9E4-6905F4385A22}">
      <dgm:prSet custT="1"/>
      <dgm:spPr/>
      <dgm:t>
        <a:bodyPr/>
        <a:lstStyle/>
        <a:p>
          <a:r>
            <a:rPr lang="en-US" sz="2400" baseline="0" dirty="0"/>
            <a:t>T-SQL</a:t>
          </a:r>
          <a:endParaRPr lang="en-US" sz="2400" dirty="0"/>
        </a:p>
      </dgm:t>
    </dgm:pt>
    <dgm:pt modelId="{6DAC1594-5AD6-4802-B85B-E15DFE8DBB83}" type="parTrans" cxnId="{C9E645BA-1821-402F-9A70-017C1CCF8934}">
      <dgm:prSet/>
      <dgm:spPr/>
      <dgm:t>
        <a:bodyPr/>
        <a:lstStyle/>
        <a:p>
          <a:endParaRPr lang="en-US"/>
        </a:p>
      </dgm:t>
    </dgm:pt>
    <dgm:pt modelId="{C73AA9C2-5206-4A3A-8B04-FF5FFE4311BC}" type="sibTrans" cxnId="{C9E645BA-1821-402F-9A70-017C1CCF8934}">
      <dgm:prSet/>
      <dgm:spPr/>
      <dgm:t>
        <a:bodyPr/>
        <a:lstStyle/>
        <a:p>
          <a:endParaRPr lang="en-US"/>
        </a:p>
      </dgm:t>
    </dgm:pt>
    <dgm:pt modelId="{FB991BBB-55CF-42B9-8790-F99203BE6B76}">
      <dgm:prSet custT="1"/>
      <dgm:spPr/>
      <dgm:t>
        <a:bodyPr/>
        <a:lstStyle/>
        <a:p>
          <a:r>
            <a:rPr lang="en-US" sz="2000" baseline="0" dirty="0"/>
            <a:t>ALTER DATABASE … MODIFY (EDITION = …)</a:t>
          </a:r>
          <a:endParaRPr lang="en-US" sz="2000" dirty="0"/>
        </a:p>
      </dgm:t>
    </dgm:pt>
    <dgm:pt modelId="{D0806277-399B-46CF-8FB9-F888A6224A58}" type="parTrans" cxnId="{82B0E592-2E0A-48D4-9608-C5F19CA2F0EB}">
      <dgm:prSet/>
      <dgm:spPr/>
      <dgm:t>
        <a:bodyPr/>
        <a:lstStyle/>
        <a:p>
          <a:endParaRPr lang="en-US"/>
        </a:p>
      </dgm:t>
    </dgm:pt>
    <dgm:pt modelId="{AC2F19B2-6A36-4AF3-A6AA-13363EDA5781}" type="sibTrans" cxnId="{82B0E592-2E0A-48D4-9608-C5F19CA2F0EB}">
      <dgm:prSet/>
      <dgm:spPr/>
      <dgm:t>
        <a:bodyPr/>
        <a:lstStyle/>
        <a:p>
          <a:endParaRPr lang="en-US"/>
        </a:p>
      </dgm:t>
    </dgm:pt>
    <dgm:pt modelId="{05B25838-C4C9-492B-B85D-EE7CE810208B}" type="pres">
      <dgm:prSet presAssocID="{123DA72C-4838-45AA-918B-0605E2A3961A}" presName="linear" presStyleCnt="0">
        <dgm:presLayoutVars>
          <dgm:animLvl val="lvl"/>
          <dgm:resizeHandles val="exact"/>
        </dgm:presLayoutVars>
      </dgm:prSet>
      <dgm:spPr/>
    </dgm:pt>
    <dgm:pt modelId="{AE7E732F-5250-4F77-9F9E-52C7AF8DA41A}" type="pres">
      <dgm:prSet presAssocID="{8E4409CC-8029-42EC-9BB8-8B819E66F679}" presName="parentText" presStyleLbl="node1" presStyleIdx="0" presStyleCnt="4">
        <dgm:presLayoutVars>
          <dgm:chMax val="0"/>
          <dgm:bulletEnabled val="1"/>
        </dgm:presLayoutVars>
      </dgm:prSet>
      <dgm:spPr/>
    </dgm:pt>
    <dgm:pt modelId="{AD3AAEE1-F11D-4FC3-A023-5CD825FC9A2A}" type="pres">
      <dgm:prSet presAssocID="{8E4409CC-8029-42EC-9BB8-8B819E66F679}" presName="childText" presStyleLbl="revTx" presStyleIdx="0" presStyleCnt="4">
        <dgm:presLayoutVars>
          <dgm:bulletEnabled val="1"/>
        </dgm:presLayoutVars>
      </dgm:prSet>
      <dgm:spPr/>
    </dgm:pt>
    <dgm:pt modelId="{70038914-B453-4137-B7E2-7854FF2D6714}" type="pres">
      <dgm:prSet presAssocID="{A860A2F9-9671-4418-8AE5-9796394CA685}" presName="parentText" presStyleLbl="node1" presStyleIdx="1" presStyleCnt="4">
        <dgm:presLayoutVars>
          <dgm:chMax val="0"/>
          <dgm:bulletEnabled val="1"/>
        </dgm:presLayoutVars>
      </dgm:prSet>
      <dgm:spPr/>
    </dgm:pt>
    <dgm:pt modelId="{1D561426-F22C-48A6-B5B5-D2C77F8B723B}" type="pres">
      <dgm:prSet presAssocID="{A860A2F9-9671-4418-8AE5-9796394CA685}" presName="childText" presStyleLbl="revTx" presStyleIdx="1" presStyleCnt="4">
        <dgm:presLayoutVars>
          <dgm:bulletEnabled val="1"/>
        </dgm:presLayoutVars>
      </dgm:prSet>
      <dgm:spPr/>
    </dgm:pt>
    <dgm:pt modelId="{82CCE49A-F2DD-4FA3-971B-B0FD27D9E3E1}" type="pres">
      <dgm:prSet presAssocID="{431C2029-0310-4865-9BB2-5DC4B4DBECDF}" presName="parentText" presStyleLbl="node1" presStyleIdx="2" presStyleCnt="4">
        <dgm:presLayoutVars>
          <dgm:chMax val="0"/>
          <dgm:bulletEnabled val="1"/>
        </dgm:presLayoutVars>
      </dgm:prSet>
      <dgm:spPr/>
    </dgm:pt>
    <dgm:pt modelId="{A47D2939-EEC7-4CA7-BA4B-0D9B10A8E8A4}" type="pres">
      <dgm:prSet presAssocID="{431C2029-0310-4865-9BB2-5DC4B4DBECDF}" presName="childText" presStyleLbl="revTx" presStyleIdx="2" presStyleCnt="4">
        <dgm:presLayoutVars>
          <dgm:bulletEnabled val="1"/>
        </dgm:presLayoutVars>
      </dgm:prSet>
      <dgm:spPr/>
    </dgm:pt>
    <dgm:pt modelId="{5830A749-91C2-42BE-9395-2A36640B2376}" type="pres">
      <dgm:prSet presAssocID="{0A34EC52-F8D8-4EE3-B9E4-6905F4385A22}" presName="parentText" presStyleLbl="node1" presStyleIdx="3" presStyleCnt="4">
        <dgm:presLayoutVars>
          <dgm:chMax val="0"/>
          <dgm:bulletEnabled val="1"/>
        </dgm:presLayoutVars>
      </dgm:prSet>
      <dgm:spPr/>
    </dgm:pt>
    <dgm:pt modelId="{522526A7-C40C-4911-A903-B874C5A4EF78}" type="pres">
      <dgm:prSet presAssocID="{0A34EC52-F8D8-4EE3-B9E4-6905F4385A22}" presName="childText" presStyleLbl="revTx" presStyleIdx="3" presStyleCnt="4">
        <dgm:presLayoutVars>
          <dgm:bulletEnabled val="1"/>
        </dgm:presLayoutVars>
      </dgm:prSet>
      <dgm:spPr/>
    </dgm:pt>
  </dgm:ptLst>
  <dgm:cxnLst>
    <dgm:cxn modelId="{73D2F864-2CBD-4970-92A9-C8D061EBFED8}" type="presOf" srcId="{123DA72C-4838-45AA-918B-0605E2A3961A}" destId="{05B25838-C4C9-492B-B85D-EE7CE810208B}" srcOrd="0" destOrd="0" presId="urn:microsoft.com/office/officeart/2005/8/layout/vList2"/>
    <dgm:cxn modelId="{5D05BF6B-2959-49CD-A1DD-2318A9EF267E}" srcId="{123DA72C-4838-45AA-918B-0605E2A3961A}" destId="{A860A2F9-9671-4418-8AE5-9796394CA685}" srcOrd="1" destOrd="0" parTransId="{1F5147E3-A203-4C79-B457-856BA658F593}" sibTransId="{597F03B3-B51F-4994-B721-65BED2DBB3C8}"/>
    <dgm:cxn modelId="{A7B9BE4F-2005-4A98-A9AF-2897EDF127C2}" type="presOf" srcId="{431C2029-0310-4865-9BB2-5DC4B4DBECDF}" destId="{82CCE49A-F2DD-4FA3-971B-B0FD27D9E3E1}" srcOrd="0" destOrd="0" presId="urn:microsoft.com/office/officeart/2005/8/layout/vList2"/>
    <dgm:cxn modelId="{F2A5E171-8C76-4B7D-835B-E11371419840}" type="presOf" srcId="{A860A2F9-9671-4418-8AE5-9796394CA685}" destId="{70038914-B453-4137-B7E2-7854FF2D6714}" srcOrd="0" destOrd="0" presId="urn:microsoft.com/office/officeart/2005/8/layout/vList2"/>
    <dgm:cxn modelId="{FB86BC56-DBC1-4A39-AC5B-9B49393AD7A3}" srcId="{123DA72C-4838-45AA-918B-0605E2A3961A}" destId="{8E4409CC-8029-42EC-9BB8-8B819E66F679}" srcOrd="0" destOrd="0" parTransId="{012DD303-E46D-4378-9200-C4B4CADC6B30}" sibTransId="{69BCE278-52FA-4556-90C8-220920E63186}"/>
    <dgm:cxn modelId="{2EE7DE59-DB63-44F6-BC86-D22ED258A2AC}" srcId="{123DA72C-4838-45AA-918B-0605E2A3961A}" destId="{431C2029-0310-4865-9BB2-5DC4B4DBECDF}" srcOrd="2" destOrd="0" parTransId="{D113B86D-0650-4920-98A8-43D22363A03E}" sibTransId="{9532E2D4-07BA-4FD1-9E8A-39EFF6018A99}"/>
    <dgm:cxn modelId="{36CDC77A-1B95-43A8-947D-6B047E2120C7}" type="presOf" srcId="{1B46D320-7CB3-4A0A-938F-D2B0460E8E33}" destId="{1D561426-F22C-48A6-B5B5-D2C77F8B723B}" srcOrd="0" destOrd="0" presId="urn:microsoft.com/office/officeart/2005/8/layout/vList2"/>
    <dgm:cxn modelId="{82B0E592-2E0A-48D4-9608-C5F19CA2F0EB}" srcId="{0A34EC52-F8D8-4EE3-B9E4-6905F4385A22}" destId="{FB991BBB-55CF-42B9-8790-F99203BE6B76}" srcOrd="0" destOrd="0" parTransId="{D0806277-399B-46CF-8FB9-F888A6224A58}" sibTransId="{AC2F19B2-6A36-4AF3-A6AA-13363EDA5781}"/>
    <dgm:cxn modelId="{808A2E9F-DA2F-4B79-8189-0C4517BF05E4}" type="presOf" srcId="{D6D2D148-CF9B-47EA-88C4-312557DD7721}" destId="{AD3AAEE1-F11D-4FC3-A023-5CD825FC9A2A}" srcOrd="0" destOrd="0" presId="urn:microsoft.com/office/officeart/2005/8/layout/vList2"/>
    <dgm:cxn modelId="{E51CF3AC-03E5-4700-A47F-AE7F74A5E6D8}" type="presOf" srcId="{2522468C-527F-4E32-85C0-3B8D0AA7100C}" destId="{A47D2939-EEC7-4CA7-BA4B-0D9B10A8E8A4}" srcOrd="0" destOrd="0" presId="urn:microsoft.com/office/officeart/2005/8/layout/vList2"/>
    <dgm:cxn modelId="{7BB315AE-44BA-48A9-8A13-ECE98A374585}" srcId="{8E4409CC-8029-42EC-9BB8-8B819E66F679}" destId="{D6D2D148-CF9B-47EA-88C4-312557DD7721}" srcOrd="0" destOrd="0" parTransId="{131B2987-A308-4BE9-A378-45D7DD05E900}" sibTransId="{DD4A867B-ACCA-4733-B5D8-E012C9975971}"/>
    <dgm:cxn modelId="{E2DDDDB6-A6F2-4469-97A1-A383DA60CE78}" type="presOf" srcId="{0A34EC52-F8D8-4EE3-B9E4-6905F4385A22}" destId="{5830A749-91C2-42BE-9395-2A36640B2376}" srcOrd="0" destOrd="0" presId="urn:microsoft.com/office/officeart/2005/8/layout/vList2"/>
    <dgm:cxn modelId="{C9E645BA-1821-402F-9A70-017C1CCF8934}" srcId="{123DA72C-4838-45AA-918B-0605E2A3961A}" destId="{0A34EC52-F8D8-4EE3-B9E4-6905F4385A22}" srcOrd="3" destOrd="0" parTransId="{6DAC1594-5AD6-4802-B85B-E15DFE8DBB83}" sibTransId="{C73AA9C2-5206-4A3A-8B04-FF5FFE4311BC}"/>
    <dgm:cxn modelId="{2B0267D0-59FF-4394-A88B-6E1D277E8702}" srcId="{A860A2F9-9671-4418-8AE5-9796394CA685}" destId="{1B46D320-7CB3-4A0A-938F-D2B0460E8E33}" srcOrd="0" destOrd="0" parTransId="{AF1641C0-BD02-4FBC-86C5-4FB62F8D1A83}" sibTransId="{F13ADD12-3BB1-48CA-B119-52F75629A980}"/>
    <dgm:cxn modelId="{FE6FD5D0-1DDE-45D2-AB41-585F6250DB35}" type="presOf" srcId="{8E4409CC-8029-42EC-9BB8-8B819E66F679}" destId="{AE7E732F-5250-4F77-9F9E-52C7AF8DA41A}" srcOrd="0" destOrd="0" presId="urn:microsoft.com/office/officeart/2005/8/layout/vList2"/>
    <dgm:cxn modelId="{036DA8DF-9782-48D7-A4FA-18FEBDCC92B1}" type="presOf" srcId="{FB991BBB-55CF-42B9-8790-F99203BE6B76}" destId="{522526A7-C40C-4911-A903-B874C5A4EF78}" srcOrd="0" destOrd="0" presId="urn:microsoft.com/office/officeart/2005/8/layout/vList2"/>
    <dgm:cxn modelId="{EA7E02F5-55F7-45B2-8F7A-154C1F8FE6E4}" srcId="{431C2029-0310-4865-9BB2-5DC4B4DBECDF}" destId="{2522468C-527F-4E32-85C0-3B8D0AA7100C}" srcOrd="0" destOrd="0" parTransId="{672F963F-8F5F-41EB-8225-FF963BDAC41F}" sibTransId="{30A07736-A061-4484-985F-C0F073E7D951}"/>
    <dgm:cxn modelId="{8A52ED25-6BA7-4595-B3D2-A3317E4CF694}" type="presParOf" srcId="{05B25838-C4C9-492B-B85D-EE7CE810208B}" destId="{AE7E732F-5250-4F77-9F9E-52C7AF8DA41A}" srcOrd="0" destOrd="0" presId="urn:microsoft.com/office/officeart/2005/8/layout/vList2"/>
    <dgm:cxn modelId="{550CECA5-EE05-4EB9-B53C-A3D66E34795B}" type="presParOf" srcId="{05B25838-C4C9-492B-B85D-EE7CE810208B}" destId="{AD3AAEE1-F11D-4FC3-A023-5CD825FC9A2A}" srcOrd="1" destOrd="0" presId="urn:microsoft.com/office/officeart/2005/8/layout/vList2"/>
    <dgm:cxn modelId="{B735AE05-5D80-4567-AAAB-A21E482632D7}" type="presParOf" srcId="{05B25838-C4C9-492B-B85D-EE7CE810208B}" destId="{70038914-B453-4137-B7E2-7854FF2D6714}" srcOrd="2" destOrd="0" presId="urn:microsoft.com/office/officeart/2005/8/layout/vList2"/>
    <dgm:cxn modelId="{59714B39-C967-4CA2-A9A5-3F6783E62DBD}" type="presParOf" srcId="{05B25838-C4C9-492B-B85D-EE7CE810208B}" destId="{1D561426-F22C-48A6-B5B5-D2C77F8B723B}" srcOrd="3" destOrd="0" presId="urn:microsoft.com/office/officeart/2005/8/layout/vList2"/>
    <dgm:cxn modelId="{D4B82273-6D51-452F-B7D6-8CA8F4F2DB31}" type="presParOf" srcId="{05B25838-C4C9-492B-B85D-EE7CE810208B}" destId="{82CCE49A-F2DD-4FA3-971B-B0FD27D9E3E1}" srcOrd="4" destOrd="0" presId="urn:microsoft.com/office/officeart/2005/8/layout/vList2"/>
    <dgm:cxn modelId="{81088C69-886F-47AC-97E7-34A24E440102}" type="presParOf" srcId="{05B25838-C4C9-492B-B85D-EE7CE810208B}" destId="{A47D2939-EEC7-4CA7-BA4B-0D9B10A8E8A4}" srcOrd="5" destOrd="0" presId="urn:microsoft.com/office/officeart/2005/8/layout/vList2"/>
    <dgm:cxn modelId="{C89A3D3A-10DF-40AF-A783-6515DFA0AED8}" type="presParOf" srcId="{05B25838-C4C9-492B-B85D-EE7CE810208B}" destId="{5830A749-91C2-42BE-9395-2A36640B2376}" srcOrd="6" destOrd="0" presId="urn:microsoft.com/office/officeart/2005/8/layout/vList2"/>
    <dgm:cxn modelId="{F67BF451-C88D-4C89-877C-233C54F3A707}" type="presParOf" srcId="{05B25838-C4C9-492B-B85D-EE7CE810208B}" destId="{522526A7-C40C-4911-A903-B874C5A4EF78}"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C28BBC3-3AE4-4136-ADC0-2471360307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4599D95-4760-4D02-9FA9-7A538D657EEB}">
      <dgm:prSet phldrT="[Text]" custT="1"/>
      <dgm:spPr>
        <a:xfrm>
          <a:off x="0" y="0"/>
          <a:ext cx="5192347" cy="1099038"/>
        </a:xfrm>
        <a:prstGeom prst="roundRect">
          <a:avLst/>
        </a:prstGeom>
      </dgm:spPr>
      <dgm:t>
        <a:bodyPr/>
        <a:lstStyle/>
        <a:p>
          <a:r>
            <a:rPr lang="en-US" sz="1600" dirty="0"/>
            <a:t>Compute resources scale dynamically up or down based on workload requirements.</a:t>
          </a:r>
        </a:p>
      </dgm:t>
    </dgm:pt>
    <dgm:pt modelId="{6492F31E-2C4E-4E7A-BAEF-54AA1771B9C5}" type="parTrans" cxnId="{93E1B076-0A38-4561-8AC9-C6FBDCC7A2E8}">
      <dgm:prSet/>
      <dgm:spPr/>
      <dgm:t>
        <a:bodyPr/>
        <a:lstStyle/>
        <a:p>
          <a:endParaRPr lang="en-US" sz="2000"/>
        </a:p>
      </dgm:t>
    </dgm:pt>
    <dgm:pt modelId="{9D5A6316-9C64-491C-8B9D-D5123069EC80}" type="sibTrans" cxnId="{93E1B076-0A38-4561-8AC9-C6FBDCC7A2E8}">
      <dgm:prSet/>
      <dgm:spPr/>
      <dgm:t>
        <a:bodyPr/>
        <a:lstStyle/>
        <a:p>
          <a:endParaRPr lang="en-US" sz="2000"/>
        </a:p>
      </dgm:t>
    </dgm:pt>
    <dgm:pt modelId="{2FC5143D-91FD-4593-AA41-13EDDDBD8C8F}">
      <dgm:prSet custT="1"/>
      <dgm:spPr>
        <a:xfrm>
          <a:off x="0" y="1114853"/>
          <a:ext cx="5192347" cy="1099038"/>
        </a:xfrm>
        <a:prstGeom prst="roundRect">
          <a:avLst/>
        </a:prstGeom>
      </dgm:spPr>
      <dgm:t>
        <a:bodyPr/>
        <a:lstStyle/>
        <a:p>
          <a:r>
            <a:rPr lang="en-US" sz="1600"/>
            <a:t>Configure minimum and maximum vCores to define the range of available compute capacity. </a:t>
          </a:r>
        </a:p>
      </dgm:t>
    </dgm:pt>
    <dgm:pt modelId="{9177C6F6-38D7-40DD-A5A0-B038EC00FD70}" type="parTrans" cxnId="{532BC446-4C2F-4393-9861-683F1E06AB81}">
      <dgm:prSet/>
      <dgm:spPr/>
      <dgm:t>
        <a:bodyPr/>
        <a:lstStyle/>
        <a:p>
          <a:endParaRPr lang="en-US" sz="2000"/>
        </a:p>
      </dgm:t>
    </dgm:pt>
    <dgm:pt modelId="{0017EA70-ABB0-4B91-BCF6-23266506F1E7}" type="sibTrans" cxnId="{532BC446-4C2F-4393-9861-683F1E06AB81}">
      <dgm:prSet/>
      <dgm:spPr/>
      <dgm:t>
        <a:bodyPr/>
        <a:lstStyle/>
        <a:p>
          <a:endParaRPr lang="en-US" sz="2000"/>
        </a:p>
      </dgm:t>
    </dgm:pt>
    <dgm:pt modelId="{3B901AB6-291F-41AC-BE00-39C73890028B}">
      <dgm:prSet custT="1"/>
      <dgm:spPr>
        <a:xfrm>
          <a:off x="0" y="2226759"/>
          <a:ext cx="5192347" cy="1099038"/>
        </a:xfrm>
        <a:prstGeom prst="roundRect">
          <a:avLst/>
        </a:prstGeom>
      </dgm:spPr>
      <dgm:t>
        <a:bodyPr/>
        <a:lstStyle/>
        <a:p>
          <a:r>
            <a:rPr lang="en-US" sz="1600" dirty="0"/>
            <a:t>Use auto-pause delay to define the time period the dataset must be inactive before pausing.</a:t>
          </a:r>
        </a:p>
      </dgm:t>
    </dgm:pt>
    <dgm:pt modelId="{B866DFA8-2E2F-4041-BEBF-E4A0C5ED7887}" type="parTrans" cxnId="{5BB2F963-0CAF-43DE-9895-A75ECD294B96}">
      <dgm:prSet/>
      <dgm:spPr/>
      <dgm:t>
        <a:bodyPr/>
        <a:lstStyle/>
        <a:p>
          <a:endParaRPr lang="en-US" sz="2000"/>
        </a:p>
      </dgm:t>
    </dgm:pt>
    <dgm:pt modelId="{82FC9B74-128C-4FAA-BAA7-B508B582455C}" type="sibTrans" cxnId="{5BB2F963-0CAF-43DE-9895-A75ECD294B96}">
      <dgm:prSet/>
      <dgm:spPr/>
      <dgm:t>
        <a:bodyPr/>
        <a:lstStyle/>
        <a:p>
          <a:endParaRPr lang="en-US" sz="2000"/>
        </a:p>
      </dgm:t>
    </dgm:pt>
    <dgm:pt modelId="{5BE9F3FC-A89A-46DD-82C7-815F9B6EEA9B}">
      <dgm:prSet custT="1"/>
      <dgm:spPr>
        <a:xfrm>
          <a:off x="0" y="3338665"/>
          <a:ext cx="5192347" cy="1099038"/>
        </a:xfrm>
        <a:prstGeom prst="roundRect">
          <a:avLst/>
        </a:prstGeom>
      </dgm:spPr>
      <dgm:t>
        <a:bodyPr/>
        <a:lstStyle/>
        <a:p>
          <a:r>
            <a:rPr lang="en-US" sz="1600" dirty="0"/>
            <a:t>Pay for compute based on the </a:t>
          </a:r>
          <a:r>
            <a:rPr lang="en-US" sz="1600" dirty="0" err="1"/>
            <a:t>vCores</a:t>
          </a:r>
          <a:r>
            <a:rPr lang="en-US" sz="1600" dirty="0"/>
            <a:t> and memory used per second, with lowest billing based on configured vCore minimum. </a:t>
          </a:r>
        </a:p>
      </dgm:t>
    </dgm:pt>
    <dgm:pt modelId="{4CA90819-650B-4445-BB4E-62FAE8903A08}" type="parTrans" cxnId="{59608E51-E2D7-44CD-AAAA-66274EA2E09D}">
      <dgm:prSet/>
      <dgm:spPr/>
      <dgm:t>
        <a:bodyPr/>
        <a:lstStyle/>
        <a:p>
          <a:endParaRPr lang="en-US" sz="2000"/>
        </a:p>
      </dgm:t>
    </dgm:pt>
    <dgm:pt modelId="{0CBEB521-D34A-433D-8ABC-CE2EEE59467E}" type="sibTrans" cxnId="{59608E51-E2D7-44CD-AAAA-66274EA2E09D}">
      <dgm:prSet/>
      <dgm:spPr/>
      <dgm:t>
        <a:bodyPr/>
        <a:lstStyle/>
        <a:p>
          <a:endParaRPr lang="en-US" sz="2000"/>
        </a:p>
      </dgm:t>
    </dgm:pt>
    <dgm:pt modelId="{35745E29-9366-4A14-B3E2-CB74D2B209CC}">
      <dgm:prSet custT="1"/>
      <dgm:spPr>
        <a:xfrm>
          <a:off x="0" y="4450571"/>
          <a:ext cx="5192347" cy="1099038"/>
        </a:xfrm>
        <a:prstGeom prst="roundRect">
          <a:avLst/>
        </a:prstGeom>
      </dgm:spPr>
      <dgm:t>
        <a:bodyPr/>
        <a:lstStyle/>
        <a:p>
          <a:r>
            <a:rPr lang="en-US" sz="1600" dirty="0"/>
            <a:t>When the database is paused, the compute cost is zero and only storage costs are incurred.</a:t>
          </a:r>
        </a:p>
      </dgm:t>
    </dgm:pt>
    <dgm:pt modelId="{868D714B-6A95-4322-A175-B07BC53DE56E}" type="parTrans" cxnId="{4AB83D09-7308-4A3A-B353-261150B1F4EC}">
      <dgm:prSet/>
      <dgm:spPr/>
      <dgm:t>
        <a:bodyPr/>
        <a:lstStyle/>
        <a:p>
          <a:endParaRPr lang="en-US" sz="2000"/>
        </a:p>
      </dgm:t>
    </dgm:pt>
    <dgm:pt modelId="{A3373E84-05CD-4750-B2D6-9C085CCD768F}" type="sibTrans" cxnId="{4AB83D09-7308-4A3A-B353-261150B1F4EC}">
      <dgm:prSet/>
      <dgm:spPr/>
      <dgm:t>
        <a:bodyPr/>
        <a:lstStyle/>
        <a:p>
          <a:endParaRPr lang="en-US" sz="2000"/>
        </a:p>
      </dgm:t>
    </dgm:pt>
    <dgm:pt modelId="{99F1112C-8BAA-4DA6-8517-9AA76BAC3D2B}">
      <dgm:prSet custT="1"/>
      <dgm:spPr>
        <a:xfrm>
          <a:off x="0" y="2226759"/>
          <a:ext cx="5192347" cy="1099038"/>
        </a:xfrm>
      </dgm:spPr>
      <dgm:t>
        <a:bodyPr/>
        <a:lstStyle/>
        <a:p>
          <a:r>
            <a:rPr lang="en-US" sz="1600" dirty="0"/>
            <a:t> The database is automatically resumed when the next login or other activity occurs. </a:t>
          </a:r>
        </a:p>
      </dgm:t>
    </dgm:pt>
    <dgm:pt modelId="{9585E63E-1EB1-4DC2-9316-864FC2875486}" type="parTrans" cxnId="{6FAE22E7-F97D-48D0-B878-A323A4656A55}">
      <dgm:prSet/>
      <dgm:spPr/>
      <dgm:t>
        <a:bodyPr/>
        <a:lstStyle/>
        <a:p>
          <a:endParaRPr lang="en-US"/>
        </a:p>
      </dgm:t>
    </dgm:pt>
    <dgm:pt modelId="{6B2944FF-5232-4F0E-A586-5F5F557F1A79}" type="sibTrans" cxnId="{6FAE22E7-F97D-48D0-B878-A323A4656A55}">
      <dgm:prSet/>
      <dgm:spPr/>
      <dgm:t>
        <a:bodyPr/>
        <a:lstStyle/>
        <a:p>
          <a:endParaRPr lang="en-US"/>
        </a:p>
      </dgm:t>
    </dgm:pt>
    <dgm:pt modelId="{85273815-164C-4393-A1F8-BD7CEC28D08E}" type="pres">
      <dgm:prSet presAssocID="{FC28BBC3-3AE4-4136-ADC0-247136030720}" presName="linear" presStyleCnt="0">
        <dgm:presLayoutVars>
          <dgm:animLvl val="lvl"/>
          <dgm:resizeHandles val="exact"/>
        </dgm:presLayoutVars>
      </dgm:prSet>
      <dgm:spPr/>
    </dgm:pt>
    <dgm:pt modelId="{29F8D596-19F9-4238-89A9-09C64E5F8E8D}" type="pres">
      <dgm:prSet presAssocID="{F4599D95-4760-4D02-9FA9-7A538D657EEB}" presName="parentText" presStyleLbl="node1" presStyleIdx="0" presStyleCnt="6">
        <dgm:presLayoutVars>
          <dgm:chMax val="0"/>
          <dgm:bulletEnabled val="1"/>
        </dgm:presLayoutVars>
      </dgm:prSet>
      <dgm:spPr/>
    </dgm:pt>
    <dgm:pt modelId="{466C11B8-123B-4BB9-B456-2B21EB165906}" type="pres">
      <dgm:prSet presAssocID="{9D5A6316-9C64-491C-8B9D-D5123069EC80}" presName="spacer" presStyleCnt="0"/>
      <dgm:spPr/>
    </dgm:pt>
    <dgm:pt modelId="{2BD41882-F673-4240-8A7B-4406E84B2659}" type="pres">
      <dgm:prSet presAssocID="{2FC5143D-91FD-4593-AA41-13EDDDBD8C8F}" presName="parentText" presStyleLbl="node1" presStyleIdx="1" presStyleCnt="6">
        <dgm:presLayoutVars>
          <dgm:chMax val="0"/>
          <dgm:bulletEnabled val="1"/>
        </dgm:presLayoutVars>
      </dgm:prSet>
      <dgm:spPr/>
    </dgm:pt>
    <dgm:pt modelId="{BC8661D1-309F-4EB8-A7C3-D23751D5DE49}" type="pres">
      <dgm:prSet presAssocID="{0017EA70-ABB0-4B91-BCF6-23266506F1E7}" presName="spacer" presStyleCnt="0"/>
      <dgm:spPr/>
    </dgm:pt>
    <dgm:pt modelId="{9C8AC09C-F5B9-4310-99E1-D79A24432A41}" type="pres">
      <dgm:prSet presAssocID="{3B901AB6-291F-41AC-BE00-39C73890028B}" presName="parentText" presStyleLbl="node1" presStyleIdx="2" presStyleCnt="6">
        <dgm:presLayoutVars>
          <dgm:chMax val="0"/>
          <dgm:bulletEnabled val="1"/>
        </dgm:presLayoutVars>
      </dgm:prSet>
      <dgm:spPr/>
    </dgm:pt>
    <dgm:pt modelId="{CFC26399-EF09-4F5A-97C7-B1B3236880B4}" type="pres">
      <dgm:prSet presAssocID="{82FC9B74-128C-4FAA-BAA7-B508B582455C}" presName="spacer" presStyleCnt="0"/>
      <dgm:spPr/>
    </dgm:pt>
    <dgm:pt modelId="{69F45228-FC0A-4C87-83A1-A4146235C4F4}" type="pres">
      <dgm:prSet presAssocID="{99F1112C-8BAA-4DA6-8517-9AA76BAC3D2B}" presName="parentText" presStyleLbl="node1" presStyleIdx="3" presStyleCnt="6">
        <dgm:presLayoutVars>
          <dgm:chMax val="0"/>
          <dgm:bulletEnabled val="1"/>
        </dgm:presLayoutVars>
      </dgm:prSet>
      <dgm:spPr>
        <a:prstGeom prst="roundRect">
          <a:avLst/>
        </a:prstGeom>
      </dgm:spPr>
    </dgm:pt>
    <dgm:pt modelId="{4A3E507C-B384-4894-B2D4-64774A6CD108}" type="pres">
      <dgm:prSet presAssocID="{6B2944FF-5232-4F0E-A586-5F5F557F1A79}" presName="spacer" presStyleCnt="0"/>
      <dgm:spPr/>
    </dgm:pt>
    <dgm:pt modelId="{B4981705-4E16-4609-B654-ABD23932F843}" type="pres">
      <dgm:prSet presAssocID="{5BE9F3FC-A89A-46DD-82C7-815F9B6EEA9B}" presName="parentText" presStyleLbl="node1" presStyleIdx="4" presStyleCnt="6">
        <dgm:presLayoutVars>
          <dgm:chMax val="0"/>
          <dgm:bulletEnabled val="1"/>
        </dgm:presLayoutVars>
      </dgm:prSet>
      <dgm:spPr/>
    </dgm:pt>
    <dgm:pt modelId="{FABD2463-7B70-4BBE-9663-6E906991B685}" type="pres">
      <dgm:prSet presAssocID="{0CBEB521-D34A-433D-8ABC-CE2EEE59467E}" presName="spacer" presStyleCnt="0"/>
      <dgm:spPr/>
    </dgm:pt>
    <dgm:pt modelId="{61DD9455-966A-484B-9E4E-46B56B0A037F}" type="pres">
      <dgm:prSet presAssocID="{35745E29-9366-4A14-B3E2-CB74D2B209CC}" presName="parentText" presStyleLbl="node1" presStyleIdx="5" presStyleCnt="6">
        <dgm:presLayoutVars>
          <dgm:chMax val="0"/>
          <dgm:bulletEnabled val="1"/>
        </dgm:presLayoutVars>
      </dgm:prSet>
      <dgm:spPr/>
    </dgm:pt>
  </dgm:ptLst>
  <dgm:cxnLst>
    <dgm:cxn modelId="{4AB83D09-7308-4A3A-B353-261150B1F4EC}" srcId="{FC28BBC3-3AE4-4136-ADC0-247136030720}" destId="{35745E29-9366-4A14-B3E2-CB74D2B209CC}" srcOrd="5" destOrd="0" parTransId="{868D714B-6A95-4322-A175-B07BC53DE56E}" sibTransId="{A3373E84-05CD-4750-B2D6-9C085CCD768F}"/>
    <dgm:cxn modelId="{DF34D513-9A4E-460F-AFCE-35EC325755EE}" type="presOf" srcId="{FC28BBC3-3AE4-4136-ADC0-247136030720}" destId="{85273815-164C-4393-A1F8-BD7CEC28D08E}" srcOrd="0" destOrd="0" presId="urn:microsoft.com/office/officeart/2005/8/layout/vList2"/>
    <dgm:cxn modelId="{FB1FB85F-5AD0-4D9E-9B85-8F785120D562}" type="presOf" srcId="{5BE9F3FC-A89A-46DD-82C7-815F9B6EEA9B}" destId="{B4981705-4E16-4609-B654-ABD23932F843}" srcOrd="0" destOrd="0" presId="urn:microsoft.com/office/officeart/2005/8/layout/vList2"/>
    <dgm:cxn modelId="{5BB2F963-0CAF-43DE-9895-A75ECD294B96}" srcId="{FC28BBC3-3AE4-4136-ADC0-247136030720}" destId="{3B901AB6-291F-41AC-BE00-39C73890028B}" srcOrd="2" destOrd="0" parTransId="{B866DFA8-2E2F-4041-BEBF-E4A0C5ED7887}" sibTransId="{82FC9B74-128C-4FAA-BAA7-B508B582455C}"/>
    <dgm:cxn modelId="{532BC446-4C2F-4393-9861-683F1E06AB81}" srcId="{FC28BBC3-3AE4-4136-ADC0-247136030720}" destId="{2FC5143D-91FD-4593-AA41-13EDDDBD8C8F}" srcOrd="1" destOrd="0" parTransId="{9177C6F6-38D7-40DD-A5A0-B038EC00FD70}" sibTransId="{0017EA70-ABB0-4B91-BCF6-23266506F1E7}"/>
    <dgm:cxn modelId="{35D4934F-2F08-4307-9089-30FA3D92A3F0}" type="presOf" srcId="{99F1112C-8BAA-4DA6-8517-9AA76BAC3D2B}" destId="{69F45228-FC0A-4C87-83A1-A4146235C4F4}" srcOrd="0" destOrd="0" presId="urn:microsoft.com/office/officeart/2005/8/layout/vList2"/>
    <dgm:cxn modelId="{AB51E570-CDB0-4E25-B1F7-F3F14AA1C2D8}" type="presOf" srcId="{F4599D95-4760-4D02-9FA9-7A538D657EEB}" destId="{29F8D596-19F9-4238-89A9-09C64E5F8E8D}" srcOrd="0" destOrd="0" presId="urn:microsoft.com/office/officeart/2005/8/layout/vList2"/>
    <dgm:cxn modelId="{59608E51-E2D7-44CD-AAAA-66274EA2E09D}" srcId="{FC28BBC3-3AE4-4136-ADC0-247136030720}" destId="{5BE9F3FC-A89A-46DD-82C7-815F9B6EEA9B}" srcOrd="4" destOrd="0" parTransId="{4CA90819-650B-4445-BB4E-62FAE8903A08}" sibTransId="{0CBEB521-D34A-433D-8ABC-CE2EEE59467E}"/>
    <dgm:cxn modelId="{93E1B076-0A38-4561-8AC9-C6FBDCC7A2E8}" srcId="{FC28BBC3-3AE4-4136-ADC0-247136030720}" destId="{F4599D95-4760-4D02-9FA9-7A538D657EEB}" srcOrd="0" destOrd="0" parTransId="{6492F31E-2C4E-4E7A-BAEF-54AA1771B9C5}" sibTransId="{9D5A6316-9C64-491C-8B9D-D5123069EC80}"/>
    <dgm:cxn modelId="{58D57086-D1BD-43B0-AACE-1CFB90DEF62E}" type="presOf" srcId="{35745E29-9366-4A14-B3E2-CB74D2B209CC}" destId="{61DD9455-966A-484B-9E4E-46B56B0A037F}" srcOrd="0" destOrd="0" presId="urn:microsoft.com/office/officeart/2005/8/layout/vList2"/>
    <dgm:cxn modelId="{4E1CD1BE-D93A-4A51-9FB7-96CE33498A20}" type="presOf" srcId="{2FC5143D-91FD-4593-AA41-13EDDDBD8C8F}" destId="{2BD41882-F673-4240-8A7B-4406E84B2659}" srcOrd="0" destOrd="0" presId="urn:microsoft.com/office/officeart/2005/8/layout/vList2"/>
    <dgm:cxn modelId="{8A849ECC-BD8C-42F5-B001-2EADAFBA34F8}" type="presOf" srcId="{3B901AB6-291F-41AC-BE00-39C73890028B}" destId="{9C8AC09C-F5B9-4310-99E1-D79A24432A41}" srcOrd="0" destOrd="0" presId="urn:microsoft.com/office/officeart/2005/8/layout/vList2"/>
    <dgm:cxn modelId="{6FAE22E7-F97D-48D0-B878-A323A4656A55}" srcId="{FC28BBC3-3AE4-4136-ADC0-247136030720}" destId="{99F1112C-8BAA-4DA6-8517-9AA76BAC3D2B}" srcOrd="3" destOrd="0" parTransId="{9585E63E-1EB1-4DC2-9316-864FC2875486}" sibTransId="{6B2944FF-5232-4F0E-A586-5F5F557F1A79}"/>
    <dgm:cxn modelId="{88E42D96-AA7E-45FD-9CB8-1B5EC1B3C3C5}" type="presParOf" srcId="{85273815-164C-4393-A1F8-BD7CEC28D08E}" destId="{29F8D596-19F9-4238-89A9-09C64E5F8E8D}" srcOrd="0" destOrd="0" presId="urn:microsoft.com/office/officeart/2005/8/layout/vList2"/>
    <dgm:cxn modelId="{1B482CBB-CC1F-4345-967B-19C5971544F8}" type="presParOf" srcId="{85273815-164C-4393-A1F8-BD7CEC28D08E}" destId="{466C11B8-123B-4BB9-B456-2B21EB165906}" srcOrd="1" destOrd="0" presId="urn:microsoft.com/office/officeart/2005/8/layout/vList2"/>
    <dgm:cxn modelId="{F3BF764A-D8D7-4D7D-9E14-3D162A9C3DFB}" type="presParOf" srcId="{85273815-164C-4393-A1F8-BD7CEC28D08E}" destId="{2BD41882-F673-4240-8A7B-4406E84B2659}" srcOrd="2" destOrd="0" presId="urn:microsoft.com/office/officeart/2005/8/layout/vList2"/>
    <dgm:cxn modelId="{092D6A03-CB55-4AE4-86D0-45BD642D4BAD}" type="presParOf" srcId="{85273815-164C-4393-A1F8-BD7CEC28D08E}" destId="{BC8661D1-309F-4EB8-A7C3-D23751D5DE49}" srcOrd="3" destOrd="0" presId="urn:microsoft.com/office/officeart/2005/8/layout/vList2"/>
    <dgm:cxn modelId="{34610A8E-184B-4059-B96A-1518D3ABB0E7}" type="presParOf" srcId="{85273815-164C-4393-A1F8-BD7CEC28D08E}" destId="{9C8AC09C-F5B9-4310-99E1-D79A24432A41}" srcOrd="4" destOrd="0" presId="urn:microsoft.com/office/officeart/2005/8/layout/vList2"/>
    <dgm:cxn modelId="{CD5812D2-1381-44EF-B6D8-68AAE3D5D020}" type="presParOf" srcId="{85273815-164C-4393-A1F8-BD7CEC28D08E}" destId="{CFC26399-EF09-4F5A-97C7-B1B3236880B4}" srcOrd="5" destOrd="0" presId="urn:microsoft.com/office/officeart/2005/8/layout/vList2"/>
    <dgm:cxn modelId="{45EFDA41-790C-4922-8C1F-17B3D62CA97A}" type="presParOf" srcId="{85273815-164C-4393-A1F8-BD7CEC28D08E}" destId="{69F45228-FC0A-4C87-83A1-A4146235C4F4}" srcOrd="6" destOrd="0" presId="urn:microsoft.com/office/officeart/2005/8/layout/vList2"/>
    <dgm:cxn modelId="{E75E135D-FED6-4590-9AA1-DE6E9529DC52}" type="presParOf" srcId="{85273815-164C-4393-A1F8-BD7CEC28D08E}" destId="{4A3E507C-B384-4894-B2D4-64774A6CD108}" srcOrd="7" destOrd="0" presId="urn:microsoft.com/office/officeart/2005/8/layout/vList2"/>
    <dgm:cxn modelId="{63E6FF9F-6755-44CE-9B53-95771C05DEFF}" type="presParOf" srcId="{85273815-164C-4393-A1F8-BD7CEC28D08E}" destId="{B4981705-4E16-4609-B654-ABD23932F843}" srcOrd="8" destOrd="0" presId="urn:microsoft.com/office/officeart/2005/8/layout/vList2"/>
    <dgm:cxn modelId="{DD86636A-06C9-4557-B1C2-1621E53BE499}" type="presParOf" srcId="{85273815-164C-4393-A1F8-BD7CEC28D08E}" destId="{FABD2463-7B70-4BBE-9663-6E906991B685}" srcOrd="9" destOrd="0" presId="urn:microsoft.com/office/officeart/2005/8/layout/vList2"/>
    <dgm:cxn modelId="{1D8E488C-B8D8-466E-9F47-61D28765E6D6}" type="presParOf" srcId="{85273815-164C-4393-A1F8-BD7CEC28D08E}" destId="{61DD9455-966A-484B-9E4E-46B56B0A037F}"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6EDC4CF-A890-41DB-9A10-03E8E30F4BF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38F07CE-6207-4FF4-8338-5DEC3686E89F}">
      <dgm:prSet custT="1"/>
      <dgm:spPr/>
      <dgm:t>
        <a:bodyPr/>
        <a:lstStyle/>
        <a:p>
          <a:r>
            <a:rPr lang="en-US" sz="2400" baseline="0"/>
            <a:t>Service head that contains databases</a:t>
          </a:r>
          <a:endParaRPr lang="en-US" sz="2400"/>
        </a:p>
      </dgm:t>
    </dgm:pt>
    <dgm:pt modelId="{ABD57D2B-B585-4D09-A468-A174BC40993F}" type="parTrans" cxnId="{3FEDAF6A-36DD-4461-BA4E-DDD80781D427}">
      <dgm:prSet/>
      <dgm:spPr/>
      <dgm:t>
        <a:bodyPr/>
        <a:lstStyle/>
        <a:p>
          <a:endParaRPr lang="en-US"/>
        </a:p>
      </dgm:t>
    </dgm:pt>
    <dgm:pt modelId="{06F96C4F-61B4-4293-A67A-CF917D0C3C9C}" type="sibTrans" cxnId="{3FEDAF6A-36DD-4461-BA4E-DDD80781D427}">
      <dgm:prSet/>
      <dgm:spPr/>
      <dgm:t>
        <a:bodyPr/>
        <a:lstStyle/>
        <a:p>
          <a:endParaRPr lang="en-US"/>
        </a:p>
      </dgm:t>
    </dgm:pt>
    <dgm:pt modelId="{7C19D824-9841-432B-843C-1C27C3E7D765}">
      <dgm:prSet custT="1"/>
      <dgm:spPr/>
      <dgm:t>
        <a:bodyPr/>
        <a:lstStyle/>
        <a:p>
          <a:r>
            <a:rPr lang="en-US" sz="2400" baseline="0" dirty="0"/>
            <a:t>Connect via Fully Qualified Domain Name</a:t>
          </a:r>
          <a:endParaRPr lang="en-US" sz="2400" dirty="0"/>
        </a:p>
      </dgm:t>
    </dgm:pt>
    <dgm:pt modelId="{31CB4673-2E0A-44BC-BC0D-5A9F80C076CA}" type="parTrans" cxnId="{98136CDD-E1D5-4BA4-88D8-8A5E63C30582}">
      <dgm:prSet/>
      <dgm:spPr/>
      <dgm:t>
        <a:bodyPr/>
        <a:lstStyle/>
        <a:p>
          <a:endParaRPr lang="en-US"/>
        </a:p>
      </dgm:t>
    </dgm:pt>
    <dgm:pt modelId="{37DE3296-243C-45F8-AA5A-38921948CD5A}" type="sibTrans" cxnId="{98136CDD-E1D5-4BA4-88D8-8A5E63C30582}">
      <dgm:prSet/>
      <dgm:spPr/>
      <dgm:t>
        <a:bodyPr/>
        <a:lstStyle/>
        <a:p>
          <a:endParaRPr lang="en-US"/>
        </a:p>
      </dgm:t>
    </dgm:pt>
    <dgm:pt modelId="{C9B32BC9-1299-43F8-A76C-657F485448C0}">
      <dgm:prSet custT="1"/>
      <dgm:spPr/>
      <dgm:t>
        <a:bodyPr/>
        <a:lstStyle/>
        <a:p>
          <a:r>
            <a:rPr lang="en-US" sz="2400" baseline="0"/>
            <a:t>Initially contains only a </a:t>
          </a:r>
          <a:r>
            <a:rPr lang="en-US" sz="2400" b="1" baseline="0"/>
            <a:t>master</a:t>
          </a:r>
          <a:r>
            <a:rPr lang="en-US" sz="2400" baseline="0"/>
            <a:t> database</a:t>
          </a:r>
          <a:endParaRPr lang="en-US" sz="2400"/>
        </a:p>
      </dgm:t>
    </dgm:pt>
    <dgm:pt modelId="{0B7047D7-59BF-497C-9996-BE3B4527717B}" type="parTrans" cxnId="{50CF26A3-87DA-4D04-A92A-B4CEC7450698}">
      <dgm:prSet/>
      <dgm:spPr/>
      <dgm:t>
        <a:bodyPr/>
        <a:lstStyle/>
        <a:p>
          <a:endParaRPr lang="en-US"/>
        </a:p>
      </dgm:t>
    </dgm:pt>
    <dgm:pt modelId="{C151C3D2-5335-468B-8CC1-E65F987B2039}" type="sibTrans" cxnId="{50CF26A3-87DA-4D04-A92A-B4CEC7450698}">
      <dgm:prSet/>
      <dgm:spPr/>
      <dgm:t>
        <a:bodyPr/>
        <a:lstStyle/>
        <a:p>
          <a:endParaRPr lang="en-US"/>
        </a:p>
      </dgm:t>
    </dgm:pt>
    <dgm:pt modelId="{5FAB21A5-B131-4621-AC5F-685419DD79BD}" type="pres">
      <dgm:prSet presAssocID="{76EDC4CF-A890-41DB-9A10-03E8E30F4BFC}" presName="linear" presStyleCnt="0">
        <dgm:presLayoutVars>
          <dgm:animLvl val="lvl"/>
          <dgm:resizeHandles val="exact"/>
        </dgm:presLayoutVars>
      </dgm:prSet>
      <dgm:spPr/>
    </dgm:pt>
    <dgm:pt modelId="{5C56C630-D737-4663-A3E5-ABD804E8263D}" type="pres">
      <dgm:prSet presAssocID="{A38F07CE-6207-4FF4-8338-5DEC3686E89F}" presName="parentText" presStyleLbl="node1" presStyleIdx="0" presStyleCnt="3">
        <dgm:presLayoutVars>
          <dgm:chMax val="0"/>
          <dgm:bulletEnabled val="1"/>
        </dgm:presLayoutVars>
      </dgm:prSet>
      <dgm:spPr/>
    </dgm:pt>
    <dgm:pt modelId="{B74CA815-941F-469A-B643-2616E539B392}" type="pres">
      <dgm:prSet presAssocID="{06F96C4F-61B4-4293-A67A-CF917D0C3C9C}" presName="spacer" presStyleCnt="0"/>
      <dgm:spPr/>
    </dgm:pt>
    <dgm:pt modelId="{E25B73EA-849E-4DC2-AF7C-DC058386430E}" type="pres">
      <dgm:prSet presAssocID="{7C19D824-9841-432B-843C-1C27C3E7D765}" presName="parentText" presStyleLbl="node1" presStyleIdx="1" presStyleCnt="3">
        <dgm:presLayoutVars>
          <dgm:chMax val="0"/>
          <dgm:bulletEnabled val="1"/>
        </dgm:presLayoutVars>
      </dgm:prSet>
      <dgm:spPr/>
    </dgm:pt>
    <dgm:pt modelId="{6B1C1F07-723C-42FA-92C3-A42EE25C1EA4}" type="pres">
      <dgm:prSet presAssocID="{37DE3296-243C-45F8-AA5A-38921948CD5A}" presName="spacer" presStyleCnt="0"/>
      <dgm:spPr/>
    </dgm:pt>
    <dgm:pt modelId="{203E7617-EF69-425C-A430-A56C71E9D147}" type="pres">
      <dgm:prSet presAssocID="{C9B32BC9-1299-43F8-A76C-657F485448C0}" presName="parentText" presStyleLbl="node1" presStyleIdx="2" presStyleCnt="3">
        <dgm:presLayoutVars>
          <dgm:chMax val="0"/>
          <dgm:bulletEnabled val="1"/>
        </dgm:presLayoutVars>
      </dgm:prSet>
      <dgm:spPr/>
    </dgm:pt>
  </dgm:ptLst>
  <dgm:cxnLst>
    <dgm:cxn modelId="{44830D13-9DE5-433C-ADC3-7E36421AD4D9}" type="presOf" srcId="{A38F07CE-6207-4FF4-8338-5DEC3686E89F}" destId="{5C56C630-D737-4663-A3E5-ABD804E8263D}" srcOrd="0" destOrd="0" presId="urn:microsoft.com/office/officeart/2005/8/layout/vList2"/>
    <dgm:cxn modelId="{0204BD67-78AA-4F75-954D-CF47C1D26665}" type="presOf" srcId="{7C19D824-9841-432B-843C-1C27C3E7D765}" destId="{E25B73EA-849E-4DC2-AF7C-DC058386430E}" srcOrd="0" destOrd="0" presId="urn:microsoft.com/office/officeart/2005/8/layout/vList2"/>
    <dgm:cxn modelId="{3FEDAF6A-36DD-4461-BA4E-DDD80781D427}" srcId="{76EDC4CF-A890-41DB-9A10-03E8E30F4BFC}" destId="{A38F07CE-6207-4FF4-8338-5DEC3686E89F}" srcOrd="0" destOrd="0" parTransId="{ABD57D2B-B585-4D09-A468-A174BC40993F}" sibTransId="{06F96C4F-61B4-4293-A67A-CF917D0C3C9C}"/>
    <dgm:cxn modelId="{50CF26A3-87DA-4D04-A92A-B4CEC7450698}" srcId="{76EDC4CF-A890-41DB-9A10-03E8E30F4BFC}" destId="{C9B32BC9-1299-43F8-A76C-657F485448C0}" srcOrd="2" destOrd="0" parTransId="{0B7047D7-59BF-497C-9996-BE3B4527717B}" sibTransId="{C151C3D2-5335-468B-8CC1-E65F987B2039}"/>
    <dgm:cxn modelId="{FEE76EC5-1C36-42E4-B0AB-097988046D37}" type="presOf" srcId="{76EDC4CF-A890-41DB-9A10-03E8E30F4BFC}" destId="{5FAB21A5-B131-4621-AC5F-685419DD79BD}" srcOrd="0" destOrd="0" presId="urn:microsoft.com/office/officeart/2005/8/layout/vList2"/>
    <dgm:cxn modelId="{98136CDD-E1D5-4BA4-88D8-8A5E63C30582}" srcId="{76EDC4CF-A890-41DB-9A10-03E8E30F4BFC}" destId="{7C19D824-9841-432B-843C-1C27C3E7D765}" srcOrd="1" destOrd="0" parTransId="{31CB4673-2E0A-44BC-BC0D-5A9F80C076CA}" sibTransId="{37DE3296-243C-45F8-AA5A-38921948CD5A}"/>
    <dgm:cxn modelId="{243BD3E8-172C-4406-B529-6FA2EF970492}" type="presOf" srcId="{C9B32BC9-1299-43F8-A76C-657F485448C0}" destId="{203E7617-EF69-425C-A430-A56C71E9D147}" srcOrd="0" destOrd="0" presId="urn:microsoft.com/office/officeart/2005/8/layout/vList2"/>
    <dgm:cxn modelId="{96BA03DD-B83B-46F0-8730-0A274D63BD93}" type="presParOf" srcId="{5FAB21A5-B131-4621-AC5F-685419DD79BD}" destId="{5C56C630-D737-4663-A3E5-ABD804E8263D}" srcOrd="0" destOrd="0" presId="urn:microsoft.com/office/officeart/2005/8/layout/vList2"/>
    <dgm:cxn modelId="{A545BBE0-2510-48D7-8FCD-EE4C024E141C}" type="presParOf" srcId="{5FAB21A5-B131-4621-AC5F-685419DD79BD}" destId="{B74CA815-941F-469A-B643-2616E539B392}" srcOrd="1" destOrd="0" presId="urn:microsoft.com/office/officeart/2005/8/layout/vList2"/>
    <dgm:cxn modelId="{D34D2CE5-7BAB-4900-8188-07AD709286C1}" type="presParOf" srcId="{5FAB21A5-B131-4621-AC5F-685419DD79BD}" destId="{E25B73EA-849E-4DC2-AF7C-DC058386430E}" srcOrd="2" destOrd="0" presId="urn:microsoft.com/office/officeart/2005/8/layout/vList2"/>
    <dgm:cxn modelId="{B52814DD-2469-4F76-BD05-D6B942D165D4}" type="presParOf" srcId="{5FAB21A5-B131-4621-AC5F-685419DD79BD}" destId="{6B1C1F07-723C-42FA-92C3-A42EE25C1EA4}" srcOrd="3" destOrd="0" presId="urn:microsoft.com/office/officeart/2005/8/layout/vList2"/>
    <dgm:cxn modelId="{CF28A45D-8645-46DB-AE86-2DD12D1090E6}" type="presParOf" srcId="{5FAB21A5-B131-4621-AC5F-685419DD79BD}" destId="{203E7617-EF69-425C-A430-A56C71E9D14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3EC7E47-AAF6-4399-BCD8-F01188EAD6BE}" type="doc">
      <dgm:prSet loTypeId="urn:microsoft.com/office/officeart/2005/8/layout/hProcess9" loCatId="process" qsTypeId="urn:microsoft.com/office/officeart/2005/8/quickstyle/simple1" qsCatId="simple" csTypeId="urn:microsoft.com/office/officeart/2005/8/colors/colorful2" csCatId="colorful"/>
      <dgm:spPr/>
      <dgm:t>
        <a:bodyPr/>
        <a:lstStyle/>
        <a:p>
          <a:endParaRPr lang="en-US"/>
        </a:p>
      </dgm:t>
    </dgm:pt>
    <dgm:pt modelId="{2CB8DB74-3C58-4006-8415-DF75502D20F5}">
      <dgm:prSet custT="1"/>
      <dgm:spPr/>
      <dgm:t>
        <a:bodyPr/>
        <a:lstStyle/>
        <a:p>
          <a:r>
            <a:rPr lang="en-US" sz="1800" baseline="0"/>
            <a:t>Download the latest version of SSMS.</a:t>
          </a:r>
          <a:endParaRPr lang="en-US" sz="1800"/>
        </a:p>
      </dgm:t>
    </dgm:pt>
    <dgm:pt modelId="{690F9C97-67A2-4B83-8EF2-5501536D3194}" type="parTrans" cxnId="{5D3E6F82-E558-4094-A7C0-C92A7616499A}">
      <dgm:prSet/>
      <dgm:spPr/>
      <dgm:t>
        <a:bodyPr/>
        <a:lstStyle/>
        <a:p>
          <a:endParaRPr lang="en-US" sz="2000"/>
        </a:p>
      </dgm:t>
    </dgm:pt>
    <dgm:pt modelId="{5A902B04-D68D-4BCB-A8B2-72740126C965}" type="sibTrans" cxnId="{5D3E6F82-E558-4094-A7C0-C92A7616499A}">
      <dgm:prSet/>
      <dgm:spPr/>
      <dgm:t>
        <a:bodyPr/>
        <a:lstStyle/>
        <a:p>
          <a:endParaRPr lang="en-US" sz="2000"/>
        </a:p>
      </dgm:t>
    </dgm:pt>
    <dgm:pt modelId="{0C9EEAE5-7DB9-4174-AFB1-46B38B81F879}">
      <dgm:prSet custT="1"/>
      <dgm:spPr/>
      <dgm:t>
        <a:bodyPr/>
        <a:lstStyle/>
        <a:p>
          <a:r>
            <a:rPr lang="en-US" sz="1800" baseline="0"/>
            <a:t>Get the fully qualified domain name of your Azure SQL Server.</a:t>
          </a:r>
          <a:endParaRPr lang="en-US" sz="1800"/>
        </a:p>
      </dgm:t>
    </dgm:pt>
    <dgm:pt modelId="{E7B75456-ABEE-42F1-AF75-4114702739C9}" type="parTrans" cxnId="{9D630067-92C1-4EC3-A4C5-6A8ED80F256D}">
      <dgm:prSet/>
      <dgm:spPr/>
      <dgm:t>
        <a:bodyPr/>
        <a:lstStyle/>
        <a:p>
          <a:endParaRPr lang="en-US" sz="2000"/>
        </a:p>
      </dgm:t>
    </dgm:pt>
    <dgm:pt modelId="{AB45F34E-C60C-4773-A46F-B1528DF40E7D}" type="sibTrans" cxnId="{9D630067-92C1-4EC3-A4C5-6A8ED80F256D}">
      <dgm:prSet/>
      <dgm:spPr/>
      <dgm:t>
        <a:bodyPr/>
        <a:lstStyle/>
        <a:p>
          <a:endParaRPr lang="en-US" sz="2000"/>
        </a:p>
      </dgm:t>
    </dgm:pt>
    <dgm:pt modelId="{FCE3AE3F-F4EC-4E2F-92C0-9838B2AF0429}">
      <dgm:prSet custT="1"/>
      <dgm:spPr/>
      <dgm:t>
        <a:bodyPr/>
        <a:lstStyle/>
        <a:p>
          <a:r>
            <a:rPr lang="en-US" sz="1800" baseline="0"/>
            <a:t>Connect to your SQL Database.</a:t>
          </a:r>
          <a:endParaRPr lang="en-US" sz="1800"/>
        </a:p>
      </dgm:t>
    </dgm:pt>
    <dgm:pt modelId="{C26152B4-E78F-4147-A0E1-EE4B112E1325}" type="parTrans" cxnId="{D05AD7AA-BE86-4BE5-B814-DB4C0E1222E8}">
      <dgm:prSet/>
      <dgm:spPr/>
      <dgm:t>
        <a:bodyPr/>
        <a:lstStyle/>
        <a:p>
          <a:endParaRPr lang="en-US" sz="2000"/>
        </a:p>
      </dgm:t>
    </dgm:pt>
    <dgm:pt modelId="{2C150058-9272-4097-BF4A-1158B5426AA9}" type="sibTrans" cxnId="{D05AD7AA-BE86-4BE5-B814-DB4C0E1222E8}">
      <dgm:prSet/>
      <dgm:spPr/>
      <dgm:t>
        <a:bodyPr/>
        <a:lstStyle/>
        <a:p>
          <a:endParaRPr lang="en-US" sz="2000"/>
        </a:p>
      </dgm:t>
    </dgm:pt>
    <dgm:pt modelId="{6FA2DB5A-E289-48EE-8B7A-CE0680AAFA89}" type="pres">
      <dgm:prSet presAssocID="{23EC7E47-AAF6-4399-BCD8-F01188EAD6BE}" presName="CompostProcess" presStyleCnt="0">
        <dgm:presLayoutVars>
          <dgm:dir/>
          <dgm:resizeHandles val="exact"/>
        </dgm:presLayoutVars>
      </dgm:prSet>
      <dgm:spPr/>
    </dgm:pt>
    <dgm:pt modelId="{FAA59D39-7970-4EBC-82BD-0AB3DE7C9CC6}" type="pres">
      <dgm:prSet presAssocID="{23EC7E47-AAF6-4399-BCD8-F01188EAD6BE}" presName="arrow" presStyleLbl="bgShp" presStyleIdx="0" presStyleCnt="1"/>
      <dgm:spPr/>
    </dgm:pt>
    <dgm:pt modelId="{6AE26C36-BEC0-4BD1-A982-593A4C9EEEA8}" type="pres">
      <dgm:prSet presAssocID="{23EC7E47-AAF6-4399-BCD8-F01188EAD6BE}" presName="linearProcess" presStyleCnt="0"/>
      <dgm:spPr/>
    </dgm:pt>
    <dgm:pt modelId="{86D283A7-DE91-4750-B5FE-01DDB9ED0CF8}" type="pres">
      <dgm:prSet presAssocID="{2CB8DB74-3C58-4006-8415-DF75502D20F5}" presName="textNode" presStyleLbl="node1" presStyleIdx="0" presStyleCnt="3">
        <dgm:presLayoutVars>
          <dgm:bulletEnabled val="1"/>
        </dgm:presLayoutVars>
      </dgm:prSet>
      <dgm:spPr/>
    </dgm:pt>
    <dgm:pt modelId="{3EC96177-ECA1-4CC2-A8F9-ED681EF274F7}" type="pres">
      <dgm:prSet presAssocID="{5A902B04-D68D-4BCB-A8B2-72740126C965}" presName="sibTrans" presStyleCnt="0"/>
      <dgm:spPr/>
    </dgm:pt>
    <dgm:pt modelId="{155CF17E-9E37-44D4-BD70-0FAC26B50974}" type="pres">
      <dgm:prSet presAssocID="{0C9EEAE5-7DB9-4174-AFB1-46B38B81F879}" presName="textNode" presStyleLbl="node1" presStyleIdx="1" presStyleCnt="3">
        <dgm:presLayoutVars>
          <dgm:bulletEnabled val="1"/>
        </dgm:presLayoutVars>
      </dgm:prSet>
      <dgm:spPr/>
    </dgm:pt>
    <dgm:pt modelId="{2C3F90F4-BAF1-4530-93FE-7FA35DD63453}" type="pres">
      <dgm:prSet presAssocID="{AB45F34E-C60C-4773-A46F-B1528DF40E7D}" presName="sibTrans" presStyleCnt="0"/>
      <dgm:spPr/>
    </dgm:pt>
    <dgm:pt modelId="{43DBA389-024D-4A46-9A8D-E9E249AD8375}" type="pres">
      <dgm:prSet presAssocID="{FCE3AE3F-F4EC-4E2F-92C0-9838B2AF0429}" presName="textNode" presStyleLbl="node1" presStyleIdx="2" presStyleCnt="3">
        <dgm:presLayoutVars>
          <dgm:bulletEnabled val="1"/>
        </dgm:presLayoutVars>
      </dgm:prSet>
      <dgm:spPr/>
    </dgm:pt>
  </dgm:ptLst>
  <dgm:cxnLst>
    <dgm:cxn modelId="{CE562C13-802C-4711-840A-A20ADBF0D126}" type="presOf" srcId="{FCE3AE3F-F4EC-4E2F-92C0-9838B2AF0429}" destId="{43DBA389-024D-4A46-9A8D-E9E249AD8375}" srcOrd="0" destOrd="0" presId="urn:microsoft.com/office/officeart/2005/8/layout/hProcess9"/>
    <dgm:cxn modelId="{A8C69425-90C9-4539-988F-537C317F2603}" type="presOf" srcId="{23EC7E47-AAF6-4399-BCD8-F01188EAD6BE}" destId="{6FA2DB5A-E289-48EE-8B7A-CE0680AAFA89}" srcOrd="0" destOrd="0" presId="urn:microsoft.com/office/officeart/2005/8/layout/hProcess9"/>
    <dgm:cxn modelId="{410A063B-11DD-4DDF-B460-C1CC60D88343}" type="presOf" srcId="{2CB8DB74-3C58-4006-8415-DF75502D20F5}" destId="{86D283A7-DE91-4750-B5FE-01DDB9ED0CF8}" srcOrd="0" destOrd="0" presId="urn:microsoft.com/office/officeart/2005/8/layout/hProcess9"/>
    <dgm:cxn modelId="{9D630067-92C1-4EC3-A4C5-6A8ED80F256D}" srcId="{23EC7E47-AAF6-4399-BCD8-F01188EAD6BE}" destId="{0C9EEAE5-7DB9-4174-AFB1-46B38B81F879}" srcOrd="1" destOrd="0" parTransId="{E7B75456-ABEE-42F1-AF75-4114702739C9}" sibTransId="{AB45F34E-C60C-4773-A46F-B1528DF40E7D}"/>
    <dgm:cxn modelId="{5D3E6F82-E558-4094-A7C0-C92A7616499A}" srcId="{23EC7E47-AAF6-4399-BCD8-F01188EAD6BE}" destId="{2CB8DB74-3C58-4006-8415-DF75502D20F5}" srcOrd="0" destOrd="0" parTransId="{690F9C97-67A2-4B83-8EF2-5501536D3194}" sibTransId="{5A902B04-D68D-4BCB-A8B2-72740126C965}"/>
    <dgm:cxn modelId="{D05AD7AA-BE86-4BE5-B814-DB4C0E1222E8}" srcId="{23EC7E47-AAF6-4399-BCD8-F01188EAD6BE}" destId="{FCE3AE3F-F4EC-4E2F-92C0-9838B2AF0429}" srcOrd="2" destOrd="0" parTransId="{C26152B4-E78F-4147-A0E1-EE4B112E1325}" sibTransId="{2C150058-9272-4097-BF4A-1158B5426AA9}"/>
    <dgm:cxn modelId="{11FAC6F2-7F28-4954-B6A3-AF7430CB8C45}" type="presOf" srcId="{0C9EEAE5-7DB9-4174-AFB1-46B38B81F879}" destId="{155CF17E-9E37-44D4-BD70-0FAC26B50974}" srcOrd="0" destOrd="0" presId="urn:microsoft.com/office/officeart/2005/8/layout/hProcess9"/>
    <dgm:cxn modelId="{22C8D8F1-A2F1-458E-BA37-96A9D03CF597}" type="presParOf" srcId="{6FA2DB5A-E289-48EE-8B7A-CE0680AAFA89}" destId="{FAA59D39-7970-4EBC-82BD-0AB3DE7C9CC6}" srcOrd="0" destOrd="0" presId="urn:microsoft.com/office/officeart/2005/8/layout/hProcess9"/>
    <dgm:cxn modelId="{26DE9DA6-100E-4259-B9F1-37C697B681FF}" type="presParOf" srcId="{6FA2DB5A-E289-48EE-8B7A-CE0680AAFA89}" destId="{6AE26C36-BEC0-4BD1-A982-593A4C9EEEA8}" srcOrd="1" destOrd="0" presId="urn:microsoft.com/office/officeart/2005/8/layout/hProcess9"/>
    <dgm:cxn modelId="{6972206A-EEF9-419F-89A8-C6AFED2545FE}" type="presParOf" srcId="{6AE26C36-BEC0-4BD1-A982-593A4C9EEEA8}" destId="{86D283A7-DE91-4750-B5FE-01DDB9ED0CF8}" srcOrd="0" destOrd="0" presId="urn:microsoft.com/office/officeart/2005/8/layout/hProcess9"/>
    <dgm:cxn modelId="{C0CF0274-EEAA-4549-9617-BA6BA04C71CD}" type="presParOf" srcId="{6AE26C36-BEC0-4BD1-A982-593A4C9EEEA8}" destId="{3EC96177-ECA1-4CC2-A8F9-ED681EF274F7}" srcOrd="1" destOrd="0" presId="urn:microsoft.com/office/officeart/2005/8/layout/hProcess9"/>
    <dgm:cxn modelId="{2B014769-9D1E-42D3-BB67-302A334E50A8}" type="presParOf" srcId="{6AE26C36-BEC0-4BD1-A982-593A4C9EEEA8}" destId="{155CF17E-9E37-44D4-BD70-0FAC26B50974}" srcOrd="2" destOrd="0" presId="urn:microsoft.com/office/officeart/2005/8/layout/hProcess9"/>
    <dgm:cxn modelId="{F93C8A33-A481-4E24-A5FF-A22D54C6F26C}" type="presParOf" srcId="{6AE26C36-BEC0-4BD1-A982-593A4C9EEEA8}" destId="{2C3F90F4-BAF1-4530-93FE-7FA35DD63453}" srcOrd="3" destOrd="0" presId="urn:microsoft.com/office/officeart/2005/8/layout/hProcess9"/>
    <dgm:cxn modelId="{3CAA7FFC-9092-4B30-845B-435A63145A90}" type="presParOf" srcId="{6AE26C36-BEC0-4BD1-A982-593A4C9EEEA8}" destId="{43DBA389-024D-4A46-9A8D-E9E249AD8375}"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023E7-76F8-4240-A90B-C66466FA1790}">
      <dsp:nvSpPr>
        <dsp:cNvPr id="0" name=""/>
        <dsp:cNvSpPr/>
      </dsp:nvSpPr>
      <dsp:spPr>
        <a:xfrm>
          <a:off x="0" y="19980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Microsoft Azure is Microsoft’s public cloud computing platform</a:t>
          </a:r>
          <a:endParaRPr lang="en-US" sz="2400" kern="1200"/>
        </a:p>
      </dsp:txBody>
      <dsp:txXfrm>
        <a:off x="30157" y="229964"/>
        <a:ext cx="10820412" cy="557445"/>
      </dsp:txXfrm>
    </dsp:sp>
    <dsp:sp modelId="{EA724777-5A37-4639-8598-C8C8CA24F856}">
      <dsp:nvSpPr>
        <dsp:cNvPr id="0" name=""/>
        <dsp:cNvSpPr/>
      </dsp:nvSpPr>
      <dsp:spPr>
        <a:xfrm>
          <a:off x="0" y="88668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Over 140 countries across 60 regions worldwide</a:t>
          </a:r>
          <a:endParaRPr lang="en-US" sz="2400" kern="1200" dirty="0"/>
        </a:p>
      </dsp:txBody>
      <dsp:txXfrm>
        <a:off x="30157" y="916844"/>
        <a:ext cx="10820412" cy="557445"/>
      </dsp:txXfrm>
    </dsp:sp>
    <dsp:sp modelId="{4C706E1B-708A-4D18-8BC1-C05516EE6FAB}">
      <dsp:nvSpPr>
        <dsp:cNvPr id="0" name=""/>
        <dsp:cNvSpPr/>
      </dsp:nvSpPr>
      <dsp:spPr>
        <a:xfrm>
          <a:off x="0" y="157356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Windows and Linux</a:t>
          </a:r>
          <a:endParaRPr lang="en-US" sz="2400" kern="1200"/>
        </a:p>
      </dsp:txBody>
      <dsp:txXfrm>
        <a:off x="30157" y="1603724"/>
        <a:ext cx="10820412" cy="557445"/>
      </dsp:txXfrm>
    </dsp:sp>
    <dsp:sp modelId="{4E42B728-6D1B-43E0-A034-1C3F40ABF6C2}">
      <dsp:nvSpPr>
        <dsp:cNvPr id="0" name=""/>
        <dsp:cNvSpPr/>
      </dsp:nvSpPr>
      <dsp:spPr>
        <a:xfrm>
          <a:off x="0" y="226044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cale globally</a:t>
          </a:r>
          <a:endParaRPr lang="en-US" sz="2400" kern="1200"/>
        </a:p>
      </dsp:txBody>
      <dsp:txXfrm>
        <a:off x="30157" y="2290604"/>
        <a:ext cx="10820412" cy="557445"/>
      </dsp:txXfrm>
    </dsp:sp>
    <dsp:sp modelId="{9C007B62-96B9-4ACA-A04D-4F8E84DB4007}">
      <dsp:nvSpPr>
        <dsp:cNvPr id="0" name=""/>
        <dsp:cNvSpPr/>
      </dsp:nvSpPr>
      <dsp:spPr>
        <a:xfrm>
          <a:off x="0" y="287820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Reach more locations, faster, with the performance and reliability of a vast global infrastructure.</a:t>
          </a:r>
          <a:endParaRPr lang="en-US" sz="1900" kern="1200"/>
        </a:p>
      </dsp:txBody>
      <dsp:txXfrm>
        <a:off x="0" y="2878207"/>
        <a:ext cx="10880726" cy="397440"/>
      </dsp:txXfrm>
    </dsp:sp>
    <dsp:sp modelId="{2E4966F4-E8F5-4388-8567-199CAD14B693}">
      <dsp:nvSpPr>
        <dsp:cNvPr id="0" name=""/>
        <dsp:cNvSpPr/>
      </dsp:nvSpPr>
      <dsp:spPr>
        <a:xfrm>
          <a:off x="0" y="327564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afeguard data</a:t>
          </a:r>
          <a:endParaRPr lang="en-US" sz="2400" kern="1200"/>
        </a:p>
      </dsp:txBody>
      <dsp:txXfrm>
        <a:off x="30157" y="3305804"/>
        <a:ext cx="10820412" cy="557445"/>
      </dsp:txXfrm>
    </dsp:sp>
    <dsp:sp modelId="{A88D8434-7005-4AEE-8560-4AC04FB1432E}">
      <dsp:nvSpPr>
        <dsp:cNvPr id="0" name=""/>
        <dsp:cNvSpPr/>
      </dsp:nvSpPr>
      <dsp:spPr>
        <a:xfrm>
          <a:off x="0" y="389340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Rely on industry-leading data security in the region and across our network.</a:t>
          </a:r>
          <a:endParaRPr lang="en-US" sz="1900" kern="1200" dirty="0"/>
        </a:p>
      </dsp:txBody>
      <dsp:txXfrm>
        <a:off x="0" y="3893407"/>
        <a:ext cx="10880726" cy="397440"/>
      </dsp:txXfrm>
    </dsp:sp>
    <dsp:sp modelId="{1CE32638-51B2-4B23-98BD-07246D9CD311}">
      <dsp:nvSpPr>
        <dsp:cNvPr id="0" name=""/>
        <dsp:cNvSpPr/>
      </dsp:nvSpPr>
      <dsp:spPr>
        <a:xfrm>
          <a:off x="0" y="4290848"/>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Promote sustainability</a:t>
          </a:r>
          <a:endParaRPr lang="en-US" sz="2400" kern="1200"/>
        </a:p>
      </dsp:txBody>
      <dsp:txXfrm>
        <a:off x="30157" y="4321005"/>
        <a:ext cx="10820412" cy="557445"/>
      </dsp:txXfrm>
    </dsp:sp>
    <dsp:sp modelId="{A594F59E-3D64-4506-9C87-BF49311AEA3C}">
      <dsp:nvSpPr>
        <dsp:cNvPr id="0" name=""/>
        <dsp:cNvSpPr/>
      </dsp:nvSpPr>
      <dsp:spPr>
        <a:xfrm>
          <a:off x="0" y="4908608"/>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Help build a clean-energy future and accelerate progress toward your sustainability goals.</a:t>
          </a:r>
          <a:endParaRPr lang="en-US" sz="1900" kern="1200"/>
        </a:p>
      </dsp:txBody>
      <dsp:txXfrm>
        <a:off x="0" y="4908608"/>
        <a:ext cx="10880726" cy="39744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1D71A-5372-4ACA-AF75-E8A494B9E0A3}">
      <dsp:nvSpPr>
        <dsp:cNvPr id="0" name=""/>
        <dsp:cNvSpPr/>
      </dsp:nvSpPr>
      <dsp:spPr>
        <a:xfrm>
          <a:off x="5920" y="1153227"/>
          <a:ext cx="1769452" cy="209431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Download the latest version of SSDT.</a:t>
          </a:r>
          <a:endParaRPr lang="en-US" sz="2000" kern="1200"/>
        </a:p>
      </dsp:txBody>
      <dsp:txXfrm>
        <a:off x="57745" y="1205052"/>
        <a:ext cx="1665802" cy="1990663"/>
      </dsp:txXfrm>
    </dsp:sp>
    <dsp:sp modelId="{CDE82545-E10A-4425-8721-DBCD3EB85392}">
      <dsp:nvSpPr>
        <dsp:cNvPr id="0" name=""/>
        <dsp:cNvSpPr/>
      </dsp:nvSpPr>
      <dsp:spPr>
        <a:xfrm>
          <a:off x="1952318" y="1980972"/>
          <a:ext cx="375124" cy="43882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952318" y="2068737"/>
        <a:ext cx="262587" cy="263294"/>
      </dsp:txXfrm>
    </dsp:sp>
    <dsp:sp modelId="{94CB2C75-E19A-4D95-9C38-1822337E482F}">
      <dsp:nvSpPr>
        <dsp:cNvPr id="0" name=""/>
        <dsp:cNvSpPr/>
      </dsp:nvSpPr>
      <dsp:spPr>
        <a:xfrm>
          <a:off x="2483154" y="1153227"/>
          <a:ext cx="1769452" cy="2094313"/>
        </a:xfrm>
        <a:prstGeom prst="roundRect">
          <a:avLst>
            <a:gd name="adj" fmla="val 10000"/>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Get the fully qualified domain name of your Azure SQL Server.</a:t>
          </a:r>
          <a:endParaRPr lang="en-US" sz="2000" kern="1200" dirty="0"/>
        </a:p>
      </dsp:txBody>
      <dsp:txXfrm>
        <a:off x="2534979" y="1205052"/>
        <a:ext cx="1665802" cy="1990663"/>
      </dsp:txXfrm>
    </dsp:sp>
    <dsp:sp modelId="{1ADFBFD9-3FAD-4050-9112-76D56B934E5F}">
      <dsp:nvSpPr>
        <dsp:cNvPr id="0" name=""/>
        <dsp:cNvSpPr/>
      </dsp:nvSpPr>
      <dsp:spPr>
        <a:xfrm>
          <a:off x="4429552" y="1980972"/>
          <a:ext cx="375124" cy="438824"/>
        </a:xfrm>
        <a:prstGeom prst="rightArrow">
          <a:avLst>
            <a:gd name="adj1" fmla="val 60000"/>
            <a:gd name="adj2" fmla="val 50000"/>
          </a:avLst>
        </a:prstGeom>
        <a:solidFill>
          <a:schemeClr val="accent2">
            <a:hueOff val="-12063073"/>
            <a:satOff val="54471"/>
            <a:lumOff val="1705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429552" y="2068737"/>
        <a:ext cx="262587" cy="263294"/>
      </dsp:txXfrm>
    </dsp:sp>
    <dsp:sp modelId="{CC673CCA-A32F-4316-B153-3E0197EF3EF8}">
      <dsp:nvSpPr>
        <dsp:cNvPr id="0" name=""/>
        <dsp:cNvSpPr/>
      </dsp:nvSpPr>
      <dsp:spPr>
        <a:xfrm>
          <a:off x="4960388" y="1153227"/>
          <a:ext cx="1769452" cy="2094313"/>
        </a:xfrm>
        <a:prstGeom prst="roundRect">
          <a:avLst>
            <a:gd name="adj" fmla="val 10000"/>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Connect to your SQL Database.</a:t>
          </a:r>
          <a:endParaRPr lang="en-US" sz="2000" kern="1200"/>
        </a:p>
      </dsp:txBody>
      <dsp:txXfrm>
        <a:off x="5012213" y="1205052"/>
        <a:ext cx="1665802" cy="199066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F4D03-82E3-410D-AE1C-F4DC5A02FDB5}">
      <dsp:nvSpPr>
        <dsp:cNvPr id="0" name=""/>
        <dsp:cNvSpPr/>
      </dsp:nvSpPr>
      <dsp:spPr>
        <a:xfrm>
          <a:off x="0" y="55199"/>
          <a:ext cx="4525962" cy="144494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ownload the latest version of Azure Data Studio.</a:t>
          </a:r>
          <a:endParaRPr lang="en-US" sz="2400" kern="1200" dirty="0"/>
        </a:p>
      </dsp:txBody>
      <dsp:txXfrm>
        <a:off x="70537" y="125736"/>
        <a:ext cx="4384888" cy="1303875"/>
      </dsp:txXfrm>
    </dsp:sp>
    <dsp:sp modelId="{DFCEC8D6-C26F-495E-AC5C-9BEB1ECDF769}">
      <dsp:nvSpPr>
        <dsp:cNvPr id="0" name=""/>
        <dsp:cNvSpPr/>
      </dsp:nvSpPr>
      <dsp:spPr>
        <a:xfrm>
          <a:off x="0" y="1687350"/>
          <a:ext cx="4525962" cy="1444949"/>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Get the fully qualified domain name of your Azure SQL Server.</a:t>
          </a:r>
          <a:endParaRPr lang="en-US" sz="2400" kern="1200" dirty="0"/>
        </a:p>
      </dsp:txBody>
      <dsp:txXfrm>
        <a:off x="70537" y="1757887"/>
        <a:ext cx="4384888" cy="1303875"/>
      </dsp:txXfrm>
    </dsp:sp>
    <dsp:sp modelId="{B568A779-12BD-47BB-993A-F152A78BC6D6}">
      <dsp:nvSpPr>
        <dsp:cNvPr id="0" name=""/>
        <dsp:cNvSpPr/>
      </dsp:nvSpPr>
      <dsp:spPr>
        <a:xfrm>
          <a:off x="0" y="3319500"/>
          <a:ext cx="4525962" cy="1444949"/>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Connect to your SQL Database.</a:t>
          </a:r>
          <a:endParaRPr lang="en-US" sz="2400" kern="1200" dirty="0"/>
        </a:p>
      </dsp:txBody>
      <dsp:txXfrm>
        <a:off x="70537" y="3390037"/>
        <a:ext cx="4384888" cy="13038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0D338-E269-431D-A98C-C0A93B715B27}">
      <dsp:nvSpPr>
        <dsp:cNvPr id="0" name=""/>
        <dsp:cNvSpPr/>
      </dsp:nvSpPr>
      <dsp:spPr>
        <a:xfrm>
          <a:off x="3488"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SQL Server in Azure VM</a:t>
          </a:r>
          <a:endParaRPr lang="en-US" sz="1800" kern="1200" dirty="0">
            <a:latin typeface="Segoe UI"/>
            <a:ea typeface="+mn-ea"/>
            <a:cs typeface="+mn-cs"/>
          </a:endParaRPr>
        </a:p>
      </dsp:txBody>
      <dsp:txXfrm>
        <a:off x="3488" y="14063"/>
        <a:ext cx="3401368" cy="950400"/>
      </dsp:txXfrm>
    </dsp:sp>
    <dsp:sp modelId="{F3A57436-5AA8-434C-BF63-BEA0FFE33A10}">
      <dsp:nvSpPr>
        <dsp:cNvPr id="0" name=""/>
        <dsp:cNvSpPr/>
      </dsp:nvSpPr>
      <dsp:spPr>
        <a:xfrm>
          <a:off x="3488"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Existing applications that require fast migration to the cloud with minimal changes or no changes.</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can configure, fine tune, customize, and manage high availability, disaster recovery, and patching for SQL Server.</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You need a customized environment with full administrative rights.</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SQL Server instances with up to 64 TB of storage. The instance can support as many databases as needed.</a:t>
          </a:r>
        </a:p>
      </dsp:txBody>
      <dsp:txXfrm>
        <a:off x="3488" y="964463"/>
        <a:ext cx="3401368" cy="4302787"/>
      </dsp:txXfrm>
    </dsp:sp>
    <dsp:sp modelId="{A2D15BCF-708C-4FF6-8EE7-EE2407D53939}">
      <dsp:nvSpPr>
        <dsp:cNvPr id="0" name=""/>
        <dsp:cNvSpPr/>
      </dsp:nvSpPr>
      <dsp:spPr>
        <a:xfrm>
          <a:off x="3881049"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Managed Instance</a:t>
          </a:r>
          <a:endParaRPr lang="en-US" sz="1800" kern="1200" dirty="0">
            <a:latin typeface="Segoe UI"/>
            <a:ea typeface="+mn-ea"/>
            <a:cs typeface="+mn-cs"/>
          </a:endParaRPr>
        </a:p>
      </dsp:txBody>
      <dsp:txXfrm>
        <a:off x="3881049" y="14063"/>
        <a:ext cx="3401368" cy="950400"/>
      </dsp:txXfrm>
    </dsp:sp>
    <dsp:sp modelId="{3D465702-9231-4877-B6C5-F44EBDEA04CA}">
      <dsp:nvSpPr>
        <dsp:cNvPr id="0" name=""/>
        <dsp:cNvSpPr/>
      </dsp:nvSpPr>
      <dsp:spPr>
        <a:xfrm>
          <a:off x="3881049"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New applications or existing on-premises applications that want to use the latest stable SQL Server features and that are migrated to the cloud with minimal changes.</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a:latin typeface="Segoe UI"/>
              <a:ea typeface="+mn-ea"/>
              <a:cs typeface="+mn-cs"/>
            </a:rPr>
            <a:t>Databases of up to 8 TB, or larger databases that can be horizontally or vertically partitioned using a scale-out pattern.</a:t>
          </a:r>
          <a:endParaRPr lang="en-US" sz="1400" kern="1200" dirty="0">
            <a:latin typeface="Segoe UI"/>
            <a:ea typeface="+mn-ea"/>
            <a:cs typeface="+mn-cs"/>
          </a:endParaRPr>
        </a:p>
      </dsp:txBody>
      <dsp:txXfrm>
        <a:off x="3881049" y="964463"/>
        <a:ext cx="3401368" cy="4302787"/>
      </dsp:txXfrm>
    </dsp:sp>
    <dsp:sp modelId="{0E037236-D9E1-4EC6-963E-04B05024B8FB}">
      <dsp:nvSpPr>
        <dsp:cNvPr id="0" name=""/>
        <dsp:cNvSpPr/>
      </dsp:nvSpPr>
      <dsp:spPr>
        <a:xfrm>
          <a:off x="7758609" y="14063"/>
          <a:ext cx="3401368"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nl-BE" sz="1800" b="1" kern="1200" dirty="0">
              <a:latin typeface="Segoe UI"/>
              <a:ea typeface="+mn-ea"/>
              <a:cs typeface="+mn-cs"/>
            </a:rPr>
            <a:t>Azure SQL Datababase</a:t>
          </a:r>
          <a:endParaRPr lang="en-US" sz="1800" kern="1200" dirty="0">
            <a:latin typeface="Segoe UI"/>
            <a:ea typeface="+mn-ea"/>
            <a:cs typeface="+mn-cs"/>
          </a:endParaRPr>
        </a:p>
      </dsp:txBody>
      <dsp:txXfrm>
        <a:off x="7758609" y="14063"/>
        <a:ext cx="3401368" cy="950400"/>
      </dsp:txXfrm>
    </dsp:sp>
    <dsp:sp modelId="{E6A5368B-206B-4DAE-BAF7-B0396F4E16C2}">
      <dsp:nvSpPr>
        <dsp:cNvPr id="0" name=""/>
        <dsp:cNvSpPr/>
      </dsp:nvSpPr>
      <dsp:spPr>
        <a:xfrm>
          <a:off x="7758609" y="964463"/>
          <a:ext cx="3401368"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New cloud-designed applications that want to use the latest stable SQL Server features and have time constraints in development and marketing.</a:t>
          </a:r>
          <a:endParaRPr lang="nl-BE" sz="1400" kern="1200" dirty="0">
            <a:latin typeface="Segoe UI"/>
            <a:ea typeface="+mn-ea"/>
            <a:cs typeface="+mn-cs"/>
          </a:endParaRPr>
        </a:p>
        <a:p>
          <a:pPr marL="114300" lvl="1" indent="-114300" algn="l" defTabSz="622300">
            <a:lnSpc>
              <a:spcPct val="90000"/>
            </a:lnSpc>
            <a:spcBef>
              <a:spcPct val="0"/>
            </a:spcBef>
            <a:spcAft>
              <a:spcPct val="15000"/>
            </a:spcAft>
            <a:buChar char="•"/>
          </a:pPr>
          <a:endParaRPr lang="nl-BE"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need built-in high availability, disaster recovery, and upgrade for the database.</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Teams that do not want to manage the underlying operating system and configuration settings.</a:t>
          </a:r>
        </a:p>
        <a:p>
          <a:pPr marL="114300" lvl="1" indent="-114300" algn="l" defTabSz="622300">
            <a:lnSpc>
              <a:spcPct val="90000"/>
            </a:lnSpc>
            <a:spcBef>
              <a:spcPct val="0"/>
            </a:spcBef>
            <a:spcAft>
              <a:spcPct val="15000"/>
            </a:spcAft>
            <a:buChar char="•"/>
          </a:pPr>
          <a:endParaRPr lang="en-US" sz="1400" kern="1200" dirty="0">
            <a:solidFill>
              <a:srgbClr val="505050"/>
            </a:solidFill>
            <a:latin typeface="Segoe UI"/>
            <a:ea typeface="+mn-ea"/>
            <a:cs typeface="+mn-cs"/>
          </a:endParaRPr>
        </a:p>
        <a:p>
          <a:pPr marL="114300" lvl="1" indent="-114300" algn="l" defTabSz="622300">
            <a:lnSpc>
              <a:spcPct val="90000"/>
            </a:lnSpc>
            <a:spcBef>
              <a:spcPct val="0"/>
            </a:spcBef>
            <a:spcAft>
              <a:spcPct val="15000"/>
            </a:spcAft>
            <a:buChar char="•"/>
          </a:pPr>
          <a:r>
            <a:rPr lang="en-US" sz="1400" kern="1200" dirty="0">
              <a:latin typeface="Segoe UI"/>
              <a:ea typeface="+mn-ea"/>
              <a:cs typeface="+mn-cs"/>
            </a:rPr>
            <a:t>Databases of up to 4 TB, or larger databases that can be horizontally or vertically partitioned using a scale-out pattern.</a:t>
          </a:r>
        </a:p>
      </dsp:txBody>
      <dsp:txXfrm>
        <a:off x="7758609" y="964463"/>
        <a:ext cx="3401368" cy="43027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C62253-02D6-41BA-BDFA-87B7011E16A3}">
      <dsp:nvSpPr>
        <dsp:cNvPr id="0" name=""/>
        <dsp:cNvSpPr/>
      </dsp:nvSpPr>
      <dsp:spPr>
        <a:xfrm>
          <a:off x="0" y="152220"/>
          <a:ext cx="6836045"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Database Transaction Unit (DTU) model</a:t>
          </a:r>
          <a:endParaRPr lang="en-US" sz="2100" kern="1200"/>
        </a:p>
      </dsp:txBody>
      <dsp:txXfrm>
        <a:off x="26387" y="178607"/>
        <a:ext cx="6783271" cy="487766"/>
      </dsp:txXfrm>
    </dsp:sp>
    <dsp:sp modelId="{8E733FAC-E24A-4DF8-9BB9-862F4FD0A711}">
      <dsp:nvSpPr>
        <dsp:cNvPr id="0" name=""/>
        <dsp:cNvSpPr/>
      </dsp:nvSpPr>
      <dsp:spPr>
        <a:xfrm>
          <a:off x="0" y="692760"/>
          <a:ext cx="6836045" cy="1434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044"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Pre-packaged, bundled unit that represents the database power. </a:t>
          </a:r>
        </a:p>
        <a:p>
          <a:pPr marL="171450" lvl="1" indent="-171450" algn="l" defTabSz="711200">
            <a:lnSpc>
              <a:spcPct val="90000"/>
            </a:lnSpc>
            <a:spcBef>
              <a:spcPct val="0"/>
            </a:spcBef>
            <a:spcAft>
              <a:spcPct val="20000"/>
            </a:spcAft>
            <a:buChar char="•"/>
          </a:pPr>
          <a:r>
            <a:rPr lang="en-US" sz="1600" kern="1200"/>
            <a:t>Designed for </a:t>
          </a:r>
          <a:r>
            <a:rPr lang="en-US" sz="1600" b="1" kern="1200"/>
            <a:t>predictable performance</a:t>
          </a:r>
          <a:r>
            <a:rPr lang="en-US" sz="1600" kern="1200"/>
            <a:t>, but somewhat inflexible and limited in options.</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dirty="0"/>
            <a:t>DTU sizing offers simplicity of choice. </a:t>
          </a:r>
        </a:p>
        <a:p>
          <a:pPr marL="171450" lvl="1" indent="-171450" algn="l" defTabSz="711200">
            <a:lnSpc>
              <a:spcPct val="90000"/>
            </a:lnSpc>
            <a:spcBef>
              <a:spcPct val="0"/>
            </a:spcBef>
            <a:spcAft>
              <a:spcPct val="20000"/>
            </a:spcAft>
            <a:buChar char="•"/>
          </a:pPr>
          <a:r>
            <a:rPr lang="en-US" sz="1600" kern="1200">
              <a:cs typeface="Segoe UI"/>
            </a:rPr>
            <a:t>Blended measure of CPU, memory, and read-write rates.</a:t>
          </a:r>
        </a:p>
      </dsp:txBody>
      <dsp:txXfrm>
        <a:off x="0" y="692760"/>
        <a:ext cx="6836045" cy="1434509"/>
      </dsp:txXfrm>
    </dsp:sp>
    <dsp:sp modelId="{FD123AF8-832B-463D-9A48-EA0F6004285B}">
      <dsp:nvSpPr>
        <dsp:cNvPr id="0" name=""/>
        <dsp:cNvSpPr/>
      </dsp:nvSpPr>
      <dsp:spPr>
        <a:xfrm>
          <a:off x="0" y="2127270"/>
          <a:ext cx="6836045" cy="540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vCore model</a:t>
          </a:r>
          <a:endParaRPr lang="en-US" sz="2100" kern="1200" dirty="0"/>
        </a:p>
      </dsp:txBody>
      <dsp:txXfrm>
        <a:off x="26387" y="2153657"/>
        <a:ext cx="6783271" cy="487766"/>
      </dsp:txXfrm>
    </dsp:sp>
    <dsp:sp modelId="{DB95D02C-0B75-4757-804F-2486895801FA}">
      <dsp:nvSpPr>
        <dsp:cNvPr id="0" name=""/>
        <dsp:cNvSpPr/>
      </dsp:nvSpPr>
      <dsp:spPr>
        <a:xfrm>
          <a:off x="0" y="2667810"/>
          <a:ext cx="6836045" cy="19996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044"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À La carte approach deconstructs the DTU model into separate parts.</a:t>
          </a:r>
        </a:p>
        <a:p>
          <a:pPr marL="171450" lvl="1" indent="-171450" algn="l" defTabSz="711200">
            <a:lnSpc>
              <a:spcPct val="90000"/>
            </a:lnSpc>
            <a:spcBef>
              <a:spcPct val="0"/>
            </a:spcBef>
            <a:spcAft>
              <a:spcPct val="20000"/>
            </a:spcAft>
            <a:buChar char="•"/>
          </a:pPr>
          <a:r>
            <a:rPr lang="en-US" sz="1600" kern="1200"/>
            <a:t>Customers can select compute and storage independently.</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a:t>Allows customers to right-size their compute requirements in the cloud.</a:t>
          </a:r>
          <a:endParaRPr lang="en-US" sz="1600" kern="1200">
            <a:cs typeface="Segoe UI"/>
          </a:endParaRPr>
        </a:p>
        <a:p>
          <a:pPr marL="171450" lvl="1" indent="-171450" algn="l" defTabSz="711200">
            <a:lnSpc>
              <a:spcPct val="90000"/>
            </a:lnSpc>
            <a:spcBef>
              <a:spcPct val="0"/>
            </a:spcBef>
            <a:spcAft>
              <a:spcPct val="20000"/>
            </a:spcAft>
            <a:buChar char="•"/>
          </a:pPr>
          <a:r>
            <a:rPr lang="en-US" sz="1600" kern="1200" dirty="0"/>
            <a:t>vCore sizing offers flexibility of choice.</a:t>
          </a:r>
        </a:p>
        <a:p>
          <a:pPr marL="171450" lvl="1" indent="-171450" algn="l" defTabSz="711200">
            <a:lnSpc>
              <a:spcPct val="90000"/>
            </a:lnSpc>
            <a:spcBef>
              <a:spcPct val="0"/>
            </a:spcBef>
            <a:spcAft>
              <a:spcPct val="20000"/>
            </a:spcAft>
            <a:buChar char="•"/>
          </a:pPr>
          <a:r>
            <a:rPr lang="en-US" sz="1600" kern="1200"/>
            <a:t>Provides a choice between a </a:t>
          </a:r>
          <a:r>
            <a:rPr lang="en-US" sz="1600" b="1" kern="1200"/>
            <a:t>provisioned compute tier</a:t>
          </a:r>
          <a:r>
            <a:rPr lang="en-US" sz="1600" kern="1200"/>
            <a:t> and a </a:t>
          </a:r>
          <a:r>
            <a:rPr lang="en-US" sz="1600" b="1" kern="1200"/>
            <a:t>serverless</a:t>
          </a:r>
          <a:r>
            <a:rPr lang="en-US" sz="1600" kern="1200"/>
            <a:t> </a:t>
          </a:r>
          <a:r>
            <a:rPr lang="en-US" sz="1600" b="1" kern="1200"/>
            <a:t>compute tier</a:t>
          </a:r>
          <a:r>
            <a:rPr lang="en-US" sz="1600" kern="1200"/>
            <a:t>.</a:t>
          </a:r>
          <a:endParaRPr lang="en-US" sz="1600" kern="1200">
            <a:cs typeface="Segoe UI"/>
          </a:endParaRPr>
        </a:p>
      </dsp:txBody>
      <dsp:txXfrm>
        <a:off x="0" y="2667810"/>
        <a:ext cx="6836045" cy="19996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546D4-27AC-4908-AA2C-9C4CAFE6CB68}">
      <dsp:nvSpPr>
        <dsp:cNvPr id="0" name=""/>
        <dsp:cNvSpPr/>
      </dsp:nvSpPr>
      <dsp:spPr>
        <a:xfrm>
          <a:off x="6772" y="1775769"/>
          <a:ext cx="3474606" cy="1389842"/>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DTU based </a:t>
          </a:r>
          <a:endParaRPr lang="en-US" sz="2800" kern="1200" dirty="0"/>
        </a:p>
      </dsp:txBody>
      <dsp:txXfrm>
        <a:off x="701693" y="1775769"/>
        <a:ext cx="2084764" cy="1389842"/>
      </dsp:txXfrm>
    </dsp:sp>
    <dsp:sp modelId="{D828D2B7-B7E9-4A37-B1AE-C80A7E6C30B0}">
      <dsp:nvSpPr>
        <dsp:cNvPr id="0" name=""/>
        <dsp:cNvSpPr/>
      </dsp:nvSpPr>
      <dsp:spPr>
        <a:xfrm>
          <a:off x="3029680"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asic</a:t>
          </a:r>
          <a:endParaRPr lang="en-US" sz="2000" kern="1200" dirty="0"/>
        </a:p>
      </dsp:txBody>
      <dsp:txXfrm>
        <a:off x="3606465" y="1893905"/>
        <a:ext cx="1730354" cy="1153569"/>
      </dsp:txXfrm>
    </dsp:sp>
    <dsp:sp modelId="{6679B128-AD39-4BAB-8CF9-168F57776BA2}">
      <dsp:nvSpPr>
        <dsp:cNvPr id="0" name=""/>
        <dsp:cNvSpPr/>
      </dsp:nvSpPr>
      <dsp:spPr>
        <a:xfrm>
          <a:off x="5509855"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Standard</a:t>
          </a:r>
          <a:endParaRPr lang="en-US" sz="2000" kern="1200" dirty="0"/>
        </a:p>
      </dsp:txBody>
      <dsp:txXfrm>
        <a:off x="6086640" y="1893905"/>
        <a:ext cx="1730354" cy="1153569"/>
      </dsp:txXfrm>
    </dsp:sp>
    <dsp:sp modelId="{F68BEEB1-9633-43E9-8BE2-8EAF9E0B2A3E}">
      <dsp:nvSpPr>
        <dsp:cNvPr id="0" name=""/>
        <dsp:cNvSpPr/>
      </dsp:nvSpPr>
      <dsp:spPr>
        <a:xfrm>
          <a:off x="7990029" y="1893905"/>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Premium</a:t>
          </a:r>
          <a:endParaRPr lang="en-US" sz="2000" kern="1200" dirty="0"/>
        </a:p>
      </dsp:txBody>
      <dsp:txXfrm>
        <a:off x="8566814" y="1893905"/>
        <a:ext cx="1730354" cy="1153569"/>
      </dsp:txXfrm>
    </dsp:sp>
    <dsp:sp modelId="{4C260DCB-F5FD-4739-B27A-C3C202058DAC}">
      <dsp:nvSpPr>
        <dsp:cNvPr id="0" name=""/>
        <dsp:cNvSpPr/>
      </dsp:nvSpPr>
      <dsp:spPr>
        <a:xfrm>
          <a:off x="6772" y="3360189"/>
          <a:ext cx="3474606" cy="1389842"/>
        </a:xfrm>
        <a:prstGeom prst="chevron">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baseline="0" dirty="0"/>
            <a:t>vCore based</a:t>
          </a:r>
          <a:endParaRPr lang="en-US" sz="2800" kern="1200" dirty="0"/>
        </a:p>
      </dsp:txBody>
      <dsp:txXfrm>
        <a:off x="701693" y="3360189"/>
        <a:ext cx="2084764" cy="1389842"/>
      </dsp:txXfrm>
    </dsp:sp>
    <dsp:sp modelId="{206D7FF8-F6B9-4500-9E02-2062541EEAD4}">
      <dsp:nvSpPr>
        <dsp:cNvPr id="0" name=""/>
        <dsp:cNvSpPr/>
      </dsp:nvSpPr>
      <dsp:spPr>
        <a:xfrm>
          <a:off x="3029680"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General purpose</a:t>
          </a:r>
          <a:r>
            <a:rPr lang="en-US" sz="2000" kern="1200" baseline="0" dirty="0"/>
            <a:t>.</a:t>
          </a:r>
          <a:endParaRPr lang="en-US" sz="2000" kern="1200" dirty="0"/>
        </a:p>
      </dsp:txBody>
      <dsp:txXfrm>
        <a:off x="3606465" y="3478326"/>
        <a:ext cx="1730354" cy="1153569"/>
      </dsp:txXfrm>
    </dsp:sp>
    <dsp:sp modelId="{3B623178-8E9D-4A3D-ADEB-54F2F088518A}">
      <dsp:nvSpPr>
        <dsp:cNvPr id="0" name=""/>
        <dsp:cNvSpPr/>
      </dsp:nvSpPr>
      <dsp:spPr>
        <a:xfrm>
          <a:off x="5509855"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Business critical	</a:t>
          </a:r>
          <a:endParaRPr lang="en-US" sz="2000" kern="1200" dirty="0"/>
        </a:p>
      </dsp:txBody>
      <dsp:txXfrm>
        <a:off x="6086640" y="3478326"/>
        <a:ext cx="1730354" cy="1153569"/>
      </dsp:txXfrm>
    </dsp:sp>
    <dsp:sp modelId="{D64817FE-A4A1-48B6-9EAA-67AC8D3DE931}">
      <dsp:nvSpPr>
        <dsp:cNvPr id="0" name=""/>
        <dsp:cNvSpPr/>
      </dsp:nvSpPr>
      <dsp:spPr>
        <a:xfrm>
          <a:off x="7990029" y="3478326"/>
          <a:ext cx="2883923" cy="1153569"/>
        </a:xfrm>
        <a:prstGeom prst="chevron">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n-US" sz="2000" b="1" kern="1200" baseline="0" dirty="0"/>
            <a:t>Hyperscale</a:t>
          </a:r>
          <a:endParaRPr lang="en-US" sz="2000" kern="1200" dirty="0"/>
        </a:p>
      </dsp:txBody>
      <dsp:txXfrm>
        <a:off x="8566814" y="3478326"/>
        <a:ext cx="1730354" cy="11535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8A5EAB-3BB0-4A6C-9794-7BD56124DAF8}">
      <dsp:nvSpPr>
        <dsp:cNvPr id="0" name=""/>
        <dsp:cNvSpPr/>
      </dsp:nvSpPr>
      <dsp:spPr>
        <a:xfrm>
          <a:off x="0" y="2157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werShell</a:t>
          </a:r>
          <a:endParaRPr lang="en-US" sz="2400" kern="1200" dirty="0"/>
        </a:p>
      </dsp:txBody>
      <dsp:txXfrm>
        <a:off x="30157" y="51730"/>
        <a:ext cx="3779848" cy="557446"/>
      </dsp:txXfrm>
    </dsp:sp>
    <dsp:sp modelId="{3325B63E-757F-46A1-B90D-EB50213FEDF1}">
      <dsp:nvSpPr>
        <dsp:cNvPr id="0" name=""/>
        <dsp:cNvSpPr/>
      </dsp:nvSpPr>
      <dsp:spPr>
        <a:xfrm>
          <a:off x="0" y="63933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Set-</a:t>
          </a:r>
          <a:r>
            <a:rPr lang="en-US" sz="2000" kern="1200" baseline="0" dirty="0" err="1"/>
            <a:t>AzSqlDatabase</a:t>
          </a:r>
          <a:endParaRPr lang="en-US" sz="2000" kern="1200" dirty="0"/>
        </a:p>
      </dsp:txBody>
      <dsp:txXfrm>
        <a:off x="0" y="639333"/>
        <a:ext cx="3840162" cy="546480"/>
      </dsp:txXfrm>
    </dsp:sp>
    <dsp:sp modelId="{934805BF-8023-4612-B5F3-CC19F4A2752C}">
      <dsp:nvSpPr>
        <dsp:cNvPr id="0" name=""/>
        <dsp:cNvSpPr/>
      </dsp:nvSpPr>
      <dsp:spPr>
        <a:xfrm>
          <a:off x="0" y="118581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ST</a:t>
          </a:r>
          <a:endParaRPr lang="en-US" sz="2400" kern="1200" dirty="0"/>
        </a:p>
      </dsp:txBody>
      <dsp:txXfrm>
        <a:off x="30157" y="1215970"/>
        <a:ext cx="3779848" cy="557446"/>
      </dsp:txXfrm>
    </dsp:sp>
    <dsp:sp modelId="{3D612DB5-6F16-4F93-AE2E-250304AFBD00}">
      <dsp:nvSpPr>
        <dsp:cNvPr id="0" name=""/>
        <dsp:cNvSpPr/>
      </dsp:nvSpPr>
      <dsp:spPr>
        <a:xfrm>
          <a:off x="0" y="180357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pdate database</a:t>
          </a:r>
          <a:endParaRPr lang="en-US" sz="2000" kern="1200" dirty="0"/>
        </a:p>
      </dsp:txBody>
      <dsp:txXfrm>
        <a:off x="0" y="1803573"/>
        <a:ext cx="3840162" cy="546480"/>
      </dsp:txXfrm>
    </dsp:sp>
    <dsp:sp modelId="{B1C242CC-A693-4C4F-B4D5-DCFD04B25411}">
      <dsp:nvSpPr>
        <dsp:cNvPr id="0" name=""/>
        <dsp:cNvSpPr/>
      </dsp:nvSpPr>
      <dsp:spPr>
        <a:xfrm>
          <a:off x="0" y="235005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CLI</a:t>
          </a:r>
          <a:endParaRPr lang="en-US" sz="2400" kern="1200" dirty="0"/>
        </a:p>
      </dsp:txBody>
      <dsp:txXfrm>
        <a:off x="30157" y="2380210"/>
        <a:ext cx="3779848" cy="557446"/>
      </dsp:txXfrm>
    </dsp:sp>
    <dsp:sp modelId="{261C8662-6846-41B8-AED8-16DC4F7656DF}">
      <dsp:nvSpPr>
        <dsp:cNvPr id="0" name=""/>
        <dsp:cNvSpPr/>
      </dsp:nvSpPr>
      <dsp:spPr>
        <a:xfrm>
          <a:off x="0" y="296781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err="1"/>
            <a:t>az</a:t>
          </a:r>
          <a:r>
            <a:rPr lang="en-US" sz="2000" kern="1200" baseline="0" dirty="0"/>
            <a:t> </a:t>
          </a:r>
          <a:r>
            <a:rPr lang="en-US" sz="2000" kern="1200" baseline="0" dirty="0" err="1"/>
            <a:t>sql</a:t>
          </a:r>
          <a:r>
            <a:rPr lang="en-US" sz="2000" kern="1200" baseline="0" dirty="0"/>
            <a:t> </a:t>
          </a:r>
          <a:r>
            <a:rPr lang="en-US" sz="2000" kern="1200" baseline="0" dirty="0" err="1"/>
            <a:t>db</a:t>
          </a:r>
          <a:r>
            <a:rPr lang="en-US" sz="2000" kern="1200" baseline="0" dirty="0"/>
            <a:t> update</a:t>
          </a:r>
          <a:endParaRPr lang="en-US" sz="2000" kern="1200" dirty="0"/>
        </a:p>
      </dsp:txBody>
      <dsp:txXfrm>
        <a:off x="0" y="2967813"/>
        <a:ext cx="3840162" cy="546480"/>
      </dsp:txXfrm>
    </dsp:sp>
    <dsp:sp modelId="{39774D1A-67C5-490C-96D8-ABCDC9A7C164}">
      <dsp:nvSpPr>
        <dsp:cNvPr id="0" name=""/>
        <dsp:cNvSpPr/>
      </dsp:nvSpPr>
      <dsp:spPr>
        <a:xfrm>
          <a:off x="0" y="351429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SQL</a:t>
          </a:r>
          <a:endParaRPr lang="en-US" sz="2400" kern="1200" dirty="0"/>
        </a:p>
      </dsp:txBody>
      <dsp:txXfrm>
        <a:off x="30157" y="3544450"/>
        <a:ext cx="3779848" cy="557446"/>
      </dsp:txXfrm>
    </dsp:sp>
    <dsp:sp modelId="{206AE505-7652-422D-9A53-65D5EEBFE51D}">
      <dsp:nvSpPr>
        <dsp:cNvPr id="0" name=""/>
        <dsp:cNvSpPr/>
      </dsp:nvSpPr>
      <dsp:spPr>
        <a:xfrm>
          <a:off x="0" y="4132053"/>
          <a:ext cx="3840162"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ALTER DATABASE … MODIFY (EDITION = …)</a:t>
          </a:r>
          <a:endParaRPr lang="en-US" sz="2000" kern="1200" dirty="0"/>
        </a:p>
      </dsp:txBody>
      <dsp:txXfrm>
        <a:off x="0" y="4132053"/>
        <a:ext cx="3840162" cy="66602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7E732F-5250-4F77-9F9E-52C7AF8DA41A}">
      <dsp:nvSpPr>
        <dsp:cNvPr id="0" name=""/>
        <dsp:cNvSpPr/>
      </dsp:nvSpPr>
      <dsp:spPr>
        <a:xfrm>
          <a:off x="0" y="2157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werShell</a:t>
          </a:r>
          <a:endParaRPr lang="en-US" sz="2400" kern="1200" dirty="0"/>
        </a:p>
      </dsp:txBody>
      <dsp:txXfrm>
        <a:off x="30157" y="51730"/>
        <a:ext cx="3779848" cy="557446"/>
      </dsp:txXfrm>
    </dsp:sp>
    <dsp:sp modelId="{AD3AAEE1-F11D-4FC3-A023-5CD825FC9A2A}">
      <dsp:nvSpPr>
        <dsp:cNvPr id="0" name=""/>
        <dsp:cNvSpPr/>
      </dsp:nvSpPr>
      <dsp:spPr>
        <a:xfrm>
          <a:off x="0" y="63933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Set-</a:t>
          </a:r>
          <a:r>
            <a:rPr lang="en-US" sz="2000" kern="1200" baseline="0" dirty="0" err="1"/>
            <a:t>AzSqlDatabase</a:t>
          </a:r>
          <a:endParaRPr lang="en-US" sz="2000" kern="1200" dirty="0"/>
        </a:p>
      </dsp:txBody>
      <dsp:txXfrm>
        <a:off x="0" y="639333"/>
        <a:ext cx="3840162" cy="546480"/>
      </dsp:txXfrm>
    </dsp:sp>
    <dsp:sp modelId="{70038914-B453-4137-B7E2-7854FF2D6714}">
      <dsp:nvSpPr>
        <dsp:cNvPr id="0" name=""/>
        <dsp:cNvSpPr/>
      </dsp:nvSpPr>
      <dsp:spPr>
        <a:xfrm>
          <a:off x="0" y="118581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ST</a:t>
          </a:r>
          <a:endParaRPr lang="en-US" sz="2400" kern="1200" dirty="0"/>
        </a:p>
      </dsp:txBody>
      <dsp:txXfrm>
        <a:off x="30157" y="1215970"/>
        <a:ext cx="3779848" cy="557446"/>
      </dsp:txXfrm>
    </dsp:sp>
    <dsp:sp modelId="{1D561426-F22C-48A6-B5B5-D2C77F8B723B}">
      <dsp:nvSpPr>
        <dsp:cNvPr id="0" name=""/>
        <dsp:cNvSpPr/>
      </dsp:nvSpPr>
      <dsp:spPr>
        <a:xfrm>
          <a:off x="0" y="180357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pdate database</a:t>
          </a:r>
          <a:endParaRPr lang="en-US" sz="2000" kern="1200" dirty="0"/>
        </a:p>
      </dsp:txBody>
      <dsp:txXfrm>
        <a:off x="0" y="1803573"/>
        <a:ext cx="3840162" cy="546480"/>
      </dsp:txXfrm>
    </dsp:sp>
    <dsp:sp modelId="{82CCE49A-F2DD-4FA3-971B-B0FD27D9E3E1}">
      <dsp:nvSpPr>
        <dsp:cNvPr id="0" name=""/>
        <dsp:cNvSpPr/>
      </dsp:nvSpPr>
      <dsp:spPr>
        <a:xfrm>
          <a:off x="0" y="235005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CLI</a:t>
          </a:r>
          <a:endParaRPr lang="en-US" sz="2400" kern="1200" dirty="0"/>
        </a:p>
      </dsp:txBody>
      <dsp:txXfrm>
        <a:off x="30157" y="2380210"/>
        <a:ext cx="3779848" cy="557446"/>
      </dsp:txXfrm>
    </dsp:sp>
    <dsp:sp modelId="{A47D2939-EEC7-4CA7-BA4B-0D9B10A8E8A4}">
      <dsp:nvSpPr>
        <dsp:cNvPr id="0" name=""/>
        <dsp:cNvSpPr/>
      </dsp:nvSpPr>
      <dsp:spPr>
        <a:xfrm>
          <a:off x="0" y="296781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err="1"/>
            <a:t>az</a:t>
          </a:r>
          <a:r>
            <a:rPr lang="en-US" sz="2000" kern="1200" baseline="0" dirty="0"/>
            <a:t> </a:t>
          </a:r>
          <a:r>
            <a:rPr lang="en-US" sz="2000" kern="1200" baseline="0" dirty="0" err="1"/>
            <a:t>sql</a:t>
          </a:r>
          <a:r>
            <a:rPr lang="en-US" sz="2000" kern="1200" baseline="0" dirty="0"/>
            <a:t> </a:t>
          </a:r>
          <a:r>
            <a:rPr lang="en-US" sz="2000" kern="1200" baseline="0" dirty="0" err="1"/>
            <a:t>db</a:t>
          </a:r>
          <a:r>
            <a:rPr lang="en-US" sz="2000" kern="1200" baseline="0" dirty="0"/>
            <a:t> update</a:t>
          </a:r>
          <a:endParaRPr lang="en-US" sz="2000" kern="1200" dirty="0"/>
        </a:p>
      </dsp:txBody>
      <dsp:txXfrm>
        <a:off x="0" y="2967813"/>
        <a:ext cx="3840162" cy="546480"/>
      </dsp:txXfrm>
    </dsp:sp>
    <dsp:sp modelId="{5830A749-91C2-42BE-9395-2A36640B2376}">
      <dsp:nvSpPr>
        <dsp:cNvPr id="0" name=""/>
        <dsp:cNvSpPr/>
      </dsp:nvSpPr>
      <dsp:spPr>
        <a:xfrm>
          <a:off x="0" y="351429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SQL</a:t>
          </a:r>
          <a:endParaRPr lang="en-US" sz="2400" kern="1200" dirty="0"/>
        </a:p>
      </dsp:txBody>
      <dsp:txXfrm>
        <a:off x="30157" y="3544450"/>
        <a:ext cx="3779848" cy="557446"/>
      </dsp:txXfrm>
    </dsp:sp>
    <dsp:sp modelId="{522526A7-C40C-4911-A903-B874C5A4EF78}">
      <dsp:nvSpPr>
        <dsp:cNvPr id="0" name=""/>
        <dsp:cNvSpPr/>
      </dsp:nvSpPr>
      <dsp:spPr>
        <a:xfrm>
          <a:off x="0" y="4132053"/>
          <a:ext cx="3840162"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ALTER DATABASE … MODIFY (EDITION = …)</a:t>
          </a:r>
          <a:endParaRPr lang="en-US" sz="2000" kern="1200" dirty="0"/>
        </a:p>
      </dsp:txBody>
      <dsp:txXfrm>
        <a:off x="0" y="4132053"/>
        <a:ext cx="3840162" cy="6660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F8D596-19F9-4238-89A9-09C64E5F8E8D}">
      <dsp:nvSpPr>
        <dsp:cNvPr id="0" name=""/>
        <dsp:cNvSpPr/>
      </dsp:nvSpPr>
      <dsp:spPr>
        <a:xfrm>
          <a:off x="0" y="19"/>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Compute resources scale dynamically up or down based on workload requirements.</a:t>
          </a:r>
        </a:p>
      </dsp:txBody>
      <dsp:txXfrm>
        <a:off x="40488" y="40507"/>
        <a:ext cx="5827293" cy="748428"/>
      </dsp:txXfrm>
    </dsp:sp>
    <dsp:sp modelId="{2BD41882-F673-4240-8A7B-4406E84B2659}">
      <dsp:nvSpPr>
        <dsp:cNvPr id="0" name=""/>
        <dsp:cNvSpPr/>
      </dsp:nvSpPr>
      <dsp:spPr>
        <a:xfrm>
          <a:off x="0" y="841939"/>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Configure minimum and maximum vCores to define the range of available compute capacity. </a:t>
          </a:r>
        </a:p>
      </dsp:txBody>
      <dsp:txXfrm>
        <a:off x="40488" y="882427"/>
        <a:ext cx="5827293" cy="748428"/>
      </dsp:txXfrm>
    </dsp:sp>
    <dsp:sp modelId="{9C8AC09C-F5B9-4310-99E1-D79A24432A41}">
      <dsp:nvSpPr>
        <dsp:cNvPr id="0" name=""/>
        <dsp:cNvSpPr/>
      </dsp:nvSpPr>
      <dsp:spPr>
        <a:xfrm>
          <a:off x="0" y="168386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Use auto-pause delay to define the time period the dataset must be inactive before pausing.</a:t>
          </a:r>
        </a:p>
      </dsp:txBody>
      <dsp:txXfrm>
        <a:off x="40488" y="1724348"/>
        <a:ext cx="5827293" cy="748428"/>
      </dsp:txXfrm>
    </dsp:sp>
    <dsp:sp modelId="{69F45228-FC0A-4C87-83A1-A4146235C4F4}">
      <dsp:nvSpPr>
        <dsp:cNvPr id="0" name=""/>
        <dsp:cNvSpPr/>
      </dsp:nvSpPr>
      <dsp:spPr>
        <a:xfrm>
          <a:off x="0" y="252578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 The database is automatically resumed when the next login or other activity occurs. </a:t>
          </a:r>
        </a:p>
      </dsp:txBody>
      <dsp:txXfrm>
        <a:off x="40488" y="2566268"/>
        <a:ext cx="5827293" cy="748428"/>
      </dsp:txXfrm>
    </dsp:sp>
    <dsp:sp modelId="{B4981705-4E16-4609-B654-ABD23932F843}">
      <dsp:nvSpPr>
        <dsp:cNvPr id="0" name=""/>
        <dsp:cNvSpPr/>
      </dsp:nvSpPr>
      <dsp:spPr>
        <a:xfrm>
          <a:off x="0" y="336770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Pay for compute based on the </a:t>
          </a:r>
          <a:r>
            <a:rPr lang="en-US" sz="1600" kern="1200" dirty="0" err="1"/>
            <a:t>vCores</a:t>
          </a:r>
          <a:r>
            <a:rPr lang="en-US" sz="1600" kern="1200" dirty="0"/>
            <a:t> and memory used per second, with lowest billing based on configured vCore minimum. </a:t>
          </a:r>
        </a:p>
      </dsp:txBody>
      <dsp:txXfrm>
        <a:off x="40488" y="3408188"/>
        <a:ext cx="5827293" cy="748428"/>
      </dsp:txXfrm>
    </dsp:sp>
    <dsp:sp modelId="{61DD9455-966A-484B-9E4E-46B56B0A037F}">
      <dsp:nvSpPr>
        <dsp:cNvPr id="0" name=""/>
        <dsp:cNvSpPr/>
      </dsp:nvSpPr>
      <dsp:spPr>
        <a:xfrm>
          <a:off x="0" y="4209620"/>
          <a:ext cx="5908269" cy="8294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When the database is paused, the compute cost is zero and only storage costs are incurred.</a:t>
          </a:r>
        </a:p>
      </dsp:txBody>
      <dsp:txXfrm>
        <a:off x="40488" y="4250108"/>
        <a:ext cx="5827293" cy="7484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56C630-D737-4663-A3E5-ABD804E8263D}">
      <dsp:nvSpPr>
        <dsp:cNvPr id="0" name=""/>
        <dsp:cNvSpPr/>
      </dsp:nvSpPr>
      <dsp:spPr>
        <a:xfrm>
          <a:off x="0" y="397424"/>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ervice head that contains databases</a:t>
          </a:r>
          <a:endParaRPr lang="en-US" sz="2400" kern="1200"/>
        </a:p>
      </dsp:txBody>
      <dsp:txXfrm>
        <a:off x="59399" y="456823"/>
        <a:ext cx="5893382" cy="1098002"/>
      </dsp:txXfrm>
    </dsp:sp>
    <dsp:sp modelId="{E25B73EA-849E-4DC2-AF7C-DC058386430E}">
      <dsp:nvSpPr>
        <dsp:cNvPr id="0" name=""/>
        <dsp:cNvSpPr/>
      </dsp:nvSpPr>
      <dsp:spPr>
        <a:xfrm>
          <a:off x="0" y="1801425"/>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Connect via Fully Qualified Domain Name</a:t>
          </a:r>
          <a:endParaRPr lang="en-US" sz="2400" kern="1200" dirty="0"/>
        </a:p>
      </dsp:txBody>
      <dsp:txXfrm>
        <a:off x="59399" y="1860824"/>
        <a:ext cx="5893382" cy="1098002"/>
      </dsp:txXfrm>
    </dsp:sp>
    <dsp:sp modelId="{203E7617-EF69-425C-A430-A56C71E9D147}">
      <dsp:nvSpPr>
        <dsp:cNvPr id="0" name=""/>
        <dsp:cNvSpPr/>
      </dsp:nvSpPr>
      <dsp:spPr>
        <a:xfrm>
          <a:off x="0" y="3205425"/>
          <a:ext cx="6012180"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Initially contains only a </a:t>
          </a:r>
          <a:r>
            <a:rPr lang="en-US" sz="2400" b="1" kern="1200" baseline="0"/>
            <a:t>master</a:t>
          </a:r>
          <a:r>
            <a:rPr lang="en-US" sz="2400" kern="1200" baseline="0"/>
            <a:t> database</a:t>
          </a:r>
          <a:endParaRPr lang="en-US" sz="2400" kern="1200"/>
        </a:p>
      </dsp:txBody>
      <dsp:txXfrm>
        <a:off x="59399" y="3264824"/>
        <a:ext cx="5893382" cy="10980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A59D39-7970-4EBC-82BD-0AB3DE7C9CC6}">
      <dsp:nvSpPr>
        <dsp:cNvPr id="0" name=""/>
        <dsp:cNvSpPr/>
      </dsp:nvSpPr>
      <dsp:spPr>
        <a:xfrm>
          <a:off x="390882" y="0"/>
          <a:ext cx="4429997" cy="4819650"/>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D283A7-DE91-4750-B5FE-01DDB9ED0CF8}">
      <dsp:nvSpPr>
        <dsp:cNvPr id="0" name=""/>
        <dsp:cNvSpPr/>
      </dsp:nvSpPr>
      <dsp:spPr>
        <a:xfrm>
          <a:off x="556" y="1445894"/>
          <a:ext cx="1583346" cy="19278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Download the latest version of SSMS.</a:t>
          </a:r>
          <a:endParaRPr lang="en-US" sz="1800" kern="1200"/>
        </a:p>
      </dsp:txBody>
      <dsp:txXfrm>
        <a:off x="77849" y="1523187"/>
        <a:ext cx="1428760" cy="1773274"/>
      </dsp:txXfrm>
    </dsp:sp>
    <dsp:sp modelId="{155CF17E-9E37-44D4-BD70-0FAC26B50974}">
      <dsp:nvSpPr>
        <dsp:cNvPr id="0" name=""/>
        <dsp:cNvSpPr/>
      </dsp:nvSpPr>
      <dsp:spPr>
        <a:xfrm>
          <a:off x="1814207" y="1445894"/>
          <a:ext cx="1583346" cy="192786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Get the fully qualified domain name of your Azure SQL Server.</a:t>
          </a:r>
          <a:endParaRPr lang="en-US" sz="1800" kern="1200"/>
        </a:p>
      </dsp:txBody>
      <dsp:txXfrm>
        <a:off x="1891500" y="1523187"/>
        <a:ext cx="1428760" cy="1773274"/>
      </dsp:txXfrm>
    </dsp:sp>
    <dsp:sp modelId="{43DBA389-024D-4A46-9A8D-E9E249AD8375}">
      <dsp:nvSpPr>
        <dsp:cNvPr id="0" name=""/>
        <dsp:cNvSpPr/>
      </dsp:nvSpPr>
      <dsp:spPr>
        <a:xfrm>
          <a:off x="3627859" y="1445894"/>
          <a:ext cx="1583346" cy="192786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Connect to your SQL Database.</a:t>
          </a:r>
          <a:endParaRPr lang="en-US" sz="1800" kern="1200"/>
        </a:p>
      </dsp:txBody>
      <dsp:txXfrm>
        <a:off x="3705152" y="1523187"/>
        <a:ext cx="1428760" cy="177327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1.08.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11/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single-database-service-tiers-and-performance-levels"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dtucalculator.azurewebsites.ne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azure.microsoft.com/support/legal/sla/"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pricing/details/sql-database/"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docs.microsoft.com/en-us/azure/storage/common/storage-redundancy-lrs" TargetMode="External"/><Relationship Id="rId5" Type="http://schemas.openxmlformats.org/officeDocument/2006/relationships/hyperlink" Target="https://docs.microsoft.com/en-us/azure/storage/common/storage-scalability-targets" TargetMode="External"/><Relationship Id="rId4" Type="http://schemas.openxmlformats.org/officeDocument/2006/relationships/hyperlink" Target="https://docs.microsoft.com/en-us/azure/sql-database/sql-database-service-tiers-vcore"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ql-database/sql-database-service-tiers-vcore#gen4gen5-1"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service-tiers-vcore#m-series" TargetMode="External"/><Relationship Id="rId4" Type="http://schemas.openxmlformats.org/officeDocument/2006/relationships/hyperlink" Target="https://docs.microsoft.com/en-us/azure/sql-database/sql-database-service-tiers-vcore#fsv2-series"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sdn.microsoft.com/library/dn270010.aspx"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azure/sql-database/sql-database-manage-portal"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 purchasing models are available for different Azure SQL Database deployment models:</a:t>
            </a:r>
          </a:p>
          <a:p>
            <a:pPr marL="171450" indent="-171450">
              <a:buFont typeface="Arial" panose="020B0604020202020204" pitchFamily="34" charset="0"/>
              <a:buChar char="•"/>
            </a:pPr>
            <a:r>
              <a:rPr lang="en-US" dirty="0"/>
              <a:t>The </a:t>
            </a:r>
            <a:r>
              <a:rPr lang="en-US" b="1" dirty="0"/>
              <a:t>single database </a:t>
            </a:r>
            <a:r>
              <a:rPr lang="en-US" dirty="0"/>
              <a:t>and </a:t>
            </a:r>
            <a:r>
              <a:rPr lang="en-US" b="1" dirty="0"/>
              <a:t>elastic pool </a:t>
            </a:r>
            <a:r>
              <a:rPr lang="en-US" dirty="0"/>
              <a:t>deployment options in Azure SQL Database offer both the </a:t>
            </a:r>
            <a:r>
              <a:rPr lang="en-US" b="1" dirty="0"/>
              <a:t>DTU-based purchasing model </a:t>
            </a:r>
            <a:r>
              <a:rPr lang="en-US" dirty="0"/>
              <a:t>and the </a:t>
            </a:r>
            <a:r>
              <a:rPr lang="en-US" b="1" dirty="0"/>
              <a:t>vCore-based purchasing model</a:t>
            </a:r>
            <a:r>
              <a:rPr lang="en-US" dirty="0"/>
              <a:t>.</a:t>
            </a:r>
          </a:p>
          <a:p>
            <a:pPr marL="171450" indent="-171450">
              <a:buFont typeface="Arial" panose="020B0604020202020204" pitchFamily="34" charset="0"/>
              <a:buChar char="•"/>
            </a:pPr>
            <a:r>
              <a:rPr lang="en-US" dirty="0"/>
              <a:t>The </a:t>
            </a:r>
            <a:r>
              <a:rPr lang="en-US" b="1" dirty="0"/>
              <a:t>managed instance </a:t>
            </a:r>
            <a:r>
              <a:rPr lang="en-US" dirty="0"/>
              <a:t>deployment option in Azure SQL Database offers only the </a:t>
            </a:r>
            <a:r>
              <a:rPr lang="en-US" b="1" dirty="0"/>
              <a:t>vCore-based purchasing model</a:t>
            </a:r>
            <a:r>
              <a:rPr lang="en-US" dirty="0"/>
              <a:t>.</a:t>
            </a:r>
          </a:p>
          <a:p>
            <a:pPr marL="171450" indent="-171450">
              <a:buFont typeface="Arial" panose="020B0604020202020204" pitchFamily="34" charset="0"/>
              <a:buChar char="•"/>
            </a:pPr>
            <a:r>
              <a:rPr lang="en-US" dirty="0"/>
              <a:t>The </a:t>
            </a:r>
            <a:r>
              <a:rPr lang="en-US" b="1" dirty="0"/>
              <a:t>hyperscale</a:t>
            </a:r>
            <a:r>
              <a:rPr lang="en-US" dirty="0"/>
              <a:t> </a:t>
            </a:r>
            <a:r>
              <a:rPr lang="en-US" b="1" dirty="0"/>
              <a:t>service</a:t>
            </a:r>
            <a:r>
              <a:rPr lang="en-US" dirty="0"/>
              <a:t> tier is available for </a:t>
            </a:r>
            <a:r>
              <a:rPr lang="en-US" b="1" dirty="0"/>
              <a:t>single databases </a:t>
            </a:r>
            <a:r>
              <a:rPr lang="en-US" dirty="0"/>
              <a:t>that are using the </a:t>
            </a:r>
            <a:r>
              <a:rPr lang="en-US" b="1" dirty="0"/>
              <a:t>vCore-based purchasing model</a:t>
            </a:r>
            <a:r>
              <a:rPr lang="en-US" dirty="0"/>
              <a:t>.</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8/11/2022 10:26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816459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a:t>
            </a:r>
            <a:r>
              <a:rPr lang="en-US" b="1" dirty="0"/>
              <a:t>DTU-based</a:t>
            </a:r>
            <a:r>
              <a:rPr lang="en-US" dirty="0"/>
              <a:t> purchasing model, you can choose between the </a:t>
            </a:r>
            <a:r>
              <a:rPr lang="en-US" b="1" dirty="0"/>
              <a:t>basic</a:t>
            </a:r>
            <a:r>
              <a:rPr lang="en-US" dirty="0"/>
              <a:t>, </a:t>
            </a:r>
            <a:r>
              <a:rPr lang="en-US" b="1" dirty="0"/>
              <a:t>standard</a:t>
            </a:r>
            <a:r>
              <a:rPr lang="en-US" dirty="0"/>
              <a:t>, and </a:t>
            </a:r>
            <a:r>
              <a:rPr lang="en-US" b="1" dirty="0"/>
              <a:t>premium</a:t>
            </a:r>
            <a:r>
              <a:rPr lang="en-US" dirty="0"/>
              <a:t> service tiers for both single databases and elastic pools. The DTU-based purchasing model isn't available for managed instances.</a:t>
            </a:r>
          </a:p>
          <a:p>
            <a:endParaRPr lang="en-US" dirty="0"/>
          </a:p>
          <a:p>
            <a:r>
              <a:rPr lang="en-US" dirty="0"/>
              <a:t>In the </a:t>
            </a:r>
            <a:r>
              <a:rPr lang="en-US" b="1" dirty="0" err="1"/>
              <a:t>vCore</a:t>
            </a:r>
            <a:r>
              <a:rPr lang="en-US" b="1" dirty="0"/>
              <a:t>-based</a:t>
            </a:r>
            <a:r>
              <a:rPr lang="en-US" dirty="0"/>
              <a:t> purchasing model, you can choose between the </a:t>
            </a:r>
            <a:r>
              <a:rPr lang="en-US" b="1" dirty="0"/>
              <a:t>general purpose </a:t>
            </a:r>
            <a:r>
              <a:rPr lang="en-US" dirty="0"/>
              <a:t>and </a:t>
            </a:r>
            <a:r>
              <a:rPr lang="en-US" b="1" dirty="0"/>
              <a:t>business critical </a:t>
            </a:r>
            <a:r>
              <a:rPr lang="en-US" dirty="0"/>
              <a:t>service tiers for </a:t>
            </a:r>
            <a:r>
              <a:rPr lang="en-US" b="1" dirty="0"/>
              <a:t>single databases, elastic pools, and managed instances</a:t>
            </a:r>
            <a:r>
              <a:rPr lang="en-US" dirty="0"/>
              <a:t>. For </a:t>
            </a:r>
            <a:r>
              <a:rPr lang="en-US" b="1" dirty="0"/>
              <a:t>single databases</a:t>
            </a:r>
            <a:r>
              <a:rPr lang="en-US" dirty="0"/>
              <a:t>, you can also choose the </a:t>
            </a:r>
            <a:r>
              <a:rPr lang="en-US" b="1" dirty="0"/>
              <a:t>hyperscale service tier</a:t>
            </a:r>
            <a:r>
              <a:rPr lang="en-US" dirty="0"/>
              <a:t>.</a:t>
            </a:r>
          </a:p>
          <a:p>
            <a:endParaRPr lang="en-US" dirty="0"/>
          </a:p>
          <a:p>
            <a:r>
              <a:rPr lang="en-US" dirty="0"/>
              <a:t>Note: Serverless is not a Service Tier is a compute type available in the General Purpose Service Tier.</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gradFill>
                  <a:gsLst>
                    <a:gs pos="2917">
                      <a:srgbClr val="3C3C41"/>
                    </a:gs>
                    <a:gs pos="30000">
                      <a:srgbClr val="3C3C41"/>
                    </a:gs>
                  </a:gsLst>
                  <a:lin ang="5400000" scaled="0"/>
                </a:gradFill>
                <a:latin typeface="Segoe UI"/>
              </a:rPr>
              <a:t>* Fsv2-series and M-series are GA but available in specific regions</a:t>
            </a:r>
          </a:p>
          <a:p>
            <a:endParaRPr lang="en-US" dirty="0"/>
          </a:p>
          <a:p>
            <a:endParaRPr lang="en-US" dirty="0"/>
          </a:p>
          <a:p>
            <a:endParaRPr lang="en-US" dirty="0"/>
          </a:p>
          <a:p>
            <a:r>
              <a:rPr lang="en-US" dirty="0"/>
              <a:t>https://docs.microsoft.com/en-us/azure/azure-sql/database/service-tiers-vcore?tabs=azure-portal#hardware-generation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3411685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a single Azure SQL database at a specific performance level within a </a:t>
            </a:r>
            <a:r>
              <a:rPr lang="en-US">
                <a:hlinkClick r:id="rId3"/>
              </a:rPr>
              <a:t>service tier</a:t>
            </a:r>
            <a:r>
              <a:rPr lang="en-US"/>
              <a:t>, Microsoft guarantees a certain level of resources for that database (independent of any other database in the Azure cloud) and providing a predictable level of performance. This amount of resources is calculated as a number of Database Transaction Units or DTUs, and is a blended measure of CPU, memory, I/O (data and transaction log I/O). Doubling the DTUs by increasing the performance level of a database is the same as doubling the set of resource available to that database. For example, a Premium P11 database with 1750 DTUs provides 350x more DTU compute power than a Basic database with 5 DTUs. </a:t>
            </a:r>
          </a:p>
          <a:p>
            <a:endParaRPr lang="en-US"/>
          </a:p>
          <a:p>
            <a:r>
              <a:rPr lang="en-US" b="1"/>
              <a:t>How can I determine the number of DTUs needed by my workload?</a:t>
            </a:r>
          </a:p>
          <a:p>
            <a:r>
              <a:rPr lang="en-US"/>
              <a:t>If you are looking to migrate an existing on-premises or SQL Server virtual machine workload to Azure SQL Database, you can use the </a:t>
            </a:r>
            <a:r>
              <a:rPr lang="en-US">
                <a:hlinkClick r:id="rId4"/>
              </a:rPr>
              <a:t>DTU Calculator</a:t>
            </a:r>
            <a:r>
              <a:rPr lang="en-US"/>
              <a:t> to approximate the number of DTUs needed.</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634921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t>All three service tiers have an uptime </a:t>
            </a:r>
            <a:r>
              <a:rPr lang="en-US" sz="900">
                <a:hlinkClick r:id="rId3"/>
              </a:rPr>
              <a:t>SLA</a:t>
            </a:r>
            <a:r>
              <a:rPr lang="en-US" sz="900"/>
              <a:t> of 99.99%</a:t>
            </a:r>
            <a:endParaRPr lang="en-US" sz="900" b="1"/>
          </a:p>
          <a:p>
            <a:endParaRPr lang="en-US" sz="900" b="1"/>
          </a:p>
          <a:p>
            <a:r>
              <a:rPr lang="en-US" sz="900" b="1"/>
              <a:t>Basic:</a:t>
            </a:r>
          </a:p>
          <a:p>
            <a:r>
              <a:rPr lang="en-US" sz="900"/>
              <a:t>Basic tier is designed for applications with a light transactional workload. A typical use case is a lightweight application that needs a small database with a single operation at any given point in time.</a:t>
            </a:r>
          </a:p>
          <a:p>
            <a:endParaRPr lang="nl-BE" sz="900"/>
          </a:p>
          <a:p>
            <a:r>
              <a:rPr lang="en-US" sz="900" b="1"/>
              <a:t>Standard:</a:t>
            </a:r>
          </a:p>
          <a:p>
            <a:r>
              <a:rPr lang="en-US" sz="900"/>
              <a:t>Standard tier is the go-to option for getting started with transactional workloads. It offers better performance and better built-in business continuity features compared to Basic tier. A typical use case is an application with multiple concurrent transactions.</a:t>
            </a:r>
          </a:p>
          <a:p>
            <a:endParaRPr lang="nl-BE" sz="900"/>
          </a:p>
          <a:p>
            <a:r>
              <a:rPr lang="en-US" sz="900" b="1"/>
              <a:t>Premium:</a:t>
            </a:r>
          </a:p>
          <a:p>
            <a:r>
              <a:rPr lang="en-US" sz="900"/>
              <a:t>Premium tier is designed for mission-critical applications. It offers the best level of performance and access to advanced business continuity features including active geo-replication in up to 4 Azure regions of your choice. A typical use case is a mission-critical application with high transactional volume and many concurrent users.</a:t>
            </a:r>
          </a:p>
          <a:p>
            <a:endParaRPr lang="en-US" sz="900"/>
          </a:p>
          <a:p>
            <a:r>
              <a:rPr lang="en-US" sz="900"/>
              <a:t>https://docs.microsoft.com/en-gb/azure/azure-sql/database/service-tiers-dtu#compare-the-dtu-based-service-tiers</a:t>
            </a:r>
          </a:p>
          <a:p>
            <a:endParaRPr lang="en-US" sz="900"/>
          </a:p>
          <a:p>
            <a:endParaRPr lang="en-US" sz="900"/>
          </a:p>
          <a:p>
            <a:endParaRPr lang="en-US" sz="90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3522085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SqlRm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1413135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RmSql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5253088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RmSql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2959998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2"/>
                </a:solidFill>
                <a:latin typeface="Segoe UI Light (Headings)"/>
                <a:cs typeface="Segoe UI"/>
              </a:rPr>
              <a:t>vCore-based purchasing model: </a:t>
            </a:r>
            <a:r>
              <a:rPr lang="en-US" sz="1200" b="1" i="0" kern="1200" dirty="0">
                <a:solidFill>
                  <a:schemeClr val="tx1"/>
                </a:solidFill>
                <a:effectLst/>
                <a:latin typeface="Segoe UI Light" pitchFamily="34" charset="0"/>
                <a:ea typeface="+mn-ea"/>
                <a:cs typeface="+mn-cs"/>
              </a:rPr>
              <a:t>General</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purpose</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yperscale</a:t>
            </a:r>
            <a:r>
              <a:rPr lang="en-US" sz="1200" b="0" i="0" kern="1200" dirty="0">
                <a:solidFill>
                  <a:schemeClr val="tx1"/>
                </a:solidFill>
                <a:effectLst/>
                <a:latin typeface="Segoe UI Light" pitchFamily="34" charset="0"/>
                <a:ea typeface="+mn-ea"/>
                <a:cs typeface="+mn-cs"/>
              </a:rPr>
              <a:t>, and </a:t>
            </a:r>
            <a:r>
              <a:rPr lang="en-US" sz="1200" b="1" i="0" kern="1200" dirty="0">
                <a:solidFill>
                  <a:schemeClr val="tx1"/>
                </a:solidFill>
                <a:effectLst/>
                <a:latin typeface="Segoe UI Light" pitchFamily="34" charset="0"/>
                <a:ea typeface="+mn-ea"/>
                <a:cs typeface="+mn-cs"/>
              </a:rPr>
              <a:t>business critical</a:t>
            </a:r>
          </a:p>
          <a:p>
            <a:r>
              <a:rPr lang="en-US" sz="1200" b="0" i="0" kern="1200" dirty="0">
                <a:solidFill>
                  <a:schemeClr val="tx1"/>
                </a:solidFill>
                <a:effectLst/>
                <a:latin typeface="Segoe UI Light" pitchFamily="34" charset="0"/>
                <a:ea typeface="+mn-ea"/>
                <a:cs typeface="+mn-cs"/>
              </a:rPr>
              <a:t>These service tiers are differentiated by a range of </a:t>
            </a:r>
            <a:r>
              <a:rPr lang="en-US" sz="1200" b="1" i="0" kern="1200" dirty="0">
                <a:solidFill>
                  <a:schemeClr val="tx1"/>
                </a:solidFill>
                <a:effectLst/>
                <a:latin typeface="Segoe UI Light" pitchFamily="34" charset="0"/>
                <a:ea typeface="+mn-ea"/>
                <a:cs typeface="+mn-cs"/>
              </a:rPr>
              <a:t>compute sizes</a:t>
            </a:r>
            <a:r>
              <a:rPr lang="en-US" sz="1200" b="0" i="0" kern="1200" dirty="0">
                <a:solidFill>
                  <a:schemeClr val="tx1"/>
                </a:solidFill>
                <a:effectLst/>
                <a:latin typeface="Segoe UI Light" pitchFamily="34" charset="0"/>
                <a:ea typeface="+mn-ea"/>
                <a:cs typeface="+mn-cs"/>
              </a:rPr>
              <a:t>, </a:t>
            </a:r>
            <a:r>
              <a:rPr lang="en-US" sz="1200" b="1" i="0" kern="1200" dirty="0">
                <a:solidFill>
                  <a:schemeClr val="tx1"/>
                </a:solidFill>
                <a:effectLst/>
                <a:latin typeface="Segoe UI Light" pitchFamily="34" charset="0"/>
                <a:ea typeface="+mn-ea"/>
                <a:cs typeface="+mn-cs"/>
              </a:rPr>
              <a:t>high-availability</a:t>
            </a:r>
            <a:r>
              <a:rPr lang="en-US" sz="1200" b="0" i="0" kern="1200" dirty="0">
                <a:solidFill>
                  <a:schemeClr val="tx1"/>
                </a:solidFill>
                <a:effectLst/>
                <a:latin typeface="Segoe UI Light" pitchFamily="34" charset="0"/>
                <a:ea typeface="+mn-ea"/>
                <a:cs typeface="+mn-cs"/>
              </a:rPr>
              <a:t> designs, </a:t>
            </a:r>
            <a:r>
              <a:rPr lang="en-US" sz="1200" b="1" i="0" kern="1200" dirty="0">
                <a:solidFill>
                  <a:schemeClr val="tx1"/>
                </a:solidFill>
                <a:effectLst/>
                <a:latin typeface="Segoe UI Light" pitchFamily="34" charset="0"/>
                <a:ea typeface="+mn-ea"/>
                <a:cs typeface="+mn-cs"/>
              </a:rPr>
              <a:t>fault-isolation</a:t>
            </a:r>
            <a:r>
              <a:rPr lang="en-US" sz="1200" b="0" i="0" kern="1200" dirty="0">
                <a:solidFill>
                  <a:schemeClr val="tx1"/>
                </a:solidFill>
                <a:effectLst/>
                <a:latin typeface="Segoe UI Light" pitchFamily="34" charset="0"/>
                <a:ea typeface="+mn-ea"/>
                <a:cs typeface="+mn-cs"/>
              </a:rPr>
              <a:t> methods, types and sizes of </a:t>
            </a:r>
            <a:r>
              <a:rPr lang="en-US" sz="1200" b="1" i="0" kern="1200" dirty="0">
                <a:solidFill>
                  <a:schemeClr val="tx1"/>
                </a:solidFill>
                <a:effectLst/>
                <a:latin typeface="Segoe UI Light" pitchFamily="34" charset="0"/>
                <a:ea typeface="+mn-ea"/>
                <a:cs typeface="+mn-cs"/>
              </a:rPr>
              <a:t>storage</a:t>
            </a:r>
            <a:r>
              <a:rPr lang="en-US" sz="1200" b="0" i="0" kern="1200" dirty="0">
                <a:solidFill>
                  <a:schemeClr val="tx1"/>
                </a:solidFill>
                <a:effectLst/>
                <a:latin typeface="Segoe UI Light" pitchFamily="34" charset="0"/>
                <a:ea typeface="+mn-ea"/>
                <a:cs typeface="+mn-cs"/>
              </a:rPr>
              <a:t>, and</a:t>
            </a:r>
            <a:r>
              <a:rPr lang="en-US" sz="1200" b="1" i="0" kern="1200" dirty="0">
                <a:solidFill>
                  <a:schemeClr val="tx1"/>
                </a:solidFill>
                <a:effectLst/>
                <a:latin typeface="Segoe UI Light" pitchFamily="34" charset="0"/>
                <a:ea typeface="+mn-ea"/>
                <a:cs typeface="+mn-cs"/>
              </a:rPr>
              <a:t> I/O </a:t>
            </a:r>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rId3"/>
            </a:endParaRPr>
          </a:p>
          <a:p>
            <a:r>
              <a:rPr lang="en-US" sz="1200" dirty="0">
                <a:hlinkClick r:id="rId4"/>
              </a:rPr>
              <a:t>https://docs.microsoft.com/en-us/azure/sql-database/sql-database-service-tiers-vcore</a:t>
            </a:r>
            <a:endParaRPr lang="en-US" sz="1200" dirty="0"/>
          </a:p>
          <a:p>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hlinkClick r:id="" action="ppaction://noaction"/>
              </a:rPr>
              <a:t>https://azure.microsoft.com/en-us/pricing/details/sql-database/</a:t>
            </a: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vCore model so we can get AHB: </a:t>
            </a:r>
            <a:r>
              <a:rPr lang="en-US" sz="1200" dirty="0"/>
              <a:t>1 Enterprise license core = 1 Business Critical core</a:t>
            </a:r>
            <a:endPar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3C3C41"/>
                    </a:gs>
                    <a:gs pos="30000">
                      <a:srgbClr val="3C3C41"/>
                    </a:gs>
                  </a:gsLst>
                  <a:lin ang="5400000" scaled="0"/>
                </a:gradFill>
                <a:effectLst/>
                <a:uLnTx/>
                <a:uFillTx/>
                <a:latin typeface="+mn-lt"/>
                <a:ea typeface="+mn-ea"/>
                <a:cs typeface="+mn-cs"/>
              </a:rPr>
              <a:t>Business critical because online gaming wants the highest performance and 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en 5 so we can scale our compute m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lso for read-scale replica, zone redundant H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sz="1200" b="0" i="0" u="none" strike="noStrike" kern="1200" dirty="0">
                <a:solidFill>
                  <a:schemeClr val="tx1"/>
                </a:solidFill>
                <a:effectLst/>
                <a:latin typeface="+mn-lt"/>
                <a:ea typeface="+mn-ea"/>
                <a:cs typeface="+mn-cs"/>
              </a:rPr>
              <a:t>Zone Redundant Storage (ZRS) replicates your data synchronously across three storage clusters in a single region. Each storage cluster is physically separated from the others and is located in its own availability zone (AZ). Each availability zone—and the ZRS cluster within it—is autonomous and includes separate utilities and networking features. A write request to a ZRS storage account returns successfully only after the data is written to all replicas across the three clusters.</a:t>
            </a:r>
          </a:p>
          <a:p>
            <a:r>
              <a:rPr lang="en-US" sz="1200" b="0" i="0" u="none" strike="noStrike" kern="1200" dirty="0">
                <a:solidFill>
                  <a:schemeClr val="tx1"/>
                </a:solidFill>
                <a:effectLst/>
                <a:latin typeface="+mn-lt"/>
                <a:ea typeface="+mn-ea"/>
                <a:cs typeface="+mn-cs"/>
              </a:rPr>
              <a:t>When you store your data in a storage account using ZRS replication, you can continue to access and manage your data if an availability zone becomes unavailable. ZRS provides excellent performance and low latency. ZRS offers the same </a:t>
            </a:r>
            <a:r>
              <a:rPr lang="en-US" sz="1200" b="0" i="0" u="sng" strike="noStrike" kern="1200" dirty="0">
                <a:solidFill>
                  <a:schemeClr val="tx1"/>
                </a:solidFill>
                <a:effectLst/>
                <a:latin typeface="+mn-lt"/>
                <a:ea typeface="+mn-ea"/>
                <a:cs typeface="+mn-cs"/>
                <a:hlinkClick r:id="rId5"/>
              </a:rPr>
              <a:t>scalability targets</a:t>
            </a:r>
            <a:r>
              <a:rPr lang="en-US" sz="1200" b="0" i="0" u="none" strike="noStrike" kern="1200" dirty="0">
                <a:solidFill>
                  <a:schemeClr val="tx1"/>
                </a:solidFill>
                <a:effectLst/>
                <a:latin typeface="+mn-lt"/>
                <a:ea typeface="+mn-ea"/>
                <a:cs typeface="+mn-cs"/>
              </a:rPr>
              <a:t> as </a:t>
            </a:r>
            <a:r>
              <a:rPr lang="en-US" sz="1200" b="0" i="0" u="sng" strike="noStrike" kern="1200" dirty="0">
                <a:solidFill>
                  <a:schemeClr val="tx1"/>
                </a:solidFill>
                <a:effectLst/>
                <a:latin typeface="+mn-lt"/>
                <a:ea typeface="+mn-ea"/>
                <a:cs typeface="+mn-cs"/>
                <a:hlinkClick r:id="rId6"/>
              </a:rPr>
              <a:t>locally redundant storage (LRS)</a:t>
            </a:r>
            <a:r>
              <a:rPr lang="en-US" sz="1200" b="0" i="0" u="none" strike="noStrike"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3E91B-0691-4B67-8A98-0307ED341CD0}"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877631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terms of the vCore-based purchasing model, you will be able to further balance price and performance requirements with the ability to choose between different hardware generations. </a:t>
            </a:r>
            <a:r>
              <a:rPr lang="en-US" sz="800" kern="1200" dirty="0">
                <a:solidFill>
                  <a:schemeClr val="tx1"/>
                </a:solidFill>
                <a:effectLst/>
                <a:latin typeface="Segoe UI Light" pitchFamily="34" charset="0"/>
                <a:ea typeface="+mn-ea"/>
                <a:cs typeface="+mn-cs"/>
              </a:rPr>
              <a:t>Microsoft’s goal is to enable maximum flexibility so you can choose a performance configuration that most closely matches the needs of your application. In particular, Gen 4 hardware offers more memory per vCore. However, Gen 5 hardware allows you to scale up compute much higher. </a:t>
            </a:r>
            <a:r>
              <a:rPr lang="en-US" dirty="0"/>
              <a:t>Microsoft</a:t>
            </a:r>
            <a:r>
              <a:rPr lang="en-US" sz="800" kern="1200" dirty="0">
                <a:solidFill>
                  <a:schemeClr val="tx1"/>
                </a:solidFill>
                <a:effectLst/>
                <a:latin typeface="Segoe UI Light" pitchFamily="34" charset="0"/>
                <a:ea typeface="+mn-ea"/>
                <a:cs typeface="+mn-cs"/>
              </a:rPr>
              <a:t> wants to make these differences transparent so you can achieve the optimal price/performance ratio for your application. </a:t>
            </a:r>
            <a:endParaRPr lang="en-US" dirty="0"/>
          </a:p>
          <a:p>
            <a:endParaRPr lang="en-US" dirty="0"/>
          </a:p>
          <a:p>
            <a:r>
              <a:rPr lang="en-US" sz="800" b="0" i="0" kern="1200" dirty="0">
                <a:solidFill>
                  <a:schemeClr val="tx1"/>
                </a:solidFill>
                <a:effectLst/>
                <a:latin typeface="Segoe UI Light" pitchFamily="34" charset="0"/>
                <a:ea typeface="+mn-ea"/>
                <a:cs typeface="+mn-cs"/>
              </a:rPr>
              <a:t>Hardware generation options in the vCore model include Gen 4/5, M-series (preview), and Fsv2-series (preview). The hardware generation generally defines the compute and memory limits and other characteristics that impact the performance of the workload.</a:t>
            </a:r>
          </a:p>
          <a:p>
            <a:endParaRPr lang="en-US" sz="8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Gen4/Gen5</a:t>
            </a:r>
          </a:p>
          <a:p>
            <a:r>
              <a:rPr lang="en-US" sz="800" b="0" i="0" kern="1200" dirty="0">
                <a:solidFill>
                  <a:schemeClr val="tx1"/>
                </a:solidFill>
                <a:effectLst/>
                <a:latin typeface="Segoe UI Light" pitchFamily="34" charset="0"/>
                <a:ea typeface="+mn-ea"/>
                <a:cs typeface="+mn-cs"/>
              </a:rPr>
              <a:t>Gen4/Gen5 hardware provides balanced compute and memory resources, and is suitable for most database workloads that do not have higher memory, higher vCore, or faster single vCore requirements as provided by Fsv2-series or M-series.</a:t>
            </a:r>
          </a:p>
          <a:p>
            <a:r>
              <a:rPr lang="en-US" sz="800" b="0" i="0" kern="1200" dirty="0">
                <a:solidFill>
                  <a:schemeClr val="tx1"/>
                </a:solidFill>
                <a:effectLst/>
                <a:latin typeface="Segoe UI Light" pitchFamily="34" charset="0"/>
                <a:ea typeface="+mn-ea"/>
                <a:cs typeface="+mn-cs"/>
              </a:rPr>
              <a:t>For regions where Gen4/Gen5 is available, see </a:t>
            </a:r>
            <a:r>
              <a:rPr lang="en-US" sz="800" b="0" i="0" u="sng" kern="1200" dirty="0">
                <a:solidFill>
                  <a:schemeClr val="tx1"/>
                </a:solidFill>
                <a:effectLst/>
                <a:latin typeface="Segoe UI Light" pitchFamily="34" charset="0"/>
                <a:ea typeface="+mn-ea"/>
                <a:cs typeface="+mn-cs"/>
                <a:hlinkClick r:id="rId3"/>
              </a:rPr>
              <a:t>Gen4/Gen5 availability</a:t>
            </a:r>
            <a:r>
              <a:rPr lang="en-US" sz="8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Fsv2-series (preview)</a:t>
            </a:r>
          </a:p>
          <a:p>
            <a:r>
              <a:rPr lang="en-US" sz="800" b="0" i="0" kern="1200" dirty="0">
                <a:solidFill>
                  <a:schemeClr val="tx1"/>
                </a:solidFill>
                <a:effectLst/>
                <a:latin typeface="Segoe UI Light" pitchFamily="34" charset="0"/>
                <a:ea typeface="+mn-ea"/>
                <a:cs typeface="+mn-cs"/>
              </a:rPr>
              <a:t>Fsv2-series is a compute optimized hardware option delivering low CPU latency and high clock speed for the most CPU demanding workloads.</a:t>
            </a:r>
          </a:p>
          <a:p>
            <a:r>
              <a:rPr lang="en-US" sz="800" b="0" i="0" kern="1200" dirty="0">
                <a:solidFill>
                  <a:schemeClr val="tx1"/>
                </a:solidFill>
                <a:effectLst/>
                <a:latin typeface="Segoe UI Light" pitchFamily="34" charset="0"/>
                <a:ea typeface="+mn-ea"/>
                <a:cs typeface="+mn-cs"/>
              </a:rPr>
              <a:t>Depending on the workload, Fsv2-series can deliver more CPU performance per vCore than Gen5, and the 72 vCore size can provide more CPU performance for less cost than 80 vCores on Gen5.</a:t>
            </a:r>
          </a:p>
          <a:p>
            <a:r>
              <a:rPr lang="en-US" sz="800" b="0" i="0" kern="1200" dirty="0">
                <a:solidFill>
                  <a:schemeClr val="tx1"/>
                </a:solidFill>
                <a:effectLst/>
                <a:latin typeface="Segoe UI Light" pitchFamily="34" charset="0"/>
                <a:ea typeface="+mn-ea"/>
                <a:cs typeface="+mn-cs"/>
              </a:rPr>
              <a:t>Fsv2 provides less memory and tempdb per vCore than other hardware so workloads sensitive to those limits may want to consider Gen5 or M-series instead.  </a:t>
            </a:r>
          </a:p>
          <a:p>
            <a:r>
              <a:rPr lang="en-US" sz="800" b="0" i="0" kern="1200" dirty="0">
                <a:solidFill>
                  <a:schemeClr val="tx1"/>
                </a:solidFill>
                <a:effectLst/>
                <a:latin typeface="Segoe UI Light" pitchFamily="34" charset="0"/>
                <a:ea typeface="+mn-ea"/>
                <a:cs typeface="+mn-cs"/>
              </a:rPr>
              <a:t>For regions where Fsv2-series is available, see </a:t>
            </a:r>
            <a:r>
              <a:rPr lang="en-US" sz="800" b="0" i="0" u="sng" kern="1200" dirty="0">
                <a:solidFill>
                  <a:schemeClr val="tx1"/>
                </a:solidFill>
                <a:effectLst/>
                <a:latin typeface="Segoe UI Light" pitchFamily="34" charset="0"/>
                <a:ea typeface="+mn-ea"/>
                <a:cs typeface="+mn-cs"/>
                <a:hlinkClick r:id="rId4"/>
              </a:rPr>
              <a:t>Fsv2-series availability</a:t>
            </a:r>
            <a:r>
              <a:rPr lang="en-US" sz="800" b="0" i="0" kern="1200" dirty="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dirty="0">
                <a:solidFill>
                  <a:schemeClr val="tx1"/>
                </a:solidFill>
                <a:effectLst/>
                <a:latin typeface="Segoe UI Light" pitchFamily="34" charset="0"/>
                <a:ea typeface="+mn-ea"/>
                <a:cs typeface="+mn-cs"/>
              </a:rPr>
              <a:t>M-series (preview)</a:t>
            </a:r>
          </a:p>
          <a:p>
            <a:r>
              <a:rPr lang="en-US" sz="800" b="0" i="0" kern="1200" dirty="0">
                <a:solidFill>
                  <a:schemeClr val="tx1"/>
                </a:solidFill>
                <a:effectLst/>
                <a:latin typeface="Segoe UI Light" pitchFamily="34" charset="0"/>
                <a:ea typeface="+mn-ea"/>
                <a:cs typeface="+mn-cs"/>
              </a:rPr>
              <a:t>M-series is a memory optimized hardware option for workloads demanding more memory and higher compute limits than provided by Gen5.</a:t>
            </a:r>
          </a:p>
          <a:p>
            <a:r>
              <a:rPr lang="en-US" sz="800" b="0" i="0" kern="1200" dirty="0">
                <a:solidFill>
                  <a:schemeClr val="tx1"/>
                </a:solidFill>
                <a:effectLst/>
                <a:latin typeface="Segoe UI Light" pitchFamily="34" charset="0"/>
                <a:ea typeface="+mn-ea"/>
                <a:cs typeface="+mn-cs"/>
              </a:rPr>
              <a:t>M-series provides 29 GB per vCore and 128 vCores, which increases the memory limit relative to Gen5 by 8x to nearly 4 TB.</a:t>
            </a:r>
          </a:p>
          <a:p>
            <a:r>
              <a:rPr lang="en-US" sz="800" b="0" i="0" kern="1200" dirty="0">
                <a:solidFill>
                  <a:schemeClr val="tx1"/>
                </a:solidFill>
                <a:effectLst/>
                <a:latin typeface="Segoe UI Light" pitchFamily="34" charset="0"/>
                <a:ea typeface="+mn-ea"/>
                <a:cs typeface="+mn-cs"/>
              </a:rPr>
              <a:t>To enable M-series hardware for a subscription and region, a support request must be open. If the support request is approved, then the selection and provisioning experience of M-series follows the same pattern as for other hardware generations. For regions where M-series is available, see </a:t>
            </a:r>
            <a:r>
              <a:rPr lang="en-US" sz="800" b="0" i="0" u="sng" kern="1200" dirty="0">
                <a:solidFill>
                  <a:schemeClr val="tx1"/>
                </a:solidFill>
                <a:effectLst/>
                <a:latin typeface="Segoe UI Light" pitchFamily="34" charset="0"/>
                <a:ea typeface="+mn-ea"/>
                <a:cs typeface="+mn-cs"/>
                <a:hlinkClick r:id="rId5"/>
              </a:rPr>
              <a:t>M-series availability</a:t>
            </a:r>
            <a:r>
              <a:rPr lang="en-US" sz="800" b="0" i="0" kern="1200" dirty="0">
                <a:solidFill>
                  <a:schemeClr val="tx1"/>
                </a:solidFill>
                <a:effectLst/>
                <a:latin typeface="Segoe UI Light" pitchFamily="34" charset="0"/>
                <a:ea typeface="+mn-ea"/>
                <a:cs typeface="+mn-cs"/>
              </a:rPr>
              <a:t>.</a:t>
            </a: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751141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mn-lt"/>
                <a:ea typeface="+mn-ea"/>
                <a:cs typeface="+mn-cs"/>
              </a:rPr>
              <a:t>Azure SQL Database serverless is our answer to cost-effectively resourcing these types of unpredictable and intermittent workloads.  It is a dynamically scaling, on-demand version of Azure SQL Database that </a:t>
            </a:r>
            <a:r>
              <a:rPr lang="en-US" sz="900" b="1" kern="1200">
                <a:solidFill>
                  <a:schemeClr val="tx1"/>
                </a:solidFill>
                <a:effectLst/>
                <a:latin typeface="+mn-lt"/>
                <a:ea typeface="+mn-ea"/>
                <a:cs typeface="+mn-cs"/>
              </a:rPr>
              <a:t>eliminates the complexity</a:t>
            </a:r>
            <a:r>
              <a:rPr lang="en-US" sz="900" kern="1200">
                <a:solidFill>
                  <a:schemeClr val="tx1"/>
                </a:solidFill>
                <a:effectLst/>
                <a:latin typeface="+mn-lt"/>
                <a:ea typeface="+mn-ea"/>
                <a:cs typeface="+mn-cs"/>
              </a:rPr>
              <a:t> of resourcing and managing unpredictable workloads.  Simply create a serverless database and connect your application, with no upfront resource configuration required.  Serverless SQL databases </a:t>
            </a:r>
            <a:r>
              <a:rPr lang="en-US" sz="900" b="1" kern="1200">
                <a:solidFill>
                  <a:schemeClr val="tx1"/>
                </a:solidFill>
                <a:effectLst/>
                <a:latin typeface="+mn-lt"/>
                <a:ea typeface="+mn-ea"/>
                <a:cs typeface="+mn-cs"/>
              </a:rPr>
              <a:t>automatically pause, resume and scale compute </a:t>
            </a:r>
            <a:r>
              <a:rPr lang="en-US" sz="900" kern="1200">
                <a:solidFill>
                  <a:schemeClr val="tx1"/>
                </a:solidFill>
                <a:effectLst/>
                <a:latin typeface="+mn-lt"/>
                <a:ea typeface="+mn-ea"/>
                <a:cs typeface="+mn-cs"/>
              </a:rPr>
              <a:t>based upon your app’s requirements, making them particularly cost effective for variable or unpredictable workloads – or when you’re simply unsure of your requirements.  </a:t>
            </a:r>
          </a:p>
          <a:p>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With resources available on-demand, serverless SQL databases optimize costs</a:t>
            </a:r>
            <a:r>
              <a:rPr lang="en-US" sz="900" b="1" kern="1200">
                <a:solidFill>
                  <a:schemeClr val="tx1"/>
                </a:solidFill>
                <a:effectLst/>
                <a:latin typeface="+mn-lt"/>
                <a:ea typeface="+mn-ea"/>
                <a:cs typeface="+mn-cs"/>
              </a:rPr>
              <a:t> with pay per-second billing </a:t>
            </a:r>
            <a:r>
              <a:rPr lang="en-US" sz="900" kern="1200">
                <a:solidFill>
                  <a:schemeClr val="tx1"/>
                </a:solidFill>
                <a:effectLst/>
                <a:latin typeface="+mn-lt"/>
                <a:ea typeface="+mn-ea"/>
                <a:cs typeface="+mn-cs"/>
              </a:rPr>
              <a:t>that</a:t>
            </a:r>
            <a:r>
              <a:rPr lang="en-US" sz="900" b="1" kern="1200">
                <a:solidFill>
                  <a:schemeClr val="tx1"/>
                </a:solidFill>
                <a:effectLst/>
                <a:latin typeface="+mn-lt"/>
                <a:ea typeface="+mn-ea"/>
                <a:cs typeface="+mn-cs"/>
              </a:rPr>
              <a:t> </a:t>
            </a:r>
            <a:r>
              <a:rPr lang="en-US" sz="900" kern="1200">
                <a:solidFill>
                  <a:schemeClr val="tx1"/>
                </a:solidFill>
                <a:effectLst/>
                <a:latin typeface="+mn-lt"/>
                <a:ea typeface="+mn-ea"/>
                <a:cs typeface="+mn-cs"/>
              </a:rPr>
              <a:t>aligns with the app’s performance, so you only pay for the compute resources you use .  </a:t>
            </a:r>
          </a:p>
          <a:p>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Built upon the SQL Server architecture, serverless SQL databases are </a:t>
            </a:r>
            <a:r>
              <a:rPr lang="en-US" sz="900" b="1" kern="1200">
                <a:solidFill>
                  <a:schemeClr val="tx1"/>
                </a:solidFill>
                <a:effectLst/>
                <a:latin typeface="+mn-lt"/>
                <a:ea typeface="+mn-ea"/>
                <a:cs typeface="+mn-cs"/>
              </a:rPr>
              <a:t>fully-managed</a:t>
            </a:r>
            <a:r>
              <a:rPr lang="en-US" sz="900" kern="1200">
                <a:solidFill>
                  <a:schemeClr val="tx1"/>
                </a:solidFill>
                <a:effectLst/>
                <a:latin typeface="+mn-lt"/>
                <a:ea typeface="+mn-ea"/>
                <a:cs typeface="+mn-cs"/>
              </a:rPr>
              <a:t>, </a:t>
            </a:r>
            <a:r>
              <a:rPr lang="en-US" sz="900" b="1" kern="1200">
                <a:solidFill>
                  <a:schemeClr val="tx1"/>
                </a:solidFill>
                <a:effectLst/>
                <a:latin typeface="+mn-lt"/>
                <a:ea typeface="+mn-ea"/>
                <a:cs typeface="+mn-cs"/>
              </a:rPr>
              <a:t>always up to date</a:t>
            </a:r>
            <a:r>
              <a:rPr lang="en-US" sz="900" kern="1200">
                <a:solidFill>
                  <a:schemeClr val="tx1"/>
                </a:solidFill>
                <a:effectLst/>
                <a:latin typeface="+mn-lt"/>
                <a:ea typeface="+mn-ea"/>
                <a:cs typeface="+mn-cs"/>
              </a:rPr>
              <a:t> and </a:t>
            </a:r>
            <a:r>
              <a:rPr lang="en-US" sz="900" b="1" kern="1200">
                <a:solidFill>
                  <a:schemeClr val="tx1"/>
                </a:solidFill>
                <a:effectLst/>
                <a:latin typeface="+mn-lt"/>
                <a:ea typeface="+mn-ea"/>
                <a:cs typeface="+mn-cs"/>
              </a:rPr>
              <a:t>highly available</a:t>
            </a:r>
            <a:r>
              <a:rPr lang="en-US" sz="900" kern="1200">
                <a:solidFill>
                  <a:schemeClr val="tx1"/>
                </a:solidFill>
                <a:effectLst/>
                <a:latin typeface="+mn-lt"/>
                <a:ea typeface="+mn-ea"/>
                <a:cs typeface="+mn-cs"/>
              </a:rPr>
              <a:t> with a 99.99% uptime guarantee.  Combined with </a:t>
            </a:r>
            <a:r>
              <a:rPr lang="en-US" sz="900" b="1" kern="1200">
                <a:solidFill>
                  <a:schemeClr val="tx1"/>
                </a:solidFill>
                <a:effectLst/>
                <a:latin typeface="+mn-lt"/>
                <a:ea typeface="+mn-ea"/>
                <a:cs typeface="+mn-cs"/>
              </a:rPr>
              <a:t>built-in intelligence </a:t>
            </a:r>
            <a:r>
              <a:rPr lang="en-US" sz="900" kern="1200">
                <a:solidFill>
                  <a:schemeClr val="tx1"/>
                </a:solidFill>
                <a:effectLst/>
                <a:latin typeface="+mn-lt"/>
                <a:ea typeface="+mn-ea"/>
                <a:cs typeface="+mn-cs"/>
              </a:rPr>
              <a:t>to optimize database performance and security, serverless SQL Databases help you be more productive so you can focus more on what you do best, building great apps faster and more cost effectively.</a:t>
            </a:r>
            <a:r>
              <a:rPr lang="en-US">
                <a:effectLst/>
              </a:rPr>
              <a:t> </a:t>
            </a:r>
            <a:r>
              <a:rPr lang="en-US" sz="900" kern="1200">
                <a:solidFill>
                  <a:schemeClr val="tx1"/>
                </a:solidFill>
                <a:effectLst/>
                <a:latin typeface="+mn-lt"/>
                <a:ea typeface="+mn-ea"/>
                <a:cs typeface="+mn-cs"/>
              </a:rPr>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2761406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https://azure.microsoft.com/en-us/global-infrastructure/reg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Microsoft Azure is Microsoft's public cloud computing platform and infrastructure for building, deploying, and managing applications and services through a global network of Microsoft-managed datacenters. It provides both PaaS and IaaS services and supports many different programming languages, tools and frameworks, including both Microsoft-specific and third-party software and systems. It consists of over</a:t>
            </a:r>
            <a:r>
              <a:rPr lang="en-US" sz="800" baseline="0" dirty="0"/>
              <a:t> </a:t>
            </a:r>
            <a:r>
              <a:rPr lang="en-US" sz="800" dirty="0"/>
              <a:t>140 </a:t>
            </a:r>
            <a:r>
              <a:rPr lang="en-US" sz="800" dirty="0">
                <a:solidFill>
                  <a:schemeClr val="tx1"/>
                </a:solidFill>
                <a:latin typeface="Segoe UI Light" panose="020B0502040204020203" pitchFamily="34" charset="0"/>
                <a:cs typeface="Segoe UI Light" panose="020B0502040204020203" pitchFamily="34" charset="0"/>
              </a:rPr>
              <a:t>countries</a:t>
            </a:r>
            <a:r>
              <a:rPr lang="en-US" sz="800" dirty="0"/>
              <a:t> across 56 regions worldwide with more being added all the time. It provides hyper scale computing capabilities and makes up the top 3 networks in the world.</a:t>
            </a:r>
            <a:r>
              <a:rPr lang="en-US" sz="800" baseline="0" dirty="0"/>
              <a:t> </a:t>
            </a:r>
          </a:p>
          <a:p>
            <a:endParaRPr lang="en-US" dirty="0"/>
          </a:p>
          <a:p>
            <a:endParaRPr lang="en-US" dirty="0"/>
          </a:p>
          <a:p>
            <a:r>
              <a:rPr lang="en-US" sz="800" b="1" i="0" u="none" strike="noStrike" kern="1200" dirty="0">
                <a:solidFill>
                  <a:schemeClr val="tx1"/>
                </a:solidFill>
                <a:effectLst/>
                <a:latin typeface="Segoe UI Light" pitchFamily="34" charset="0"/>
                <a:ea typeface="+mn-ea"/>
                <a:cs typeface="+mn-cs"/>
              </a:rPr>
              <a:t>Azure regions</a:t>
            </a:r>
          </a:p>
          <a:p>
            <a:r>
              <a:rPr lang="en-US" sz="800" b="0" i="0" u="none" strike="noStrike" kern="1200" dirty="0">
                <a:solidFill>
                  <a:schemeClr val="tx1"/>
                </a:solidFill>
                <a:effectLst/>
                <a:latin typeface="Segoe UI Light" pitchFamily="34" charset="0"/>
                <a:ea typeface="+mn-ea"/>
                <a:cs typeface="+mn-cs"/>
              </a:rPr>
              <a:t>Azure has more global regions than any other cloud provider—offering the scale needed to bring applications closer to users around the world, preserving data residency, and offering comprehensive compliance and resiliency options for customers.</a:t>
            </a:r>
          </a:p>
          <a:p>
            <a:endParaRPr lang="en-US" dirty="0"/>
          </a:p>
          <a:p>
            <a:endParaRPr lang="en-US" dirty="0"/>
          </a:p>
          <a:p>
            <a:r>
              <a:rPr lang="en-US" sz="800" b="1" i="0" u="none" strike="noStrike" kern="1200" dirty="0">
                <a:solidFill>
                  <a:schemeClr val="tx1"/>
                </a:solidFill>
                <a:effectLst/>
                <a:latin typeface="Segoe UI Light" pitchFamily="34" charset="0"/>
                <a:ea typeface="+mn-ea"/>
                <a:cs typeface="+mn-cs"/>
              </a:rPr>
              <a:t>Scale globally</a:t>
            </a:r>
          </a:p>
          <a:p>
            <a:r>
              <a:rPr lang="en-US" sz="800" b="0" i="0" u="none" strike="noStrike" kern="1200" dirty="0">
                <a:solidFill>
                  <a:schemeClr val="tx1"/>
                </a:solidFill>
                <a:effectLst/>
                <a:latin typeface="Segoe UI Light" pitchFamily="34" charset="0"/>
                <a:ea typeface="+mn-ea"/>
                <a:cs typeface="+mn-cs"/>
              </a:rPr>
              <a:t>Reach more locations, faster, with the performance and reliability of a vast global infrastructure.</a:t>
            </a:r>
          </a:p>
          <a:p>
            <a:r>
              <a:rPr lang="en-US" sz="800" b="1" i="0" u="none" strike="noStrike" kern="1200" dirty="0">
                <a:solidFill>
                  <a:schemeClr val="tx1"/>
                </a:solidFill>
                <a:effectLst/>
                <a:latin typeface="Segoe UI Light" pitchFamily="34" charset="0"/>
                <a:ea typeface="+mn-ea"/>
                <a:cs typeface="+mn-cs"/>
              </a:rPr>
              <a:t>Safeguard data</a:t>
            </a:r>
          </a:p>
          <a:p>
            <a:r>
              <a:rPr lang="en-US" sz="800" b="0" i="0" u="none" strike="noStrike" kern="1200" dirty="0">
                <a:solidFill>
                  <a:schemeClr val="tx1"/>
                </a:solidFill>
                <a:effectLst/>
                <a:latin typeface="Segoe UI Light" pitchFamily="34" charset="0"/>
                <a:ea typeface="+mn-ea"/>
                <a:cs typeface="+mn-cs"/>
              </a:rPr>
              <a:t>Rely on industry-leading data security in the region and across our network.</a:t>
            </a:r>
          </a:p>
          <a:p>
            <a:r>
              <a:rPr lang="en-US" sz="800" b="1" i="0" u="none" strike="noStrike" kern="1200" dirty="0">
                <a:solidFill>
                  <a:schemeClr val="tx1"/>
                </a:solidFill>
                <a:effectLst/>
                <a:latin typeface="Segoe UI Light" pitchFamily="34" charset="0"/>
                <a:ea typeface="+mn-ea"/>
                <a:cs typeface="+mn-cs"/>
              </a:rPr>
              <a:t>Promote sustainability</a:t>
            </a:r>
          </a:p>
          <a:p>
            <a:r>
              <a:rPr lang="en-US" sz="800" b="0" i="0" u="none" strike="noStrike" kern="1200" dirty="0">
                <a:solidFill>
                  <a:schemeClr val="tx1"/>
                </a:solidFill>
                <a:effectLst/>
                <a:latin typeface="Segoe UI Light" pitchFamily="34" charset="0"/>
                <a:ea typeface="+mn-ea"/>
                <a:cs typeface="+mn-cs"/>
              </a:rPr>
              <a:t>Help build a clean-energy future and accelerate progress toward your sustainability goal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2491640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Provisioned compute and serverless options meet different needs. Ultimately, you need to determine the option that will provide you with the best price and performance for the type(s) of workloads that you hav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2783293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kern="1200">
                <a:solidFill>
                  <a:schemeClr val="tx1"/>
                </a:solidFill>
                <a:effectLst/>
                <a:latin typeface="Segoe UI Light" pitchFamily="34" charset="0"/>
                <a:ea typeface="+mn-ea"/>
                <a:cs typeface="+mn-cs"/>
              </a:rPr>
              <a:t>Serverless automatically scales compute for single databases based on workload demand and bills for compute used per second.  In serverless, compute scaling within configurable limits is managed by the service to continuously right-size resources. Serverless also provides an option to automatically pause the database during inactive usage periods and automatically resume when activity returns.  During periods of inactivity, you only pay for storag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159768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nl-BE"/>
              <a:t>In this lesson we will be covering the prerequisites for Azure SQL Database and how to create a database.</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13365049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baseline="0">
                <a:solidFill>
                  <a:schemeClr val="tx1"/>
                </a:solidFill>
                <a:effectLst/>
                <a:latin typeface="Segoe UI Light" pitchFamily="34" charset="0"/>
                <a:ea typeface="+mn-ea"/>
                <a:cs typeface="+mn-cs"/>
              </a:rPr>
              <a:t>A SQL Server is typically hosted on a physical or virtual machine and is referred to as an “instance” of SQL Server. </a:t>
            </a:r>
          </a:p>
          <a:p>
            <a:r>
              <a:rPr lang="en-US" sz="800" kern="1200" baseline="0">
                <a:solidFill>
                  <a:schemeClr val="tx1"/>
                </a:solidFill>
                <a:effectLst/>
                <a:latin typeface="Segoe UI Light" pitchFamily="34" charset="0"/>
                <a:ea typeface="+mn-ea"/>
                <a:cs typeface="+mn-cs"/>
              </a:rPr>
              <a:t>An Azure SQL Database Server is referred to as a logical server. It looks like a SQL Server instance, but it is technically a TDS (Tabular Data Stream) endpoint running as a microservice. Azure routes your requests to the physical primary replica of the database. </a:t>
            </a:r>
          </a:p>
          <a:p>
            <a:endParaRPr lang="en-US" sz="800" kern="1200" baseline="0">
              <a:solidFill>
                <a:schemeClr val="tx1"/>
              </a:solidFill>
              <a:effectLst/>
              <a:latin typeface="Segoe UI Light" pitchFamily="34" charset="0"/>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1705245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0" dirty="0">
                <a:effectLst/>
                <a:latin typeface="Segoe UI" panose="020B0502040204020203" pitchFamily="34" charset="0"/>
              </a:rPr>
              <a:t>We</a:t>
            </a:r>
            <a:r>
              <a:rPr lang="en-US" b="0" baseline="0" dirty="0">
                <a:effectLst/>
                <a:latin typeface="Segoe UI" panose="020B0502040204020203" pitchFamily="34" charset="0"/>
              </a:rPr>
              <a:t> have the concept of a logical SQL </a:t>
            </a:r>
            <a:r>
              <a:rPr lang="en-US" dirty="0">
                <a:latin typeface="Segoe UI" panose="020B0502040204020203" pitchFamily="34" charset="0"/>
              </a:rPr>
              <a:t>S</a:t>
            </a:r>
            <a:r>
              <a:rPr lang="en-US" b="0" baseline="0" dirty="0">
                <a:effectLst/>
                <a:latin typeface="Segoe UI" panose="020B0502040204020203" pitchFamily="34" charset="0"/>
              </a:rPr>
              <a:t>erver but it’s just a logical grouping of databases.</a:t>
            </a:r>
          </a:p>
          <a:p>
            <a:pPr rtl="0"/>
            <a:r>
              <a:rPr lang="en-US" b="0" baseline="0" dirty="0">
                <a:effectLst/>
                <a:latin typeface="Segoe UI" panose="020B0502040204020203" pitchFamily="34" charset="0"/>
              </a:rPr>
              <a:t>You get a Fully Qualified Domain Name (FQDN) from Azure. That’s included in your connections string as normal and initially the only database visible is the master system database</a:t>
            </a:r>
          </a:p>
          <a:p>
            <a:pPr rtl="0"/>
            <a:endParaRPr lang="en-US" b="0" baseline="0" dirty="0">
              <a:effectLst/>
              <a:latin typeface="Segoe UI" panose="020B0502040204020203" pitchFamily="34" charset="0"/>
            </a:endParaRPr>
          </a:p>
          <a:p>
            <a:pPr rtl="0"/>
            <a:r>
              <a:rPr lang="en-US" b="0" baseline="0" dirty="0">
                <a:effectLst/>
                <a:latin typeface="Segoe UI" panose="020B0502040204020203" pitchFamily="34" charset="0"/>
              </a:rPr>
              <a:t>To provision a logical SQL Server using the Azure Portal:</a:t>
            </a:r>
          </a:p>
          <a:p>
            <a:pPr marL="228600" indent="-228600" rtl="0">
              <a:buFont typeface="+mj-lt"/>
              <a:buAutoNum type="arabicPeriod"/>
            </a:pPr>
            <a:r>
              <a:rPr lang="en-US" b="0" baseline="0" dirty="0">
                <a:effectLst/>
                <a:latin typeface="Segoe UI" panose="020B0502040204020203" pitchFamily="34" charset="0"/>
              </a:rPr>
              <a:t>Log on to the portal</a:t>
            </a:r>
          </a:p>
          <a:p>
            <a:pPr marL="228600" indent="-228600" rtl="0">
              <a:buFont typeface="+mj-lt"/>
              <a:buAutoNum type="arabicPeriod"/>
            </a:pPr>
            <a:r>
              <a:rPr lang="en-US" b="0" baseline="0" dirty="0">
                <a:effectLst/>
                <a:latin typeface="Segoe UI" panose="020B0502040204020203" pitchFamily="34" charset="0"/>
              </a:rPr>
              <a:t>Select ‘</a:t>
            </a:r>
            <a:r>
              <a:rPr lang="en-US" b="1" baseline="0" dirty="0">
                <a:effectLst/>
                <a:latin typeface="Segoe UI" panose="020B0502040204020203" pitchFamily="34" charset="0"/>
              </a:rPr>
              <a:t>Create a resource</a:t>
            </a:r>
            <a:r>
              <a:rPr lang="en-US" b="0" baseline="0" dirty="0">
                <a:effectLst/>
                <a:latin typeface="Segoe UI" panose="020B0502040204020203" pitchFamily="34" charset="0"/>
              </a:rPr>
              <a: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0" baseline="0" dirty="0">
                <a:effectLst/>
                <a:latin typeface="Segoe UI" panose="020B0502040204020203" pitchFamily="34" charset="0"/>
              </a:rPr>
              <a:t>Search the Marketplace box for ‘</a:t>
            </a:r>
            <a:r>
              <a:rPr lang="en-US" sz="800" b="1" i="0" kern="1200" dirty="0">
                <a:solidFill>
                  <a:schemeClr val="tx1"/>
                </a:solidFill>
                <a:effectLst/>
                <a:latin typeface="Segoe UI Light" pitchFamily="34" charset="0"/>
                <a:ea typeface="+mn-ea"/>
                <a:cs typeface="+mn-cs"/>
              </a:rPr>
              <a:t>SQL server (logical server)</a:t>
            </a:r>
            <a:r>
              <a:rPr lang="en-US" b="0" baseline="0" dirty="0">
                <a:effectLst/>
                <a:latin typeface="Segoe UI" panose="020B0502040204020203" pitchFamily="34" charset="0"/>
              </a:rPr>
              <a:t>’</a:t>
            </a:r>
          </a:p>
          <a:p>
            <a:pPr marL="228600" indent="-228600" rtl="0">
              <a:buFont typeface="+mj-lt"/>
              <a:buAutoNum type="arabicPeriod"/>
            </a:pPr>
            <a:r>
              <a:rPr lang="en-US" b="0" baseline="0" dirty="0">
                <a:effectLst/>
                <a:latin typeface="Segoe UI" panose="020B0502040204020203" pitchFamily="34" charset="0"/>
              </a:rPr>
              <a:t>Click </a:t>
            </a:r>
            <a:r>
              <a:rPr lang="en-US" b="1" baseline="0" dirty="0">
                <a:effectLst/>
                <a:latin typeface="Segoe UI" panose="020B0502040204020203" pitchFamily="34" charset="0"/>
              </a:rPr>
              <a:t>Create</a:t>
            </a:r>
          </a:p>
          <a:p>
            <a:pPr marL="228600" indent="-228600" rtl="0">
              <a:buFont typeface="+mj-lt"/>
              <a:buAutoNum type="arabicPeriod"/>
            </a:pPr>
            <a:r>
              <a:rPr lang="en-US" b="0" baseline="0" dirty="0">
                <a:effectLst/>
                <a:latin typeface="Segoe UI" panose="020B0502040204020203" pitchFamily="34" charset="0"/>
              </a:rPr>
              <a:t>Specify the following parameters:</a:t>
            </a:r>
          </a:p>
          <a:p>
            <a:pPr marL="0" indent="0" rtl="0">
              <a:buFont typeface="Arial" panose="020B0604020202020204" pitchFamily="34" charset="0"/>
              <a:buNone/>
            </a:pPr>
            <a:r>
              <a:rPr lang="en-US" b="1" baseline="0" dirty="0">
                <a:effectLst/>
                <a:latin typeface="Segoe UI" panose="020B0502040204020203" pitchFamily="34" charset="0"/>
              </a:rPr>
              <a:t>Basics</a:t>
            </a:r>
          </a:p>
          <a:p>
            <a:pPr marL="228600" indent="-228600" rtl="0">
              <a:buFont typeface="Arial" panose="020B0604020202020204" pitchFamily="34" charset="0"/>
              <a:buChar char="•"/>
            </a:pPr>
            <a:r>
              <a:rPr lang="en-US" b="0" baseline="0" dirty="0">
                <a:effectLst/>
                <a:latin typeface="Segoe UI" panose="020B0502040204020203" pitchFamily="34" charset="0"/>
              </a:rPr>
              <a:t>Subscription</a:t>
            </a:r>
          </a:p>
          <a:p>
            <a:pPr marL="228600" indent="-228600" rtl="0">
              <a:buFont typeface="Arial" panose="020B0604020202020204" pitchFamily="34" charset="0"/>
              <a:buChar char="•"/>
            </a:pPr>
            <a:r>
              <a:rPr lang="en-US" b="0" baseline="0" dirty="0">
                <a:effectLst/>
                <a:latin typeface="Segoe UI" panose="020B0502040204020203" pitchFamily="34" charset="0"/>
              </a:rPr>
              <a:t>Resource group</a:t>
            </a:r>
          </a:p>
          <a:p>
            <a:pPr marL="228600" indent="-228600" rtl="0">
              <a:buFont typeface="Arial" panose="020B0604020202020204" pitchFamily="34" charset="0"/>
              <a:buChar char="•"/>
            </a:pPr>
            <a:r>
              <a:rPr lang="en-US" b="0" baseline="0" dirty="0">
                <a:effectLst/>
                <a:latin typeface="Segoe UI" panose="020B0502040204020203" pitchFamily="34" charset="0"/>
              </a:rPr>
              <a:t>Server name</a:t>
            </a:r>
          </a:p>
          <a:p>
            <a:pPr marL="228600" indent="-228600" rtl="0">
              <a:buFont typeface="Arial" panose="020B0604020202020204" pitchFamily="34" charset="0"/>
              <a:buChar char="•"/>
            </a:pPr>
            <a:r>
              <a:rPr lang="en-US" b="0" baseline="0" dirty="0">
                <a:effectLst/>
                <a:latin typeface="Segoe UI" panose="020B0502040204020203" pitchFamily="34" charset="0"/>
              </a:rPr>
              <a:t>Location</a:t>
            </a:r>
          </a:p>
          <a:p>
            <a:pPr marL="228600" indent="-228600" rtl="0">
              <a:buFont typeface="Arial" panose="020B0604020202020204" pitchFamily="34" charset="0"/>
              <a:buChar char="•"/>
            </a:pPr>
            <a:r>
              <a:rPr lang="en-US" b="0" baseline="0" dirty="0">
                <a:effectLst/>
                <a:latin typeface="Segoe UI" panose="020B0502040204020203" pitchFamily="34" charset="0"/>
              </a:rPr>
              <a:t>Server admin login</a:t>
            </a:r>
          </a:p>
          <a:p>
            <a:pPr marL="228600" indent="-228600" rtl="0">
              <a:buFont typeface="Arial" panose="020B0604020202020204" pitchFamily="34" charset="0"/>
              <a:buChar char="•"/>
            </a:pPr>
            <a:r>
              <a:rPr lang="en-US" b="0" baseline="0" dirty="0">
                <a:effectLst/>
                <a:latin typeface="Segoe UI" panose="020B0502040204020203" pitchFamily="34" charset="0"/>
              </a:rPr>
              <a:t>Password</a:t>
            </a:r>
          </a:p>
          <a:p>
            <a:pPr rtl="0"/>
            <a:r>
              <a:rPr lang="en-US" b="1" baseline="0" dirty="0">
                <a:effectLst/>
                <a:latin typeface="Segoe UI" panose="020B0502040204020203" pitchFamily="34" charset="0"/>
              </a:rPr>
              <a:t>Networking</a:t>
            </a:r>
          </a:p>
          <a:p>
            <a:pPr rtl="0"/>
            <a:r>
              <a:rPr lang="en-US" b="0" baseline="0" dirty="0">
                <a:effectLst/>
                <a:latin typeface="Segoe UI" panose="020B0502040204020203" pitchFamily="34" charset="0"/>
              </a:rPr>
              <a:t>Firewall rules, allow Azure services and resources to access this server (Yes/No)</a:t>
            </a:r>
          </a:p>
          <a:p>
            <a:pPr rtl="0"/>
            <a:r>
              <a:rPr lang="en-US" sz="800" b="1" i="0" kern="1200" dirty="0">
                <a:solidFill>
                  <a:schemeClr val="tx1"/>
                </a:solidFill>
                <a:effectLst/>
                <a:latin typeface="Segoe UI Light" pitchFamily="34" charset="0"/>
                <a:ea typeface="+mn-ea"/>
                <a:cs typeface="+mn-cs"/>
              </a:rPr>
              <a:t>Advanced data security</a:t>
            </a:r>
          </a:p>
          <a:p>
            <a:pPr rtl="0"/>
            <a:r>
              <a:rPr lang="en-US" b="0" baseline="0" dirty="0">
                <a:effectLst/>
                <a:latin typeface="Segoe UI" panose="020B0502040204020203" pitchFamily="34" charset="0"/>
              </a:rPr>
              <a:t>Enable advanced data security (Start free trial/Not now)</a:t>
            </a:r>
          </a:p>
          <a:p>
            <a:pPr rtl="0"/>
            <a:endParaRPr lang="en-US" b="0" baseline="0" dirty="0">
              <a:effectLst/>
              <a:latin typeface="Segoe UI" panose="020B0502040204020203" pitchFamily="34" charset="0"/>
            </a:endParaRPr>
          </a:p>
          <a:p>
            <a:pPr rtl="0"/>
            <a:r>
              <a:rPr lang="en-US" b="0" baseline="0" dirty="0">
                <a:effectLst/>
                <a:latin typeface="Segoe UI" panose="020B0502040204020203" pitchFamily="34" charset="0"/>
              </a:rPr>
              <a:t>You can also use Azure PowerShell or Command Line Interface (CLI) to provision the logical SQL Server.</a:t>
            </a:r>
            <a:endParaRPr lang="en-US" b="0" dirty="0">
              <a:effectLst/>
            </a:endParaRPr>
          </a:p>
          <a:p>
            <a:endParaRPr lang="nl-BE"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25740171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irewall overview</a:t>
            </a:r>
          </a:p>
          <a:p>
            <a:r>
              <a:rPr lang="en-US"/>
              <a:t>Initially, all Transact-SQL access to your Azure SQL Server is blocked by the firewall. To begin using your Azure SQL Server, you can specify one or more server-level firewall rules that enable access. Use the firewall rules to specify which IP address ranges from the Internet are allowed, and whether Azure applications can attempt to connect to your Azure SQL Server. Of course, additionally, a login and password is still required for access.</a:t>
            </a:r>
          </a:p>
          <a:p>
            <a:r>
              <a:rPr lang="en-US"/>
              <a:t>To selectively grant access to just one of the databases in your Azure SQL Server, you must create a database-level rule for the required database. Specify an IP address range for the database firewall rule that is outside the IP address range specified in the server-level firewall rule, and ensure that the IP address of the client falls in the range specified in the database-level rule.</a:t>
            </a:r>
          </a:p>
          <a:p>
            <a:r>
              <a:rPr lang="en-US"/>
              <a:t>Connection attempts from the Internet and Azure must first pass through the firewall before they can reach your Azure SQL Server or SQL Database, as shown in the diagram:</a:t>
            </a:r>
          </a:p>
          <a:p>
            <a:endParaRPr lang="en-US"/>
          </a:p>
          <a:p>
            <a:pPr rtl="0"/>
            <a:r>
              <a:rPr lang="en-US" b="1"/>
              <a:t>Server-level firewall rules:</a:t>
            </a:r>
            <a:r>
              <a:rPr lang="en-US"/>
              <a:t> These rules enable clients to access your entire Azure SQL Server, that is, all the databases within the same logical server. These rules are stored in the </a:t>
            </a:r>
            <a:r>
              <a:rPr lang="en-US" b="1"/>
              <a:t>master</a:t>
            </a:r>
            <a:r>
              <a:rPr lang="en-US"/>
              <a:t> database. Server-level firewall rules can be configured by using the portal or by using Transact-SQL statements. To create server-level firewall rules using the Azure portal or PowerShell, you must be the subscription owner or a subscription contributor. To create a server-level firewall rule using Transact-SQL, you must connect to the SQL Database instance as the server-level principal login or the Azure Active Directory administrator (which means that a server-level firewall rule must first be created by a user with Azure-level permissions).</a:t>
            </a:r>
          </a:p>
          <a:p>
            <a:pPr rtl="0"/>
            <a:r>
              <a:rPr lang="en-US" b="1"/>
              <a:t>Database-level firewall rules:</a:t>
            </a:r>
            <a:r>
              <a:rPr lang="en-US"/>
              <a:t> These rules enable clients to access certain (secure) databases within the same logical server. You can create these rules for each database (including the </a:t>
            </a:r>
            <a:r>
              <a:rPr lang="en-US" b="1"/>
              <a:t>master</a:t>
            </a:r>
            <a:r>
              <a:rPr lang="en-US"/>
              <a:t> database) and they are stored in the individual databases. Database-level firewall rules for master and user databases can only be created and managed by using Transact-SQL statements and only after you have configured the first server-level firewall. If you specify an IP address range in the database-level firewall rule that is outside the range specified in the server-level firewall rule, only those clients that have IP addresses in the database-level range can access the database. You can have a maximum of 128 database-level firewall rules for a database. For more information on configuring database-level firewall rules, see the example later in this article and see </a:t>
            </a:r>
            <a:r>
              <a:rPr lang="en-US" err="1">
                <a:hlinkClick r:id="rId3"/>
              </a:rPr>
              <a:t>sp_set_database_firewall_rule</a:t>
            </a:r>
            <a:r>
              <a:rPr lang="en-US">
                <a:hlinkClick r:id="rId3"/>
              </a:rPr>
              <a:t> (Azure SQL Databases)</a:t>
            </a:r>
            <a:r>
              <a:rPr lang="en-US"/>
              <a:t>.</a:t>
            </a:r>
          </a:p>
          <a:p>
            <a:pPr rtl="0"/>
            <a:endParaRPr lang="en-US" b="1"/>
          </a:p>
          <a:p>
            <a:pPr rtl="0"/>
            <a:r>
              <a:rPr lang="en-US" b="1"/>
              <a:t>Recommendation:</a:t>
            </a:r>
            <a:r>
              <a:rPr lang="en-US"/>
              <a:t> Microsoft recommends using database-level firewall rules whenever possible to enhance security and to make your database more portable. Use server-level firewall rules for administrators and when you have many databases that have the same access requirements and you don't want to spend time configuring each database individually.</a:t>
            </a:r>
          </a:p>
          <a:p>
            <a:pPr rtl="0"/>
            <a:endParaRPr lang="en-US"/>
          </a:p>
          <a:p>
            <a:pPr rtl="0"/>
            <a:r>
              <a:rPr lang="en-US"/>
              <a:t>Further details will be discussed in the security modul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2704899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1L02Demo01</a:t>
            </a:r>
          </a:p>
          <a:p>
            <a:endParaRPr lang="en-US" b="1"/>
          </a:p>
          <a:p>
            <a:r>
              <a:rPr lang="en-US" b="1"/>
              <a:t>Demo setup instructions</a:t>
            </a:r>
          </a:p>
          <a:p>
            <a:pPr marL="171450" indent="-171450">
              <a:buFont typeface="Arial" panose="020B0604020202020204" pitchFamily="34" charset="0"/>
              <a:buChar char="•"/>
            </a:pPr>
            <a:r>
              <a:rPr lang="en-US"/>
              <a:t>The latest version of the SQL Server Management Studio</a:t>
            </a:r>
          </a:p>
          <a:p>
            <a:pPr marL="0" indent="0">
              <a:buFont typeface="Arial" panose="020B0604020202020204" pitchFamily="34" charset="0"/>
              <a:buNone/>
            </a:pPr>
            <a:r>
              <a:rPr lang="en-US" b="1"/>
              <a:t>Steps</a:t>
            </a:r>
          </a:p>
          <a:p>
            <a:pPr marL="228600" indent="-228600">
              <a:buFont typeface="Arial" panose="020B0604020202020204" pitchFamily="34" charset="0"/>
              <a:buAutoNum type="arabicPeriod"/>
            </a:pPr>
            <a:r>
              <a:rPr lang="en-US" b="1"/>
              <a:t>Connect to the Azure Portal, click on “Create a resource” and search for SQL Server (logical server)</a:t>
            </a:r>
          </a:p>
          <a:p>
            <a:pPr marL="228600" indent="-228600">
              <a:buFont typeface="Arial" panose="020B0604020202020204" pitchFamily="34" charset="0"/>
              <a:buAutoNum type="arabicPeriod"/>
            </a:pPr>
            <a:r>
              <a:rPr lang="en-US" b="1"/>
              <a:t>Create a logical server</a:t>
            </a: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Name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myazuresrv</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if the name is already in use, try another name until you notice that it’s not yet in use)</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Admin Login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Admi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ord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onfirm password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ubscription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your subscriptio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esource Group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reate New and specify the name </a:t>
            </a:r>
            <a:r>
              <a:rPr lang="en-US" sz="90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DB</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G</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Location		</a:t>
            </a:r>
            <a:r>
              <a:rPr lang="en-US"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the location that is the closest to your location</a:t>
            </a:r>
            <a:endParaRPr lang="nl-BE" sz="90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b="1"/>
          </a:p>
          <a:p>
            <a:pPr marL="0" indent="0">
              <a:buFont typeface="Arial" panose="020B0604020202020204" pitchFamily="34" charset="0"/>
              <a:buNone/>
            </a:pPr>
            <a:r>
              <a:rPr lang="en-US" b="1"/>
              <a:t>3. Examine the different server options (Failover Groups, Manage backups, AD Admin, Security, Automatic Tuning…) Give a short overview, not in detail because this will be discussed later in the Workshop.</a:t>
            </a:r>
          </a:p>
          <a:p>
            <a:pPr marL="0" indent="0">
              <a:buFont typeface="Arial" panose="020B0604020202020204" pitchFamily="34" charset="0"/>
              <a:buNone/>
            </a:pPr>
            <a:endParaRPr lang="en-US" b="1"/>
          </a:p>
          <a:p>
            <a:pPr marL="0" indent="0">
              <a:buFont typeface="+mj-lt"/>
              <a:buNone/>
            </a:pPr>
            <a:r>
              <a:rPr lang="en-US" sz="900" b="1" kern="1200">
                <a:solidFill>
                  <a:schemeClr val="tx1"/>
                </a:solidFill>
                <a:effectLst/>
                <a:latin typeface="Segoe UI Light" pitchFamily="34" charset="0"/>
                <a:ea typeface="+mn-ea"/>
                <a:cs typeface="+mn-cs"/>
              </a:rPr>
              <a:t>4. Create the firewall rules on the logical server. Add the Client IP address.</a:t>
            </a:r>
          </a:p>
          <a:p>
            <a:pPr marL="0" indent="0">
              <a:buFont typeface="+mj-lt"/>
              <a:buNone/>
            </a:pPr>
            <a:r>
              <a:rPr lang="en-US" b="1"/>
              <a:t>5. Create Azure SQL Database with the portal. Go to your logical server – Overview – Click on New database</a:t>
            </a:r>
          </a:p>
          <a:p>
            <a:pPr marL="217262" lvl="1" indent="0">
              <a:buFontTx/>
              <a:buNone/>
            </a:pPr>
            <a:r>
              <a:rPr lang="en-US" sz="900" b="1" kern="1200">
                <a:solidFill>
                  <a:schemeClr val="tx1"/>
                </a:solidFill>
                <a:effectLst/>
                <a:latin typeface="Segoe UI Light" pitchFamily="34" charset="0"/>
                <a:ea typeface="+mn-ea"/>
                <a:cs typeface="+mn-cs"/>
              </a:rPr>
              <a:t>Database name	</a:t>
            </a:r>
            <a:r>
              <a:rPr lang="en-US" sz="900" b="1" kern="1200" err="1">
                <a:solidFill>
                  <a:schemeClr val="tx1"/>
                </a:solidFill>
                <a:effectLst/>
                <a:latin typeface="Segoe UI Light" pitchFamily="34" charset="0"/>
                <a:ea typeface="+mn-ea"/>
                <a:cs typeface="+mn-cs"/>
              </a:rPr>
              <a:t>Salesdb</a:t>
            </a:r>
            <a:endParaRPr lang="en-US" sz="900" b="1" kern="1200">
              <a:solidFill>
                <a:schemeClr val="tx1"/>
              </a:solidFill>
              <a:effectLst/>
              <a:latin typeface="Segoe UI Light" pitchFamily="34" charset="0"/>
              <a:ea typeface="+mn-ea"/>
              <a:cs typeface="+mn-cs"/>
            </a:endParaRPr>
          </a:p>
          <a:p>
            <a:pPr marL="217262" lvl="1" indent="0">
              <a:buFontTx/>
              <a:buNone/>
            </a:pPr>
            <a:r>
              <a:rPr lang="en-US" sz="900" b="1" kern="1200">
                <a:solidFill>
                  <a:schemeClr val="tx1"/>
                </a:solidFill>
                <a:effectLst/>
                <a:latin typeface="Segoe UI Light" pitchFamily="34" charset="0"/>
                <a:ea typeface="+mn-ea"/>
                <a:cs typeface="+mn-cs"/>
              </a:rPr>
              <a:t>Source Database	</a:t>
            </a:r>
            <a:r>
              <a:rPr lang="en-US" sz="900" b="0" kern="1200">
                <a:solidFill>
                  <a:schemeClr val="tx1"/>
                </a:solidFill>
                <a:effectLst/>
                <a:latin typeface="Segoe UI Light" pitchFamily="34" charset="0"/>
                <a:ea typeface="+mn-ea"/>
                <a:cs typeface="+mn-cs"/>
              </a:rPr>
              <a:t>Blank Database</a:t>
            </a:r>
            <a:endParaRPr lang="nl-BE" sz="900" b="0" kern="1200">
              <a:solidFill>
                <a:schemeClr val="tx1"/>
              </a:solidFill>
              <a:effectLst/>
              <a:latin typeface="Segoe UI Light" pitchFamily="34" charset="0"/>
              <a:ea typeface="+mn-ea"/>
              <a:cs typeface="+mn-cs"/>
            </a:endParaRPr>
          </a:p>
          <a:p>
            <a:pPr marL="217262" lvl="1" indent="0">
              <a:buFontTx/>
              <a:buNone/>
            </a:pPr>
            <a:r>
              <a:rPr lang="nl-BE" sz="900" b="1" kern="1200">
                <a:solidFill>
                  <a:schemeClr val="tx1"/>
                </a:solidFill>
                <a:effectLst/>
                <a:latin typeface="Segoe UI Light" pitchFamily="34" charset="0"/>
                <a:ea typeface="+mn-ea"/>
                <a:cs typeface="+mn-cs"/>
              </a:rPr>
              <a:t>Server		</a:t>
            </a:r>
            <a:r>
              <a:rPr lang="nl-BE" sz="900" b="0" kern="1200">
                <a:solidFill>
                  <a:schemeClr val="tx1"/>
                </a:solidFill>
                <a:effectLst/>
                <a:latin typeface="Segoe UI Light" pitchFamily="34" charset="0"/>
                <a:ea typeface="+mn-ea"/>
                <a:cs typeface="+mn-cs"/>
              </a:rPr>
              <a:t>This should be your logical server name</a:t>
            </a:r>
          </a:p>
          <a:p>
            <a:pPr marL="217262" marR="0" lvl="1"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Want to use SQL elastic pool?	</a:t>
            </a:r>
            <a:r>
              <a:rPr lang="en-US" sz="900" kern="1200">
                <a:solidFill>
                  <a:schemeClr val="tx1"/>
                </a:solidFill>
                <a:effectLst/>
                <a:latin typeface="Segoe UI Light" pitchFamily="34" charset="0"/>
                <a:ea typeface="+mn-ea"/>
                <a:cs typeface="+mn-cs"/>
              </a:rPr>
              <a:t>Not now</a:t>
            </a:r>
            <a:endParaRPr lang="nl-BE" sz="900" kern="1200">
              <a:solidFill>
                <a:schemeClr val="tx1"/>
              </a:solidFill>
              <a:effectLst/>
              <a:latin typeface="Segoe UI Light" pitchFamily="34" charset="0"/>
              <a:ea typeface="+mn-ea"/>
              <a:cs typeface="+mn-cs"/>
            </a:endParaRPr>
          </a:p>
          <a:p>
            <a:pPr marL="217262" lvl="1" indent="0">
              <a:buFontTx/>
              <a:buNone/>
            </a:pPr>
            <a:r>
              <a:rPr lang="nl-BE" sz="900" b="1" kern="1200">
                <a:solidFill>
                  <a:schemeClr val="tx1"/>
                </a:solidFill>
                <a:effectLst/>
                <a:latin typeface="Segoe UI Light" pitchFamily="34" charset="0"/>
                <a:ea typeface="+mn-ea"/>
                <a:cs typeface="+mn-cs"/>
              </a:rPr>
              <a:t>Pricing Tier		</a:t>
            </a:r>
            <a:r>
              <a:rPr lang="nl-BE" sz="900" b="0" kern="1200">
                <a:solidFill>
                  <a:schemeClr val="tx1"/>
                </a:solidFill>
                <a:effectLst/>
                <a:latin typeface="Segoe UI Light" pitchFamily="34" charset="0"/>
                <a:ea typeface="+mn-ea"/>
                <a:cs typeface="+mn-cs"/>
              </a:rPr>
              <a:t>Basic</a:t>
            </a:r>
            <a:endParaRPr lang="nl-BE" sz="900" b="1" kern="1200">
              <a:solidFill>
                <a:schemeClr val="tx1"/>
              </a:solidFill>
              <a:effectLst/>
              <a:latin typeface="Segoe UI Light" pitchFamily="34" charset="0"/>
              <a:ea typeface="+mn-ea"/>
              <a:cs typeface="+mn-cs"/>
            </a:endParaRPr>
          </a:p>
          <a:p>
            <a:pPr marL="217262" lvl="1" indent="0">
              <a:buFontTx/>
              <a:buNone/>
            </a:pPr>
            <a:r>
              <a:rPr lang="en-US" sz="900" b="1" kern="1200">
                <a:solidFill>
                  <a:schemeClr val="tx1"/>
                </a:solidFill>
                <a:effectLst/>
                <a:latin typeface="Segoe UI Light" pitchFamily="34" charset="0"/>
                <a:ea typeface="+mn-ea"/>
                <a:cs typeface="+mn-cs"/>
              </a:rPr>
              <a:t>Collation		</a:t>
            </a:r>
            <a:r>
              <a:rPr lang="en-US" sz="900" kern="1200">
                <a:solidFill>
                  <a:schemeClr val="tx1"/>
                </a:solidFill>
                <a:effectLst/>
                <a:latin typeface="Segoe UI Light" pitchFamily="34" charset="0"/>
                <a:ea typeface="+mn-ea"/>
                <a:cs typeface="+mn-cs"/>
              </a:rPr>
              <a:t>SQL_Latin1_General_CP1_CI_AS</a:t>
            </a:r>
            <a:endParaRPr lang="nl-BE" sz="900" kern="1200">
              <a:solidFill>
                <a:schemeClr val="tx1"/>
              </a:solidFill>
              <a:effectLst/>
              <a:latin typeface="Segoe UI Light" pitchFamily="34" charset="0"/>
              <a:ea typeface="+mn-ea"/>
              <a:cs typeface="+mn-cs"/>
            </a:endParaRPr>
          </a:p>
          <a:p>
            <a:pPr marL="228600" indent="-228600">
              <a:buFont typeface="+mj-lt"/>
              <a:buAutoNum type="arabicPeriod" startAt="3"/>
            </a:pPr>
            <a:endParaRPr lang="en-US" b="1"/>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1321166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598129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use SQL Server Management Studio (SSMS) by providing your FQDN:</a:t>
            </a:r>
          </a:p>
          <a:p>
            <a:r>
              <a:rPr lang="en-US" b="1" dirty="0"/>
              <a:t>&lt;Server name&gt;.database.windows.net</a:t>
            </a:r>
          </a:p>
          <a:p>
            <a:r>
              <a:rPr lang="en-US" dirty="0"/>
              <a:t>And providing a valid Login and Password. </a:t>
            </a:r>
          </a:p>
          <a:p>
            <a:endParaRPr lang="en-US" dirty="0"/>
          </a:p>
          <a:p>
            <a:r>
              <a:rPr lang="en-US" dirty="0"/>
              <a:t>Always use the latest version of SSMS because it is continually improved to work with the latest updates to Azure and SQL Database. Some old versions of management cannot connect to a SQL Azure databas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2653581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https://azure.microsoft.com/en-us/global-infrastructure/reg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Microsoft Azure is Microsoft's public cloud computing platform and infrastructure for building, deploying, and managing applications and services through a global network of Microsoft-managed datacenters. It provides both PaaS and IaaS services and supports many different programming languages, tools and frameworks, including both Microsoft-specific and third-party software and systems. It consists of over</a:t>
            </a:r>
            <a:r>
              <a:rPr lang="en-US" sz="800" baseline="0" dirty="0"/>
              <a:t> </a:t>
            </a:r>
            <a:r>
              <a:rPr lang="en-US" sz="800" dirty="0"/>
              <a:t>140 </a:t>
            </a:r>
            <a:r>
              <a:rPr lang="en-US" sz="800" dirty="0">
                <a:solidFill>
                  <a:schemeClr val="tx1"/>
                </a:solidFill>
                <a:latin typeface="Segoe UI Light" panose="020B0502040204020203" pitchFamily="34" charset="0"/>
                <a:cs typeface="Segoe UI Light" panose="020B0502040204020203" pitchFamily="34" charset="0"/>
              </a:rPr>
              <a:t>countries</a:t>
            </a:r>
            <a:r>
              <a:rPr lang="en-US" sz="800" dirty="0"/>
              <a:t> across 56 regions worldwide with more being added all the time. It provides hyper scale computing capabilities and makes up the top 3 networks in the world.</a:t>
            </a:r>
            <a:r>
              <a:rPr lang="en-US" sz="800" baseline="0" dirty="0"/>
              <a:t> </a:t>
            </a:r>
          </a:p>
          <a:p>
            <a:endParaRPr lang="en-US" dirty="0"/>
          </a:p>
          <a:p>
            <a:endParaRPr lang="en-US" dirty="0"/>
          </a:p>
          <a:p>
            <a:r>
              <a:rPr lang="en-US" sz="800" b="1" i="0" u="none" strike="noStrike" kern="1200" dirty="0">
                <a:solidFill>
                  <a:schemeClr val="tx1"/>
                </a:solidFill>
                <a:effectLst/>
                <a:latin typeface="Segoe UI Light" pitchFamily="34" charset="0"/>
                <a:ea typeface="+mn-ea"/>
                <a:cs typeface="+mn-cs"/>
              </a:rPr>
              <a:t>Azure regions</a:t>
            </a:r>
          </a:p>
          <a:p>
            <a:r>
              <a:rPr lang="en-US" sz="800" b="0" i="0" u="none" strike="noStrike" kern="1200" dirty="0">
                <a:solidFill>
                  <a:schemeClr val="tx1"/>
                </a:solidFill>
                <a:effectLst/>
                <a:latin typeface="Segoe UI Light" pitchFamily="34" charset="0"/>
                <a:ea typeface="+mn-ea"/>
                <a:cs typeface="+mn-cs"/>
              </a:rPr>
              <a:t>Azure has more global regions than any other cloud provider—offering the scale needed to bring applications closer to users around the world, preserving data residency, and offering comprehensive compliance and resiliency options for customers.</a:t>
            </a:r>
          </a:p>
          <a:p>
            <a:endParaRPr lang="en-US" dirty="0"/>
          </a:p>
          <a:p>
            <a:endParaRPr lang="en-US" dirty="0"/>
          </a:p>
          <a:p>
            <a:r>
              <a:rPr lang="en-US" sz="800" b="1" i="0" u="none" strike="noStrike" kern="1200" dirty="0">
                <a:solidFill>
                  <a:schemeClr val="tx1"/>
                </a:solidFill>
                <a:effectLst/>
                <a:latin typeface="Segoe UI Light" pitchFamily="34" charset="0"/>
                <a:ea typeface="+mn-ea"/>
                <a:cs typeface="+mn-cs"/>
              </a:rPr>
              <a:t>Scale globally</a:t>
            </a:r>
          </a:p>
          <a:p>
            <a:r>
              <a:rPr lang="en-US" sz="800" b="0" i="0" u="none" strike="noStrike" kern="1200" dirty="0">
                <a:solidFill>
                  <a:schemeClr val="tx1"/>
                </a:solidFill>
                <a:effectLst/>
                <a:latin typeface="Segoe UI Light" pitchFamily="34" charset="0"/>
                <a:ea typeface="+mn-ea"/>
                <a:cs typeface="+mn-cs"/>
              </a:rPr>
              <a:t>Reach more locations, faster, with the performance and reliability of a vast global infrastructure.</a:t>
            </a:r>
          </a:p>
          <a:p>
            <a:r>
              <a:rPr lang="en-US" sz="800" b="1" i="0" u="none" strike="noStrike" kern="1200" dirty="0">
                <a:solidFill>
                  <a:schemeClr val="tx1"/>
                </a:solidFill>
                <a:effectLst/>
                <a:latin typeface="Segoe UI Light" pitchFamily="34" charset="0"/>
                <a:ea typeface="+mn-ea"/>
                <a:cs typeface="+mn-cs"/>
              </a:rPr>
              <a:t>Safeguard data</a:t>
            </a:r>
          </a:p>
          <a:p>
            <a:r>
              <a:rPr lang="en-US" sz="800" b="0" i="0" u="none" strike="noStrike" kern="1200" dirty="0">
                <a:solidFill>
                  <a:schemeClr val="tx1"/>
                </a:solidFill>
                <a:effectLst/>
                <a:latin typeface="Segoe UI Light" pitchFamily="34" charset="0"/>
                <a:ea typeface="+mn-ea"/>
                <a:cs typeface="+mn-cs"/>
              </a:rPr>
              <a:t>Rely on industry-leading data security in the region and across our network.</a:t>
            </a:r>
          </a:p>
          <a:p>
            <a:r>
              <a:rPr lang="en-US" sz="800" b="1" i="0" u="none" strike="noStrike" kern="1200" dirty="0">
                <a:solidFill>
                  <a:schemeClr val="tx1"/>
                </a:solidFill>
                <a:effectLst/>
                <a:latin typeface="Segoe UI Light" pitchFamily="34" charset="0"/>
                <a:ea typeface="+mn-ea"/>
                <a:cs typeface="+mn-cs"/>
              </a:rPr>
              <a:t>Promote sustainability</a:t>
            </a:r>
          </a:p>
          <a:p>
            <a:r>
              <a:rPr lang="en-US" sz="800" b="0" i="0" u="none" strike="noStrike" kern="1200" dirty="0">
                <a:solidFill>
                  <a:schemeClr val="tx1"/>
                </a:solidFill>
                <a:effectLst/>
                <a:latin typeface="Segoe UI Light" pitchFamily="34" charset="0"/>
                <a:ea typeface="+mn-ea"/>
                <a:cs typeface="+mn-cs"/>
              </a:rPr>
              <a:t>Help build a clean-energy future and accelerate progress toward your sustainability goals.</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9644314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use SQL Server Data Tools (SSDT) by providing your FQDN:</a:t>
            </a:r>
          </a:p>
          <a:p>
            <a:r>
              <a:rPr lang="en-US" b="1" dirty="0"/>
              <a:t>&lt;Server name&gt;.database.windows.net</a:t>
            </a:r>
          </a:p>
          <a:p>
            <a:r>
              <a:rPr lang="en-US" dirty="0"/>
              <a:t>And providing a valid Login and Password.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38526674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zure Data Studio is a cross-platform database tool for data professionals running on Windows, MacOS, and Linux which offers a modern editor experience with </a:t>
            </a:r>
            <a:r>
              <a:rPr lang="en-US" dirty="0" err="1"/>
              <a:t>Intellisense</a:t>
            </a:r>
            <a:r>
              <a:rPr lang="en-US" dirty="0"/>
              <a:t>, code snippets, source control integration, and an integrated terminal. It is engineered with built in charting of query result sets and customizable dashboard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8729321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zure portal is a web-based application where you can create, update, and delete databases and logical servers and monitor database activity. This tool is great if you're just getting started with Azure, managing a few databases, or need to do something quickly.</a:t>
            </a:r>
          </a:p>
          <a:p>
            <a:r>
              <a:rPr lang="en-US" dirty="0">
                <a:hlinkClick r:id="rId3"/>
              </a:rPr>
              <a:t>https://docs.microsoft.com/en-us/azure/sql-database/sql-database-manage-portal</a:t>
            </a:r>
            <a:r>
              <a:rPr lang="en-US" dirty="0"/>
              <a:t>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2847648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and Off</a:t>
            </a:r>
          </a:p>
          <a:p>
            <a:pPr marL="0" lvl="1" defTabSz="1002183" fontAlgn="base">
              <a:spcAft>
                <a:spcPct val="0"/>
              </a:spcAft>
              <a:defRPr/>
            </a:pPr>
            <a:r>
              <a:rPr lang="en-US" sz="1122" kern="0">
                <a:solidFill>
                  <a:srgbClr val="292929">
                    <a:alpha val="99000"/>
                  </a:srgbClr>
                </a:solidFill>
                <a:latin typeface="+mn-lt"/>
                <a:ea typeface="Kozuka Gothic Pro R" pitchFamily="34" charset="-128"/>
              </a:rPr>
              <a:t>On and off workloads (for example: batch job).</a:t>
            </a:r>
          </a:p>
          <a:p>
            <a:pPr marL="0" lvl="1" defTabSz="1002183" fontAlgn="base">
              <a:spcAft>
                <a:spcPct val="0"/>
              </a:spcAft>
              <a:defRPr/>
            </a:pPr>
            <a:r>
              <a:rPr lang="en-US" sz="1122" kern="0">
                <a:solidFill>
                  <a:srgbClr val="292929">
                    <a:alpha val="99000"/>
                  </a:srgbClr>
                </a:solidFill>
                <a:latin typeface="+mn-lt"/>
                <a:ea typeface="Kozuka Gothic Pro R" pitchFamily="34" charset="-128"/>
              </a:rPr>
              <a:t>Over provisioned capacity is wasted.</a:t>
            </a:r>
          </a:p>
          <a:p>
            <a:pPr marL="0" lvl="1" defTabSz="1002183" fontAlgn="base">
              <a:spcAft>
                <a:spcPct val="0"/>
              </a:spcAft>
              <a:defRPr/>
            </a:pPr>
            <a:r>
              <a:rPr lang="en-US" sz="1122" kern="0">
                <a:solidFill>
                  <a:srgbClr val="292929">
                    <a:alpha val="99000"/>
                  </a:srgbClr>
                </a:solidFill>
                <a:latin typeface="+mn-lt"/>
                <a:ea typeface="Kozuka Gothic Pro R" pitchFamily="34" charset="-128"/>
              </a:rPr>
              <a:t>Time to market can be cumbersome.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Growing Fast</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uccessful services needs to grow/scal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Keeping up with growth is a big IT challeng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Cannot provision hardware fast enough.</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Unpredictable Bursting</a:t>
            </a:r>
          </a:p>
          <a:p>
            <a:pPr marL="0" lvl="1" defTabSz="1002183" fontAlgn="base">
              <a:spcAft>
                <a:spcPct val="0"/>
              </a:spcAft>
              <a:defRPr/>
            </a:pPr>
            <a:r>
              <a:rPr lang="en-US" sz="1122" kern="0">
                <a:solidFill>
                  <a:srgbClr val="292929">
                    <a:alpha val="99000"/>
                  </a:srgbClr>
                </a:solidFill>
                <a:latin typeface="+mn-lt"/>
                <a:ea typeface="Kozuka Gothic Pro R" pitchFamily="34" charset="-128"/>
              </a:rPr>
              <a:t>Unexpected/unplanned peak in demand.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udden spike impacts performance.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Cannot over provision for extreme cas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kern="0">
                <a:solidFill>
                  <a:srgbClr val="00AEEF">
                    <a:alpha val="99000"/>
                  </a:srgbClr>
                </a:solidFill>
                <a:latin typeface="Segoe UI" pitchFamily="34" charset="0"/>
                <a:ea typeface="Segoe UI" pitchFamily="34" charset="0"/>
                <a:cs typeface="Segoe UI" pitchFamily="34" charset="0"/>
              </a:rPr>
              <a:t>Predictable Bursting</a:t>
            </a:r>
          </a:p>
          <a:p>
            <a:pPr marL="0" lvl="1" defTabSz="1002183" fontAlgn="base">
              <a:spcAft>
                <a:spcPct val="0"/>
              </a:spcAft>
              <a:defRPr/>
            </a:pPr>
            <a:r>
              <a:rPr lang="en-US" sz="1122" kern="0">
                <a:solidFill>
                  <a:srgbClr val="292929">
                    <a:alpha val="99000"/>
                  </a:srgbClr>
                </a:solidFill>
                <a:latin typeface="+mn-lt"/>
                <a:ea typeface="Kozuka Gothic Pro R" pitchFamily="34" charset="-128"/>
              </a:rPr>
              <a:t>Services with micro seasonality trends.   </a:t>
            </a:r>
          </a:p>
          <a:p>
            <a:pPr marL="0" lvl="1" defTabSz="1002183" fontAlgn="base">
              <a:spcAft>
                <a:spcPct val="0"/>
              </a:spcAft>
              <a:defRPr/>
            </a:pPr>
            <a:r>
              <a:rPr lang="en-US" sz="1122" kern="0">
                <a:solidFill>
                  <a:srgbClr val="292929">
                    <a:alpha val="99000"/>
                  </a:srgbClr>
                </a:solidFill>
                <a:latin typeface="+mn-lt"/>
                <a:ea typeface="Kozuka Gothic Pro R" pitchFamily="34" charset="-128"/>
              </a:rPr>
              <a:t>Peaks due to periodic increased demand.</a:t>
            </a:r>
          </a:p>
          <a:p>
            <a:pPr marL="0" lvl="1" defTabSz="1002183" fontAlgn="base">
              <a:spcAft>
                <a:spcPct val="0"/>
              </a:spcAft>
              <a:defRPr/>
            </a:pPr>
            <a:r>
              <a:rPr lang="en-US" sz="1122" kern="0">
                <a:solidFill>
                  <a:srgbClr val="292929">
                    <a:alpha val="99000"/>
                  </a:srgbClr>
                </a:solidFill>
                <a:latin typeface="+mn-lt"/>
                <a:ea typeface="Kozuka Gothic Pro R" pitchFamily="34" charset="-128"/>
              </a:rPr>
              <a:t>IT complexity and wasted capacity.</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1625581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zure SQL Database is a fully-managed platform-as-a-service.</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This means </a:t>
            </a:r>
            <a:r>
              <a:rPr lang="en-US" sz="1200" b="1" kern="1200" dirty="0">
                <a:solidFill>
                  <a:schemeClr val="tx1"/>
                </a:solidFill>
                <a:effectLst/>
                <a:latin typeface="+mn-lt"/>
                <a:ea typeface="+mn-ea"/>
                <a:cs typeface="+mn-cs"/>
              </a:rPr>
              <a:t>Microsoft operates SQL Server for you, </a:t>
            </a:r>
            <a:r>
              <a:rPr lang="en-US" sz="1200" kern="1200" dirty="0">
                <a:solidFill>
                  <a:schemeClr val="tx1"/>
                </a:solidFill>
                <a:effectLst/>
                <a:latin typeface="+mn-lt"/>
                <a:ea typeface="+mn-ea"/>
                <a:cs typeface="+mn-cs"/>
              </a:rPr>
              <a:t>assuming much of the daily maintenance, administration and infrastructure costs of your IT organization.</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Quickly realize spend and operational efficiencies </a:t>
            </a:r>
            <a:r>
              <a:rPr lang="en-US" sz="1200" kern="1200" dirty="0">
                <a:solidFill>
                  <a:schemeClr val="tx1"/>
                </a:solidFill>
                <a:effectLst/>
                <a:latin typeface="+mn-lt"/>
                <a:ea typeface="+mn-ea"/>
                <a:cs typeface="+mn-cs"/>
              </a:rPr>
              <a:t>you may not have otherwise experienced with your on-premises or hosted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long with </a:t>
            </a:r>
            <a:r>
              <a:rPr lang="en-US" sz="1200" b="1" kern="1200" dirty="0">
                <a:solidFill>
                  <a:schemeClr val="tx1"/>
                </a:solidFill>
                <a:effectLst/>
                <a:latin typeface="+mn-lt"/>
                <a:ea typeface="+mn-ea"/>
                <a:cs typeface="+mn-cs"/>
              </a:rPr>
              <a:t>ensured availability and performance, </a:t>
            </a:r>
            <a:r>
              <a:rPr lang="en-US" sz="1200" b="0" kern="1200" dirty="0">
                <a:solidFill>
                  <a:schemeClr val="tx1"/>
                </a:solidFill>
                <a:effectLst/>
                <a:latin typeface="+mn-lt"/>
                <a:ea typeface="+mn-ea"/>
                <a:cs typeface="+mn-cs"/>
              </a:rPr>
              <a:t>features of Azure SQL Database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rovisioning and resizing (w/ Azure Portal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Built-in auto HA (99.9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utomatic back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oint-in-time-restore (database-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ctive geo-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ntelligent performance optimization and security of your databases</a:t>
            </a:r>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Build 2015</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11/2022 10:30 AM</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032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latin typeface="Segoe UI" panose="020B0502040204020203" pitchFamily="34" charset="0"/>
                <a:cs typeface="Segoe UI" panose="020B0502040204020203" pitchFamily="34" charset="0"/>
              </a:rPr>
              <a:t>Objective: </a:t>
            </a:r>
            <a:r>
              <a:rPr lang="en-US" sz="1000">
                <a:latin typeface="Segoe UI" panose="020B0502040204020203" pitchFamily="34" charset="0"/>
                <a:cs typeface="Segoe UI" panose="020B0502040204020203" pitchFamily="34" charset="0"/>
              </a:rPr>
              <a:t>One of the first things to understand in any discussion of Azure versus on-premises SQL Server databases is that you can use it all. The Microsoft data platform leverages SQL Server technology and makes it available across physical on-premises machines, private cloud environments, third-party hosted private cloud environments, and public cloud. This enables you to meet unique and diverse business needs through a combination of on-premises and cloud-hosted deployments, while using the same set of server products, development tools, and expertise across these environments.</a:t>
            </a:r>
          </a:p>
          <a:p>
            <a:endParaRPr lang="en-US" sz="1000">
              <a:latin typeface="Segoe UI" panose="020B0502040204020203" pitchFamily="34" charset="0"/>
              <a:cs typeface="Segoe UI" panose="020B0502040204020203" pitchFamily="34" charset="0"/>
            </a:endParaRPr>
          </a:p>
          <a:p>
            <a:r>
              <a:rPr lang="en-US" sz="1000" b="1">
                <a:effectLst/>
                <a:latin typeface="Segoe UI" panose="020B0502040204020203" pitchFamily="34" charset="0"/>
                <a:cs typeface="Segoe UI" panose="020B0502040204020203" pitchFamily="34" charset="0"/>
              </a:rPr>
              <a:t>Talking Points:</a:t>
            </a:r>
            <a:endParaRPr lang="en-US" sz="100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s seen in the diagram, each offering can be characterized by the level of administration you have over the infrastructure (on the X axis), and by the degree of cost efficiency achieved by database level consolidation and automation (on the Y axis).</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When designing an application, four basic options are available for hosting the SQL Server part of the application: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on nonvirtualized physical machines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on-premises virtualized machines (private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QL Server in Azure Virtual Machine (public cloud)</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Azure SQL Database (public cloud)</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541540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1/2022 10: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2497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Listed</a:t>
            </a:r>
            <a:r>
              <a:rPr lang="en-US" sz="800" b="0" i="0" u="none" strike="noStrike" kern="1200">
                <a:solidFill>
                  <a:schemeClr val="tx1"/>
                </a:solidFill>
                <a:effectLst/>
                <a:latin typeface="Segoe UI Light" pitchFamily="34" charset="0"/>
                <a:ea typeface="+mn-ea"/>
                <a:cs typeface="+mn-cs"/>
              </a:rPr>
              <a:t> are the most common motivations to choose an Azure SQL Database or SQL Server running on an Azure VM</a:t>
            </a:r>
            <a:r>
              <a:rPr lang="en-US"/>
              <a:t> or a Managed Instance as a hybrid solution.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891351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ffectLst/>
              </a:rPr>
              <a:t>DTU-based model:</a:t>
            </a:r>
            <a:r>
              <a:rPr lang="en-US" b="1"/>
              <a:t> </a:t>
            </a:r>
          </a:p>
          <a:p>
            <a:r>
              <a:rPr lang="en-US">
                <a:effectLst/>
              </a:rPr>
              <a:t>This model is based on a bundled measure of compute, storage, and IO resources. Performance levels are expressed in terms of Database Transaction Units (DTUs) for single databases and elastic Database Transaction Units (</a:t>
            </a:r>
            <a:r>
              <a:rPr lang="en-US" err="1">
                <a:effectLst/>
              </a:rPr>
              <a:t>eDTUs</a:t>
            </a:r>
            <a:r>
              <a:rPr lang="en-US">
                <a:effectLst/>
              </a:rPr>
              <a:t>) for elastic pools.  Best for customers who want simple, pre-configured resource options.</a:t>
            </a:r>
          </a:p>
          <a:p>
            <a:endParaRPr lang="en-US">
              <a:effectLst/>
            </a:endParaRPr>
          </a:p>
          <a:p>
            <a:r>
              <a:rPr lang="en-US" b="1" err="1">
                <a:effectLst/>
              </a:rPr>
              <a:t>vCore</a:t>
            </a:r>
            <a:r>
              <a:rPr lang="en-US" b="1">
                <a:effectLst/>
              </a:rPr>
              <a:t>-based model:</a:t>
            </a:r>
            <a:endParaRPr lang="en-US" b="1"/>
          </a:p>
          <a:p>
            <a:r>
              <a:rPr lang="en-US">
                <a:effectLst/>
              </a:rPr>
              <a:t>This model allows you to independently scale compute and storage resources. It also allows you to use Azure Hybrid Benefit for SQL Server to gain cost savings.</a:t>
            </a:r>
            <a:r>
              <a:rPr lang="en-US"/>
              <a:t> </a:t>
            </a:r>
            <a:r>
              <a:rPr lang="en-US">
                <a:effectLst/>
              </a:rPr>
              <a:t>Best for customers who value flexibility, control, and transparency.</a:t>
            </a:r>
          </a:p>
          <a:p>
            <a:r>
              <a:rPr lang="en-US"/>
              <a:t>In the </a:t>
            </a:r>
            <a:r>
              <a:rPr lang="en-US" err="1"/>
              <a:t>vCore</a:t>
            </a:r>
            <a:r>
              <a:rPr lang="en-US"/>
              <a:t>-based purchasing model, you pay for:</a:t>
            </a:r>
          </a:p>
          <a:p>
            <a:pPr marL="171450" indent="-171450">
              <a:buFont typeface="Arial" panose="020B0604020202020204" pitchFamily="34" charset="0"/>
              <a:buChar char="•"/>
            </a:pPr>
            <a:r>
              <a:rPr lang="en-US"/>
              <a:t>Compute resources (the service tier + the number of </a:t>
            </a:r>
            <a:r>
              <a:rPr lang="en-US" err="1"/>
              <a:t>vCores</a:t>
            </a:r>
            <a:r>
              <a:rPr lang="en-US"/>
              <a:t> and the amount of memory + the generation of hardware).</a:t>
            </a:r>
          </a:p>
          <a:p>
            <a:pPr marL="171450" indent="-171450">
              <a:buFont typeface="Arial" panose="020B0604020202020204" pitchFamily="34" charset="0"/>
              <a:buChar char="•"/>
            </a:pPr>
            <a:r>
              <a:rPr lang="en-US"/>
              <a:t>The type and amount of data and log storage.</a:t>
            </a:r>
          </a:p>
          <a:p>
            <a:pPr marL="171450" indent="-171450">
              <a:buFont typeface="Arial" panose="020B0604020202020204" pitchFamily="34" charset="0"/>
              <a:buChar char="•"/>
            </a:pPr>
            <a:r>
              <a:rPr lang="en-US"/>
              <a:t>Backup storage (RA-GR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5633968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69841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7A7F2F10-6DF6-4C66-9435-E3E0A15D70C1}"/>
              </a:ext>
            </a:extLst>
          </p:cNvPr>
          <p:cNvSpPr>
            <a:spLocks noGrp="1"/>
          </p:cNvSpPr>
          <p:nvPr>
            <p:ph type="title"/>
          </p:nvPr>
        </p:nvSpPr>
        <p:spPr>
          <a:xfrm>
            <a:off x="455994" y="300001"/>
            <a:ext cx="11306469" cy="813819"/>
          </a:xfrm>
        </p:spPr>
        <p:txBody>
          <a:bodyPr/>
          <a:lstStyle/>
          <a:p>
            <a:r>
              <a:rPr lang="en-US"/>
              <a:t>Click to edit Master title style</a:t>
            </a:r>
          </a:p>
        </p:txBody>
      </p:sp>
    </p:spTree>
    <p:extLst>
      <p:ext uri="{BB962C8B-B14F-4D97-AF65-F5344CB8AC3E}">
        <p14:creationId xmlns:p14="http://schemas.microsoft.com/office/powerpoint/2010/main" val="379732084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 id="2147483754" r:id="rId45"/>
    <p:sldLayoutId id="2147483755" r:id="rId46"/>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azure/sql-database/sql-database-dtu-resource-limits-single-databases#single-database-storage-sizes-and-compute-sizes"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hyperlink" Target="https://azure.microsoft.com/en-us/pricing/details/sql-database/" TargetMode="Externa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4.png"/><Relationship Id="rId2" Type="http://schemas.openxmlformats.org/officeDocument/2006/relationships/customXml" Target="../../customXml/item16.xml"/><Relationship Id="rId1" Type="http://schemas.openxmlformats.org/officeDocument/2006/relationships/tags" Target="../tags/tag7.xml"/><Relationship Id="rId6" Type="http://schemas.openxmlformats.org/officeDocument/2006/relationships/notesSlide" Target="../notesSlides/notesSlide23.xml"/><Relationship Id="rId5" Type="http://schemas.openxmlformats.org/officeDocument/2006/relationships/slideLayout" Target="../slideLayouts/slideLayout9.xml"/><Relationship Id="rId4" Type="http://schemas.openxmlformats.org/officeDocument/2006/relationships/tags" Target="../tags/tag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0.xml"/><Relationship Id="rId1" Type="http://schemas.openxmlformats.org/officeDocument/2006/relationships/tags" Target="../tags/tag9.xml"/><Relationship Id="rId4" Type="http://schemas.openxmlformats.org/officeDocument/2006/relationships/image" Target="../media/image21.jpe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2.jpeg"/><Relationship Id="rId4"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4.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24.png"/><Relationship Id="rId7" Type="http://schemas.openxmlformats.org/officeDocument/2006/relationships/diagramColors" Target="../diagrams/colors10.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3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hyperlink" Target="https://azure.microsoft.com/en-us/global-infrastructure/regions/"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b="1" dirty="0">
                <a:cs typeface="Segoe UI"/>
              </a:rPr>
              <a:t>Introduction to Azure SQL</a:t>
            </a:r>
            <a:endParaRPr lang="en-US" dirty="0"/>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1</a:t>
            </a:r>
          </a:p>
        </p:txBody>
      </p:sp>
      <p:sp>
        <p:nvSpPr>
          <p:cNvPr id="6" name="Picture Placeholder 5" descr="Azure SQL Database logo">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261D9595-CE7D-4D58-A1AF-FD629EB2B795}"/>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88982525-3C12-4B8E-9B4A-BF3A60FD7065}"/>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814A6FE-F15A-4308-8ACB-57063992BB74}"/>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00126FC7-2B66-48A8-95B4-C8F166EDA239}"/>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E0A6CC92-D923-4401-9F07-5F07BAFF7365}"/>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EB4B58A-3706-4B62-842D-C0984AFF804F}"/>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6569348-E704-4955-975C-931EB670A361}"/>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C4DA1646-2FE4-4808-9A44-987CB6BE7EFB}"/>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0DFF6F3-9C34-4474-8EFE-5D7CBD719421}"/>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2BFCE26A-066E-4A38-932B-6CCAA6CE1249}"/>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ata platform continuum</a:t>
            </a:r>
          </a:p>
        </p:txBody>
      </p:sp>
      <p:cxnSp>
        <p:nvCxnSpPr>
          <p:cNvPr id="5" name="Straight Connector 4">
            <a:extLst>
              <a:ext uri="{FF2B5EF4-FFF2-40B4-BE49-F238E27FC236}">
                <a16:creationId xmlns:a16="http://schemas.microsoft.com/office/drawing/2014/main" id="{0640F10E-3D4D-4607-A5DA-B52E23FEC385}"/>
              </a:ext>
            </a:extLst>
          </p:cNvPr>
          <p:cNvCxnSpPr/>
          <p:nvPr/>
        </p:nvCxnSpPr>
        <p:spPr>
          <a:xfrm>
            <a:off x="821778" y="1356404"/>
            <a:ext cx="0" cy="4833205"/>
          </a:xfrm>
          <a:prstGeom prst="line">
            <a:avLst/>
          </a:prstGeom>
          <a:noFill/>
          <a:ln w="19050" cap="flat" cmpd="sng" algn="ctr">
            <a:solidFill>
              <a:srgbClr val="3C3C41">
                <a:lumMod val="40000"/>
                <a:lumOff val="60000"/>
              </a:srgbClr>
            </a:solidFill>
            <a:prstDash val="solid"/>
          </a:ln>
          <a:effectLst/>
        </p:spPr>
      </p:cxnSp>
      <p:cxnSp>
        <p:nvCxnSpPr>
          <p:cNvPr id="6" name="Straight Connector 5">
            <a:extLst>
              <a:ext uri="{FF2B5EF4-FFF2-40B4-BE49-F238E27FC236}">
                <a16:creationId xmlns:a16="http://schemas.microsoft.com/office/drawing/2014/main" id="{B9241C04-909B-4E30-9876-DE906770C23D}"/>
              </a:ext>
            </a:extLst>
          </p:cNvPr>
          <p:cNvCxnSpPr/>
          <p:nvPr/>
        </p:nvCxnSpPr>
        <p:spPr>
          <a:xfrm flipH="1">
            <a:off x="814825" y="6186162"/>
            <a:ext cx="11006275" cy="0"/>
          </a:xfrm>
          <a:prstGeom prst="line">
            <a:avLst/>
          </a:prstGeom>
          <a:noFill/>
          <a:ln w="19050" cap="flat" cmpd="sng" algn="ctr">
            <a:solidFill>
              <a:srgbClr val="3C3C41">
                <a:lumMod val="40000"/>
                <a:lumOff val="60000"/>
              </a:srgbClr>
            </a:solidFill>
            <a:prstDash val="solid"/>
          </a:ln>
          <a:effectLst/>
        </p:spPr>
      </p:cxnSp>
      <p:sp>
        <p:nvSpPr>
          <p:cNvPr id="7" name="TextBox 6">
            <a:extLst>
              <a:ext uri="{FF2B5EF4-FFF2-40B4-BE49-F238E27FC236}">
                <a16:creationId xmlns:a16="http://schemas.microsoft.com/office/drawing/2014/main" id="{9DB4AB84-2198-4C98-B783-4216D89DFC70}"/>
              </a:ext>
            </a:extLst>
          </p:cNvPr>
          <p:cNvSpPr txBox="1"/>
          <p:nvPr/>
        </p:nvSpPr>
        <p:spPr>
          <a:xfrm rot="16200000">
            <a:off x="-135951" y="1913490"/>
            <a:ext cx="1476067" cy="286306"/>
          </a:xfrm>
          <a:prstGeom prst="rect">
            <a:avLst/>
          </a:prstGeom>
          <a:noFill/>
        </p:spPr>
        <p:txBody>
          <a:bodyPr wrap="none" lIns="93260" tIns="46630" rIns="93260" bIns="46630" rtlCol="0">
            <a:spAutoFit/>
          </a:bodyPr>
          <a:lstStyle/>
          <a:p>
            <a:pPr algn="ctr" defTabSz="932225">
              <a:defRPr/>
            </a:pPr>
            <a:r>
              <a:rPr lang="en-US" sz="1224" b="1">
                <a:solidFill>
                  <a:srgbClr val="0072C6"/>
                </a:solidFill>
                <a:latin typeface="Segoe UI Semibold" charset="0"/>
                <a:ea typeface="Segoe UI Semibold" charset="0"/>
                <a:cs typeface="Segoe UI Semibold" charset="0"/>
              </a:rPr>
              <a:t>Shared lower cost</a:t>
            </a:r>
          </a:p>
        </p:txBody>
      </p:sp>
      <p:sp>
        <p:nvSpPr>
          <p:cNvPr id="8" name="TextBox 7">
            <a:extLst>
              <a:ext uri="{FF2B5EF4-FFF2-40B4-BE49-F238E27FC236}">
                <a16:creationId xmlns:a16="http://schemas.microsoft.com/office/drawing/2014/main" id="{BC679F4B-5A25-406E-9AB1-FEBB5B7D02DB}"/>
              </a:ext>
            </a:extLst>
          </p:cNvPr>
          <p:cNvSpPr txBox="1"/>
          <p:nvPr/>
        </p:nvSpPr>
        <p:spPr>
          <a:xfrm rot="16200000">
            <a:off x="-286200" y="5253872"/>
            <a:ext cx="1776563" cy="286306"/>
          </a:xfrm>
          <a:prstGeom prst="rect">
            <a:avLst/>
          </a:prstGeom>
          <a:noFill/>
        </p:spPr>
        <p:txBody>
          <a:bodyPr wrap="none" lIns="93260" tIns="46630" rIns="93260" bIns="46630" rtlCol="0">
            <a:spAutoFit/>
          </a:bodyPr>
          <a:lstStyle/>
          <a:p>
            <a:pPr algn="r" defTabSz="932225">
              <a:defRPr/>
            </a:pPr>
            <a:r>
              <a:rPr lang="en-US" sz="1224" b="1">
                <a:solidFill>
                  <a:srgbClr val="0072C6"/>
                </a:solidFill>
                <a:latin typeface="Segoe UI Semibold" charset="0"/>
                <a:ea typeface="Segoe UI Semibold" charset="0"/>
                <a:cs typeface="Segoe UI Semibold" charset="0"/>
              </a:rPr>
              <a:t>Dedicated higher cost</a:t>
            </a:r>
          </a:p>
        </p:txBody>
      </p:sp>
      <p:sp>
        <p:nvSpPr>
          <p:cNvPr id="9" name="TextBox 8">
            <a:extLst>
              <a:ext uri="{FF2B5EF4-FFF2-40B4-BE49-F238E27FC236}">
                <a16:creationId xmlns:a16="http://schemas.microsoft.com/office/drawing/2014/main" id="{A6E31221-811A-4FE6-9F55-DB265272886B}"/>
              </a:ext>
            </a:extLst>
          </p:cNvPr>
          <p:cNvSpPr txBox="1"/>
          <p:nvPr/>
        </p:nvSpPr>
        <p:spPr>
          <a:xfrm>
            <a:off x="883450" y="6253836"/>
            <a:ext cx="1782384"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Higher administration</a:t>
            </a:r>
          </a:p>
        </p:txBody>
      </p:sp>
      <p:sp>
        <p:nvSpPr>
          <p:cNvPr id="10" name="TextBox 9">
            <a:extLst>
              <a:ext uri="{FF2B5EF4-FFF2-40B4-BE49-F238E27FC236}">
                <a16:creationId xmlns:a16="http://schemas.microsoft.com/office/drawing/2014/main" id="{BA4B6107-D530-461C-A46D-BE4B33B709F9}"/>
              </a:ext>
            </a:extLst>
          </p:cNvPr>
          <p:cNvSpPr txBox="1"/>
          <p:nvPr/>
        </p:nvSpPr>
        <p:spPr>
          <a:xfrm>
            <a:off x="10184542" y="6253836"/>
            <a:ext cx="1726013" cy="286306"/>
          </a:xfrm>
          <a:prstGeom prst="rect">
            <a:avLst/>
          </a:prstGeom>
          <a:noFill/>
        </p:spPr>
        <p:txBody>
          <a:bodyPr wrap="none" lIns="93260" tIns="46630" rIns="93260" bIns="46630" rtlCol="0">
            <a:spAutoFit/>
          </a:bodyPr>
          <a:lstStyle/>
          <a:p>
            <a:pPr defTabSz="932225">
              <a:defRPr/>
            </a:pPr>
            <a:r>
              <a:rPr lang="en-US" sz="1224" b="1">
                <a:solidFill>
                  <a:srgbClr val="0072C6"/>
                </a:solidFill>
                <a:latin typeface="Segoe UI Semibold" charset="0"/>
                <a:ea typeface="Segoe UI Semibold" charset="0"/>
                <a:cs typeface="Segoe UI Semibold" charset="0"/>
              </a:rPr>
              <a:t>Lower administration</a:t>
            </a:r>
          </a:p>
        </p:txBody>
      </p:sp>
      <p:sp>
        <p:nvSpPr>
          <p:cNvPr id="11" name="Rectangle 10">
            <a:extLst>
              <a:ext uri="{FF2B5EF4-FFF2-40B4-BE49-F238E27FC236}">
                <a16:creationId xmlns:a16="http://schemas.microsoft.com/office/drawing/2014/main" id="{5619F0A2-A648-4BE6-B1FC-CB3E32915210}"/>
              </a:ext>
            </a:extLst>
          </p:cNvPr>
          <p:cNvSpPr/>
          <p:nvPr/>
        </p:nvSpPr>
        <p:spPr>
          <a:xfrm>
            <a:off x="993491" y="4951399"/>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hysic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Physical Machine (raw iron)</a:t>
            </a:r>
          </a:p>
        </p:txBody>
      </p:sp>
      <p:sp>
        <p:nvSpPr>
          <p:cNvPr id="12" name="Rectangle 11">
            <a:extLst>
              <a:ext uri="{FF2B5EF4-FFF2-40B4-BE49-F238E27FC236}">
                <a16:creationId xmlns:a16="http://schemas.microsoft.com/office/drawing/2014/main" id="{0C98BD19-BA86-43DB-8C10-A661DBB3A430}"/>
              </a:ext>
            </a:extLst>
          </p:cNvPr>
          <p:cNvSpPr/>
          <p:nvPr/>
        </p:nvSpPr>
        <p:spPr>
          <a:xfrm>
            <a:off x="4210411" y="2587806"/>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in Azure VM</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s</a:t>
            </a:r>
          </a:p>
        </p:txBody>
      </p:sp>
      <p:sp>
        <p:nvSpPr>
          <p:cNvPr id="13" name="Rectangle 12">
            <a:extLst>
              <a:ext uri="{FF2B5EF4-FFF2-40B4-BE49-F238E27FC236}">
                <a16:creationId xmlns:a16="http://schemas.microsoft.com/office/drawing/2014/main" id="{16A8A2FD-28F4-46C4-8D0F-24392BFD1AE0}"/>
              </a:ext>
            </a:extLst>
          </p:cNvPr>
          <p:cNvSpPr/>
          <p:nvPr/>
        </p:nvSpPr>
        <p:spPr>
          <a:xfrm>
            <a:off x="2606314" y="3776567"/>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irtual</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SQL Server Private Cloud</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a:ln>
                  <a:noFill/>
                </a:ln>
                <a:solidFill>
                  <a:srgbClr val="FFFFFF"/>
                </a:solidFill>
                <a:effectLst/>
                <a:uLnTx/>
                <a:uFillTx/>
                <a:latin typeface="Segoe UI Semilight" charset="0"/>
                <a:ea typeface="Segoe UI Semilight" charset="0"/>
                <a:cs typeface="Segoe UI Semilight" charset="0"/>
              </a:rPr>
              <a:t>Virtualized Machine + Appliance</a:t>
            </a:r>
          </a:p>
        </p:txBody>
      </p:sp>
      <p:sp>
        <p:nvSpPr>
          <p:cNvPr id="14" name="Rectangle 13">
            <a:extLst>
              <a:ext uri="{FF2B5EF4-FFF2-40B4-BE49-F238E27FC236}">
                <a16:creationId xmlns:a16="http://schemas.microsoft.com/office/drawing/2014/main" id="{CAAAA016-D598-4EC9-AE11-90F3F80BAF38}"/>
              </a:ext>
            </a:extLst>
          </p:cNvPr>
          <p:cNvSpPr/>
          <p:nvPr/>
        </p:nvSpPr>
        <p:spPr>
          <a:xfrm>
            <a:off x="5880518" y="1422840"/>
            <a:ext cx="5940580" cy="1053657"/>
          </a:xfrm>
          <a:prstGeom prst="rect">
            <a:avLst/>
          </a:prstGeom>
          <a:solidFill>
            <a:srgbClr val="0078D3"/>
          </a:solidFill>
          <a:ln w="3175" cap="flat" cmpd="sng" algn="ctr">
            <a:noFill/>
            <a:prstDash val="solid"/>
          </a:ln>
          <a:effectLst/>
        </p:spPr>
        <p:txBody>
          <a:bodyPr wrap="square" lIns="1072494" tIns="130564" rIns="91427" bIns="45713" rtlCol="0" anchor="t" anchorCtr="0">
            <a:noAutofit/>
          </a:bodyPr>
          <a:lstStyle/>
          <a:p>
            <a:pPr marL="0" marR="0" lvl="0" indent="0" defTabSz="932225" eaLnBrk="1" fontAlgn="auto" latinLnBrk="0" hangingPunct="1">
              <a:lnSpc>
                <a:spcPct val="100000"/>
              </a:lnSpc>
              <a:spcBef>
                <a:spcPts val="0"/>
              </a:spcBef>
              <a:spcAft>
                <a:spcPts val="0"/>
              </a:spcAft>
              <a:buClrTx/>
              <a:buSzTx/>
              <a:buFontTx/>
              <a:buNone/>
              <a:tabLst/>
              <a:defRPr/>
            </a:pPr>
            <a:r>
              <a:rPr kumimoji="0" lang="en-US" sz="2040" b="0" i="0" u="none" strike="noStrike" kern="0" cap="none" spc="102"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aaS</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charset="0"/>
                <a:ea typeface="Segoe UI Semilight" charset="0"/>
                <a:cs typeface="Segoe UI Semilight" charset="0"/>
              </a:rPr>
              <a:t>Azure SQL Database</a:t>
            </a:r>
          </a:p>
          <a:p>
            <a:pPr marL="0" marR="0" lvl="0" indent="0" defTabSz="932225" eaLnBrk="1" fontAlgn="auto" latinLnBrk="0" hangingPunct="1">
              <a:lnSpc>
                <a:spcPct val="100000"/>
              </a:lnSpc>
              <a:spcBef>
                <a:spcPts val="0"/>
              </a:spcBef>
              <a:spcAft>
                <a:spcPts val="0"/>
              </a:spcAft>
              <a:buClrTx/>
              <a:buSzTx/>
              <a:buFontTx/>
              <a:buNone/>
              <a:tabLst/>
              <a:defRPr/>
            </a:pPr>
            <a:r>
              <a:rPr kumimoji="0" lang="en-US" sz="1224" b="0" i="0" u="none" strike="noStrike" kern="0" cap="none" spc="51" normalizeH="0" baseline="0" noProof="0" dirty="0">
                <a:ln>
                  <a:noFill/>
                </a:ln>
                <a:solidFill>
                  <a:srgbClr val="FFFFFF"/>
                </a:solidFill>
                <a:effectLst/>
                <a:uLnTx/>
                <a:uFillTx/>
                <a:latin typeface="Segoe UI Semilight" charset="0"/>
                <a:ea typeface="Segoe UI Semilight" charset="0"/>
                <a:cs typeface="Segoe UI Semilight" charset="0"/>
              </a:rPr>
              <a:t>Virtualized Database</a:t>
            </a:r>
          </a:p>
        </p:txBody>
      </p:sp>
      <p:grpSp>
        <p:nvGrpSpPr>
          <p:cNvPr id="15" name="Group 21" descr="IAAS">
            <a:extLst>
              <a:ext uri="{FF2B5EF4-FFF2-40B4-BE49-F238E27FC236}">
                <a16:creationId xmlns:a16="http://schemas.microsoft.com/office/drawing/2014/main" id="{7E9CF5E4-4749-4387-A912-9D9A862F10A7}"/>
              </a:ext>
            </a:extLst>
          </p:cNvPr>
          <p:cNvGrpSpPr>
            <a:grpSpLocks noChangeAspect="1"/>
          </p:cNvGrpSpPr>
          <p:nvPr/>
        </p:nvGrpSpPr>
        <p:grpSpPr bwMode="auto">
          <a:xfrm>
            <a:off x="4476078" y="2800387"/>
            <a:ext cx="520546" cy="518719"/>
            <a:chOff x="2211" y="778"/>
            <a:chExt cx="285" cy="284"/>
          </a:xfrm>
        </p:grpSpPr>
        <p:sp>
          <p:nvSpPr>
            <p:cNvPr id="16" name="AutoShape 20">
              <a:extLst>
                <a:ext uri="{FF2B5EF4-FFF2-40B4-BE49-F238E27FC236}">
                  <a16:creationId xmlns:a16="http://schemas.microsoft.com/office/drawing/2014/main" id="{B29FBD26-031C-4EBE-ADC6-A7E20CA898ED}"/>
                </a:ext>
              </a:extLst>
            </p:cNvPr>
            <p:cNvSpPr>
              <a:spLocks noChangeAspect="1" noChangeArrowheads="1" noTextEdit="1"/>
            </p:cNvSpPr>
            <p:nvPr/>
          </p:nvSpPr>
          <p:spPr bwMode="auto">
            <a:xfrm>
              <a:off x="2211" y="778"/>
              <a:ext cx="285"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7" name="Oval 22">
              <a:extLst>
                <a:ext uri="{FF2B5EF4-FFF2-40B4-BE49-F238E27FC236}">
                  <a16:creationId xmlns:a16="http://schemas.microsoft.com/office/drawing/2014/main" id="{12CD34F7-F480-47DE-84FB-031A3EE69192}"/>
                </a:ext>
              </a:extLst>
            </p:cNvPr>
            <p:cNvSpPr>
              <a:spLocks noChangeArrowheads="1"/>
            </p:cNvSpPr>
            <p:nvPr/>
          </p:nvSpPr>
          <p:spPr bwMode="auto">
            <a:xfrm>
              <a:off x="2331" y="898"/>
              <a:ext cx="45" cy="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8" name="Freeform 23">
              <a:extLst>
                <a:ext uri="{FF2B5EF4-FFF2-40B4-BE49-F238E27FC236}">
                  <a16:creationId xmlns:a16="http://schemas.microsoft.com/office/drawing/2014/main" id="{EB38C187-F19F-452C-99DC-2651344EC95A}"/>
                </a:ext>
              </a:extLst>
            </p:cNvPr>
            <p:cNvSpPr>
              <a:spLocks noEditPoints="1"/>
            </p:cNvSpPr>
            <p:nvPr/>
          </p:nvSpPr>
          <p:spPr bwMode="auto">
            <a:xfrm>
              <a:off x="2247" y="809"/>
              <a:ext cx="213" cy="218"/>
            </a:xfrm>
            <a:custGeom>
              <a:avLst/>
              <a:gdLst>
                <a:gd name="T0" fmla="*/ 98 w 144"/>
                <a:gd name="T1" fmla="*/ 8 h 147"/>
                <a:gd name="T2" fmla="*/ 88 w 144"/>
                <a:gd name="T3" fmla="*/ 0 h 147"/>
                <a:gd name="T4" fmla="*/ 80 w 144"/>
                <a:gd name="T5" fmla="*/ 4 h 147"/>
                <a:gd name="T6" fmla="*/ 72 w 144"/>
                <a:gd name="T7" fmla="*/ 3 h 147"/>
                <a:gd name="T8" fmla="*/ 0 w 144"/>
                <a:gd name="T9" fmla="*/ 75 h 147"/>
                <a:gd name="T10" fmla="*/ 72 w 144"/>
                <a:gd name="T11" fmla="*/ 147 h 147"/>
                <a:gd name="T12" fmla="*/ 144 w 144"/>
                <a:gd name="T13" fmla="*/ 75 h 147"/>
                <a:gd name="T14" fmla="*/ 98 w 144"/>
                <a:gd name="T15" fmla="*/ 8 h 147"/>
                <a:gd name="T16" fmla="*/ 119 w 144"/>
                <a:gd name="T17" fmla="*/ 123 h 147"/>
                <a:gd name="T18" fmla="*/ 98 w 144"/>
                <a:gd name="T19" fmla="*/ 137 h 147"/>
                <a:gd name="T20" fmla="*/ 72 w 144"/>
                <a:gd name="T21" fmla="*/ 142 h 147"/>
                <a:gd name="T22" fmla="*/ 46 w 144"/>
                <a:gd name="T23" fmla="*/ 137 h 147"/>
                <a:gd name="T24" fmla="*/ 25 w 144"/>
                <a:gd name="T25" fmla="*/ 123 h 147"/>
                <a:gd name="T26" fmla="*/ 10 w 144"/>
                <a:gd name="T27" fmla="*/ 101 h 147"/>
                <a:gd name="T28" fmla="*/ 5 w 144"/>
                <a:gd name="T29" fmla="*/ 75 h 147"/>
                <a:gd name="T30" fmla="*/ 10 w 144"/>
                <a:gd name="T31" fmla="*/ 49 h 147"/>
                <a:gd name="T32" fmla="*/ 25 w 144"/>
                <a:gd name="T33" fmla="*/ 28 h 147"/>
                <a:gd name="T34" fmla="*/ 46 w 144"/>
                <a:gd name="T35" fmla="*/ 14 h 147"/>
                <a:gd name="T36" fmla="*/ 72 w 144"/>
                <a:gd name="T37" fmla="*/ 8 h 147"/>
                <a:gd name="T38" fmla="*/ 78 w 144"/>
                <a:gd name="T39" fmla="*/ 9 h 147"/>
                <a:gd name="T40" fmla="*/ 78 w 144"/>
                <a:gd name="T41" fmla="*/ 10 h 147"/>
                <a:gd name="T42" fmla="*/ 88 w 144"/>
                <a:gd name="T43" fmla="*/ 20 h 147"/>
                <a:gd name="T44" fmla="*/ 97 w 144"/>
                <a:gd name="T45" fmla="*/ 13 h 147"/>
                <a:gd name="T46" fmla="*/ 98 w 144"/>
                <a:gd name="T47" fmla="*/ 14 h 147"/>
                <a:gd name="T48" fmla="*/ 119 w 144"/>
                <a:gd name="T49" fmla="*/ 28 h 147"/>
                <a:gd name="T50" fmla="*/ 134 w 144"/>
                <a:gd name="T51" fmla="*/ 49 h 147"/>
                <a:gd name="T52" fmla="*/ 139 w 144"/>
                <a:gd name="T53" fmla="*/ 75 h 147"/>
                <a:gd name="T54" fmla="*/ 134 w 144"/>
                <a:gd name="T55" fmla="*/ 101 h 147"/>
                <a:gd name="T56" fmla="*/ 119 w 144"/>
                <a:gd name="T57"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7">
                  <a:moveTo>
                    <a:pt x="98" y="8"/>
                  </a:moveTo>
                  <a:cubicBezTo>
                    <a:pt x="97" y="3"/>
                    <a:pt x="93" y="0"/>
                    <a:pt x="88" y="0"/>
                  </a:cubicBezTo>
                  <a:cubicBezTo>
                    <a:pt x="84" y="0"/>
                    <a:pt x="81" y="1"/>
                    <a:pt x="80" y="4"/>
                  </a:cubicBezTo>
                  <a:cubicBezTo>
                    <a:pt x="77" y="3"/>
                    <a:pt x="75" y="3"/>
                    <a:pt x="72" y="3"/>
                  </a:cubicBezTo>
                  <a:cubicBezTo>
                    <a:pt x="32" y="3"/>
                    <a:pt x="0" y="35"/>
                    <a:pt x="0" y="75"/>
                  </a:cubicBezTo>
                  <a:cubicBezTo>
                    <a:pt x="0" y="115"/>
                    <a:pt x="32" y="147"/>
                    <a:pt x="72" y="147"/>
                  </a:cubicBezTo>
                  <a:cubicBezTo>
                    <a:pt x="112" y="147"/>
                    <a:pt x="144" y="115"/>
                    <a:pt x="144" y="75"/>
                  </a:cubicBezTo>
                  <a:cubicBezTo>
                    <a:pt x="144" y="44"/>
                    <a:pt x="125" y="18"/>
                    <a:pt x="98" y="8"/>
                  </a:cubicBezTo>
                  <a:close/>
                  <a:moveTo>
                    <a:pt x="119" y="123"/>
                  </a:moveTo>
                  <a:cubicBezTo>
                    <a:pt x="113" y="129"/>
                    <a:pt x="106" y="134"/>
                    <a:pt x="98" y="137"/>
                  </a:cubicBezTo>
                  <a:cubicBezTo>
                    <a:pt x="90" y="140"/>
                    <a:pt x="81" y="142"/>
                    <a:pt x="72" y="142"/>
                  </a:cubicBezTo>
                  <a:cubicBezTo>
                    <a:pt x="63" y="142"/>
                    <a:pt x="54" y="140"/>
                    <a:pt x="46" y="137"/>
                  </a:cubicBezTo>
                  <a:cubicBezTo>
                    <a:pt x="38" y="134"/>
                    <a:pt x="31" y="129"/>
                    <a:pt x="25" y="123"/>
                  </a:cubicBezTo>
                  <a:cubicBezTo>
                    <a:pt x="19" y="116"/>
                    <a:pt x="14" y="109"/>
                    <a:pt x="10" y="101"/>
                  </a:cubicBezTo>
                  <a:cubicBezTo>
                    <a:pt x="7" y="93"/>
                    <a:pt x="5" y="84"/>
                    <a:pt x="5" y="75"/>
                  </a:cubicBezTo>
                  <a:cubicBezTo>
                    <a:pt x="5" y="66"/>
                    <a:pt x="7" y="57"/>
                    <a:pt x="10" y="49"/>
                  </a:cubicBezTo>
                  <a:cubicBezTo>
                    <a:pt x="14" y="41"/>
                    <a:pt x="19" y="34"/>
                    <a:pt x="25" y="28"/>
                  </a:cubicBezTo>
                  <a:cubicBezTo>
                    <a:pt x="31" y="22"/>
                    <a:pt x="38" y="17"/>
                    <a:pt x="46" y="14"/>
                  </a:cubicBezTo>
                  <a:cubicBezTo>
                    <a:pt x="54" y="10"/>
                    <a:pt x="63" y="8"/>
                    <a:pt x="72" y="8"/>
                  </a:cubicBezTo>
                  <a:cubicBezTo>
                    <a:pt x="74" y="8"/>
                    <a:pt x="76" y="8"/>
                    <a:pt x="78" y="9"/>
                  </a:cubicBezTo>
                  <a:cubicBezTo>
                    <a:pt x="78" y="9"/>
                    <a:pt x="78" y="9"/>
                    <a:pt x="78" y="10"/>
                  </a:cubicBezTo>
                  <a:cubicBezTo>
                    <a:pt x="78" y="15"/>
                    <a:pt x="82" y="20"/>
                    <a:pt x="88" y="20"/>
                  </a:cubicBezTo>
                  <a:cubicBezTo>
                    <a:pt x="92" y="20"/>
                    <a:pt x="96" y="17"/>
                    <a:pt x="97" y="13"/>
                  </a:cubicBezTo>
                  <a:cubicBezTo>
                    <a:pt x="97" y="13"/>
                    <a:pt x="98" y="13"/>
                    <a:pt x="98" y="14"/>
                  </a:cubicBezTo>
                  <a:cubicBezTo>
                    <a:pt x="106" y="17"/>
                    <a:pt x="113" y="22"/>
                    <a:pt x="119" y="28"/>
                  </a:cubicBezTo>
                  <a:cubicBezTo>
                    <a:pt x="126" y="34"/>
                    <a:pt x="130" y="41"/>
                    <a:pt x="134" y="49"/>
                  </a:cubicBezTo>
                  <a:cubicBezTo>
                    <a:pt x="137" y="58"/>
                    <a:pt x="139" y="66"/>
                    <a:pt x="139" y="75"/>
                  </a:cubicBezTo>
                  <a:cubicBezTo>
                    <a:pt x="139" y="84"/>
                    <a:pt x="137" y="93"/>
                    <a:pt x="134" y="101"/>
                  </a:cubicBezTo>
                  <a:cubicBezTo>
                    <a:pt x="130" y="109"/>
                    <a:pt x="126" y="116"/>
                    <a:pt x="119"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19" name="Freeform 24">
              <a:extLst>
                <a:ext uri="{FF2B5EF4-FFF2-40B4-BE49-F238E27FC236}">
                  <a16:creationId xmlns:a16="http://schemas.microsoft.com/office/drawing/2014/main" id="{5C63ECFB-26D3-4532-BFCA-40C0CDBA554A}"/>
                </a:ext>
              </a:extLst>
            </p:cNvPr>
            <p:cNvSpPr>
              <a:spLocks noEditPoints="1"/>
            </p:cNvSpPr>
            <p:nvPr/>
          </p:nvSpPr>
          <p:spPr bwMode="auto">
            <a:xfrm>
              <a:off x="2211" y="780"/>
              <a:ext cx="285" cy="282"/>
            </a:xfrm>
            <a:custGeom>
              <a:avLst/>
              <a:gdLst>
                <a:gd name="T0" fmla="*/ 192 w 192"/>
                <a:gd name="T1" fmla="*/ 95 h 191"/>
                <a:gd name="T2" fmla="*/ 179 w 192"/>
                <a:gd name="T3" fmla="*/ 47 h 191"/>
                <a:gd name="T4" fmla="*/ 182 w 192"/>
                <a:gd name="T5" fmla="*/ 39 h 191"/>
                <a:gd name="T6" fmla="*/ 172 w 192"/>
                <a:gd name="T7" fmla="*/ 29 h 191"/>
                <a:gd name="T8" fmla="*/ 167 w 192"/>
                <a:gd name="T9" fmla="*/ 31 h 191"/>
                <a:gd name="T10" fmla="*/ 96 w 192"/>
                <a:gd name="T11" fmla="*/ 0 h 191"/>
                <a:gd name="T12" fmla="*/ 0 w 192"/>
                <a:gd name="T13" fmla="*/ 95 h 191"/>
                <a:gd name="T14" fmla="*/ 14 w 192"/>
                <a:gd name="T15" fmla="*/ 144 h 191"/>
                <a:gd name="T16" fmla="*/ 10 w 192"/>
                <a:gd name="T17" fmla="*/ 151 h 191"/>
                <a:gd name="T18" fmla="*/ 20 w 192"/>
                <a:gd name="T19" fmla="*/ 161 h 191"/>
                <a:gd name="T20" fmla="*/ 25 w 192"/>
                <a:gd name="T21" fmla="*/ 160 h 191"/>
                <a:gd name="T22" fmla="*/ 96 w 192"/>
                <a:gd name="T23" fmla="*/ 191 h 191"/>
                <a:gd name="T24" fmla="*/ 141 w 192"/>
                <a:gd name="T25" fmla="*/ 180 h 191"/>
                <a:gd name="T26" fmla="*/ 147 w 192"/>
                <a:gd name="T27" fmla="*/ 181 h 191"/>
                <a:gd name="T28" fmla="*/ 157 w 192"/>
                <a:gd name="T29" fmla="*/ 171 h 191"/>
                <a:gd name="T30" fmla="*/ 157 w 192"/>
                <a:gd name="T31" fmla="*/ 169 h 191"/>
                <a:gd name="T32" fmla="*/ 192 w 192"/>
                <a:gd name="T33" fmla="*/ 95 h 191"/>
                <a:gd name="T34" fmla="*/ 155 w 192"/>
                <a:gd name="T35" fmla="*/ 165 h 191"/>
                <a:gd name="T36" fmla="*/ 147 w 192"/>
                <a:gd name="T37" fmla="*/ 161 h 191"/>
                <a:gd name="T38" fmla="*/ 137 w 192"/>
                <a:gd name="T39" fmla="*/ 171 h 191"/>
                <a:gd name="T40" fmla="*/ 138 w 192"/>
                <a:gd name="T41" fmla="*/ 176 h 191"/>
                <a:gd name="T42" fmla="*/ 131 w 192"/>
                <a:gd name="T43" fmla="*/ 179 h 191"/>
                <a:gd name="T44" fmla="*/ 96 w 192"/>
                <a:gd name="T45" fmla="*/ 186 h 191"/>
                <a:gd name="T46" fmla="*/ 61 w 192"/>
                <a:gd name="T47" fmla="*/ 179 h 191"/>
                <a:gd name="T48" fmla="*/ 32 w 192"/>
                <a:gd name="T49" fmla="*/ 159 h 191"/>
                <a:gd name="T50" fmla="*/ 29 w 192"/>
                <a:gd name="T51" fmla="*/ 156 h 191"/>
                <a:gd name="T52" fmla="*/ 30 w 192"/>
                <a:gd name="T53" fmla="*/ 151 h 191"/>
                <a:gd name="T54" fmla="*/ 20 w 192"/>
                <a:gd name="T55" fmla="*/ 141 h 191"/>
                <a:gd name="T56" fmla="*/ 18 w 192"/>
                <a:gd name="T57" fmla="*/ 141 h 191"/>
                <a:gd name="T58" fmla="*/ 13 w 192"/>
                <a:gd name="T59" fmla="*/ 131 h 191"/>
                <a:gd name="T60" fmla="*/ 5 w 192"/>
                <a:gd name="T61" fmla="*/ 95 h 191"/>
                <a:gd name="T62" fmla="*/ 13 w 192"/>
                <a:gd name="T63" fmla="*/ 60 h 191"/>
                <a:gd name="T64" fmla="*/ 32 w 192"/>
                <a:gd name="T65" fmla="*/ 31 h 191"/>
                <a:gd name="T66" fmla="*/ 61 w 192"/>
                <a:gd name="T67" fmla="*/ 12 h 191"/>
                <a:gd name="T68" fmla="*/ 96 w 192"/>
                <a:gd name="T69" fmla="*/ 5 h 191"/>
                <a:gd name="T70" fmla="*/ 131 w 192"/>
                <a:gd name="T71" fmla="*/ 12 h 191"/>
                <a:gd name="T72" fmla="*/ 160 w 192"/>
                <a:gd name="T73" fmla="*/ 31 h 191"/>
                <a:gd name="T74" fmla="*/ 163 w 192"/>
                <a:gd name="T75" fmla="*/ 34 h 191"/>
                <a:gd name="T76" fmla="*/ 162 w 192"/>
                <a:gd name="T77" fmla="*/ 40 h 191"/>
                <a:gd name="T78" fmla="*/ 172 w 192"/>
                <a:gd name="T79" fmla="*/ 50 h 191"/>
                <a:gd name="T80" fmla="*/ 174 w 192"/>
                <a:gd name="T81" fmla="*/ 49 h 191"/>
                <a:gd name="T82" fmla="*/ 180 w 192"/>
                <a:gd name="T83" fmla="*/ 60 h 191"/>
                <a:gd name="T84" fmla="*/ 187 w 192"/>
                <a:gd name="T85" fmla="*/ 95 h 191"/>
                <a:gd name="T86" fmla="*/ 180 w 192"/>
                <a:gd name="T87" fmla="*/ 131 h 191"/>
                <a:gd name="T88" fmla="*/ 160 w 192"/>
                <a:gd name="T89" fmla="*/ 159 h 191"/>
                <a:gd name="T90" fmla="*/ 155 w 192"/>
                <a:gd name="T91"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91">
                  <a:moveTo>
                    <a:pt x="192" y="95"/>
                  </a:moveTo>
                  <a:cubicBezTo>
                    <a:pt x="192" y="78"/>
                    <a:pt x="187" y="61"/>
                    <a:pt x="179" y="47"/>
                  </a:cubicBezTo>
                  <a:cubicBezTo>
                    <a:pt x="181" y="45"/>
                    <a:pt x="182" y="42"/>
                    <a:pt x="182" y="39"/>
                  </a:cubicBezTo>
                  <a:cubicBezTo>
                    <a:pt x="182" y="34"/>
                    <a:pt x="177" y="29"/>
                    <a:pt x="172" y="29"/>
                  </a:cubicBezTo>
                  <a:cubicBezTo>
                    <a:pt x="170" y="29"/>
                    <a:pt x="168" y="30"/>
                    <a:pt x="167" y="31"/>
                  </a:cubicBezTo>
                  <a:cubicBezTo>
                    <a:pt x="149" y="12"/>
                    <a:pt x="124" y="0"/>
                    <a:pt x="96" y="0"/>
                  </a:cubicBezTo>
                  <a:cubicBezTo>
                    <a:pt x="43" y="0"/>
                    <a:pt x="0" y="42"/>
                    <a:pt x="0" y="95"/>
                  </a:cubicBezTo>
                  <a:cubicBezTo>
                    <a:pt x="0" y="113"/>
                    <a:pt x="5" y="129"/>
                    <a:pt x="14" y="144"/>
                  </a:cubicBezTo>
                  <a:cubicBezTo>
                    <a:pt x="11" y="145"/>
                    <a:pt x="10" y="148"/>
                    <a:pt x="10" y="151"/>
                  </a:cubicBezTo>
                  <a:cubicBezTo>
                    <a:pt x="10" y="157"/>
                    <a:pt x="15" y="161"/>
                    <a:pt x="20" y="161"/>
                  </a:cubicBezTo>
                  <a:cubicBezTo>
                    <a:pt x="22" y="161"/>
                    <a:pt x="24" y="161"/>
                    <a:pt x="25" y="160"/>
                  </a:cubicBezTo>
                  <a:cubicBezTo>
                    <a:pt x="43" y="179"/>
                    <a:pt x="68" y="191"/>
                    <a:pt x="96" y="191"/>
                  </a:cubicBezTo>
                  <a:cubicBezTo>
                    <a:pt x="112" y="191"/>
                    <a:pt x="128" y="187"/>
                    <a:pt x="141" y="180"/>
                  </a:cubicBezTo>
                  <a:cubicBezTo>
                    <a:pt x="143" y="181"/>
                    <a:pt x="145" y="181"/>
                    <a:pt x="147" y="181"/>
                  </a:cubicBezTo>
                  <a:cubicBezTo>
                    <a:pt x="153" y="181"/>
                    <a:pt x="157" y="177"/>
                    <a:pt x="157" y="171"/>
                  </a:cubicBezTo>
                  <a:cubicBezTo>
                    <a:pt x="157" y="171"/>
                    <a:pt x="157" y="170"/>
                    <a:pt x="157" y="169"/>
                  </a:cubicBezTo>
                  <a:cubicBezTo>
                    <a:pt x="178" y="152"/>
                    <a:pt x="192" y="125"/>
                    <a:pt x="192" y="95"/>
                  </a:cubicBezTo>
                  <a:close/>
                  <a:moveTo>
                    <a:pt x="155" y="165"/>
                  </a:moveTo>
                  <a:cubicBezTo>
                    <a:pt x="153" y="162"/>
                    <a:pt x="150" y="161"/>
                    <a:pt x="147" y="161"/>
                  </a:cubicBezTo>
                  <a:cubicBezTo>
                    <a:pt x="141" y="161"/>
                    <a:pt x="137" y="166"/>
                    <a:pt x="137" y="171"/>
                  </a:cubicBezTo>
                  <a:cubicBezTo>
                    <a:pt x="137" y="173"/>
                    <a:pt x="137" y="174"/>
                    <a:pt x="138" y="176"/>
                  </a:cubicBezTo>
                  <a:cubicBezTo>
                    <a:pt x="136" y="177"/>
                    <a:pt x="134" y="178"/>
                    <a:pt x="131" y="179"/>
                  </a:cubicBezTo>
                  <a:cubicBezTo>
                    <a:pt x="120" y="183"/>
                    <a:pt x="108" y="186"/>
                    <a:pt x="96" y="186"/>
                  </a:cubicBezTo>
                  <a:cubicBezTo>
                    <a:pt x="84" y="186"/>
                    <a:pt x="72" y="183"/>
                    <a:pt x="61" y="179"/>
                  </a:cubicBezTo>
                  <a:cubicBezTo>
                    <a:pt x="50" y="174"/>
                    <a:pt x="40" y="168"/>
                    <a:pt x="32" y="159"/>
                  </a:cubicBezTo>
                  <a:cubicBezTo>
                    <a:pt x="31" y="158"/>
                    <a:pt x="30" y="157"/>
                    <a:pt x="29" y="156"/>
                  </a:cubicBezTo>
                  <a:cubicBezTo>
                    <a:pt x="30" y="155"/>
                    <a:pt x="30" y="153"/>
                    <a:pt x="30" y="151"/>
                  </a:cubicBezTo>
                  <a:cubicBezTo>
                    <a:pt x="30" y="145"/>
                    <a:pt x="26" y="141"/>
                    <a:pt x="20" y="141"/>
                  </a:cubicBezTo>
                  <a:cubicBezTo>
                    <a:pt x="20" y="141"/>
                    <a:pt x="19" y="141"/>
                    <a:pt x="18" y="141"/>
                  </a:cubicBezTo>
                  <a:cubicBezTo>
                    <a:pt x="16" y="138"/>
                    <a:pt x="14" y="134"/>
                    <a:pt x="13" y="131"/>
                  </a:cubicBezTo>
                  <a:cubicBezTo>
                    <a:pt x="8" y="119"/>
                    <a:pt x="5" y="108"/>
                    <a:pt x="5" y="95"/>
                  </a:cubicBezTo>
                  <a:cubicBezTo>
                    <a:pt x="5" y="83"/>
                    <a:pt x="8" y="71"/>
                    <a:pt x="13" y="60"/>
                  </a:cubicBezTo>
                  <a:cubicBezTo>
                    <a:pt x="17" y="49"/>
                    <a:pt x="24" y="40"/>
                    <a:pt x="32" y="31"/>
                  </a:cubicBezTo>
                  <a:cubicBezTo>
                    <a:pt x="40" y="23"/>
                    <a:pt x="50" y="16"/>
                    <a:pt x="61" y="12"/>
                  </a:cubicBezTo>
                  <a:cubicBezTo>
                    <a:pt x="72" y="7"/>
                    <a:pt x="84" y="5"/>
                    <a:pt x="96" y="5"/>
                  </a:cubicBezTo>
                  <a:cubicBezTo>
                    <a:pt x="108" y="5"/>
                    <a:pt x="120" y="7"/>
                    <a:pt x="131" y="12"/>
                  </a:cubicBezTo>
                  <a:cubicBezTo>
                    <a:pt x="142" y="16"/>
                    <a:pt x="152" y="23"/>
                    <a:pt x="160" y="31"/>
                  </a:cubicBezTo>
                  <a:cubicBezTo>
                    <a:pt x="161" y="32"/>
                    <a:pt x="162" y="33"/>
                    <a:pt x="163" y="34"/>
                  </a:cubicBezTo>
                  <a:cubicBezTo>
                    <a:pt x="162" y="36"/>
                    <a:pt x="162" y="38"/>
                    <a:pt x="162" y="40"/>
                  </a:cubicBezTo>
                  <a:cubicBezTo>
                    <a:pt x="162" y="45"/>
                    <a:pt x="166" y="50"/>
                    <a:pt x="172" y="50"/>
                  </a:cubicBezTo>
                  <a:cubicBezTo>
                    <a:pt x="173" y="50"/>
                    <a:pt x="173" y="49"/>
                    <a:pt x="174" y="49"/>
                  </a:cubicBezTo>
                  <a:cubicBezTo>
                    <a:pt x="176" y="53"/>
                    <a:pt x="178" y="56"/>
                    <a:pt x="180" y="60"/>
                  </a:cubicBezTo>
                  <a:cubicBezTo>
                    <a:pt x="184" y="71"/>
                    <a:pt x="187" y="83"/>
                    <a:pt x="187" y="95"/>
                  </a:cubicBezTo>
                  <a:cubicBezTo>
                    <a:pt x="187" y="108"/>
                    <a:pt x="184" y="119"/>
                    <a:pt x="180" y="131"/>
                  </a:cubicBezTo>
                  <a:cubicBezTo>
                    <a:pt x="175" y="141"/>
                    <a:pt x="169" y="151"/>
                    <a:pt x="160" y="159"/>
                  </a:cubicBezTo>
                  <a:cubicBezTo>
                    <a:pt x="158" y="161"/>
                    <a:pt x="156" y="163"/>
                    <a:pt x="155" y="16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sp>
          <p:nvSpPr>
            <p:cNvPr id="20" name="Freeform 25">
              <a:extLst>
                <a:ext uri="{FF2B5EF4-FFF2-40B4-BE49-F238E27FC236}">
                  <a16:creationId xmlns:a16="http://schemas.microsoft.com/office/drawing/2014/main" id="{279933F9-AE39-4CDB-8C30-B330ECB0334E}"/>
                </a:ext>
              </a:extLst>
            </p:cNvPr>
            <p:cNvSpPr>
              <a:spLocks noEditPoints="1"/>
            </p:cNvSpPr>
            <p:nvPr/>
          </p:nvSpPr>
          <p:spPr bwMode="auto">
            <a:xfrm>
              <a:off x="2272" y="849"/>
              <a:ext cx="153" cy="142"/>
            </a:xfrm>
            <a:custGeom>
              <a:avLst/>
              <a:gdLst>
                <a:gd name="T0" fmla="*/ 98 w 103"/>
                <a:gd name="T1" fmla="*/ 70 h 96"/>
                <a:gd name="T2" fmla="*/ 103 w 103"/>
                <a:gd name="T3" fmla="*/ 48 h 96"/>
                <a:gd name="T4" fmla="*/ 55 w 103"/>
                <a:gd name="T5" fmla="*/ 0 h 96"/>
                <a:gd name="T6" fmla="*/ 8 w 103"/>
                <a:gd name="T7" fmla="*/ 38 h 96"/>
                <a:gd name="T8" fmla="*/ 0 w 103"/>
                <a:gd name="T9" fmla="*/ 48 h 96"/>
                <a:gd name="T10" fmla="*/ 8 w 103"/>
                <a:gd name="T11" fmla="*/ 58 h 96"/>
                <a:gd name="T12" fmla="*/ 55 w 103"/>
                <a:gd name="T13" fmla="*/ 96 h 96"/>
                <a:gd name="T14" fmla="*/ 85 w 103"/>
                <a:gd name="T15" fmla="*/ 86 h 96"/>
                <a:gd name="T16" fmla="*/ 91 w 103"/>
                <a:gd name="T17" fmla="*/ 88 h 96"/>
                <a:gd name="T18" fmla="*/ 101 w 103"/>
                <a:gd name="T19" fmla="*/ 77 h 96"/>
                <a:gd name="T20" fmla="*/ 98 w 103"/>
                <a:gd name="T21" fmla="*/ 70 h 96"/>
                <a:gd name="T22" fmla="*/ 25 w 103"/>
                <a:gd name="T23" fmla="*/ 79 h 96"/>
                <a:gd name="T24" fmla="*/ 13 w 103"/>
                <a:gd name="T25" fmla="*/ 58 h 96"/>
                <a:gd name="T26" fmla="*/ 20 w 103"/>
                <a:gd name="T27" fmla="*/ 48 h 96"/>
                <a:gd name="T28" fmla="*/ 13 w 103"/>
                <a:gd name="T29" fmla="*/ 39 h 96"/>
                <a:gd name="T30" fmla="*/ 25 w 103"/>
                <a:gd name="T31" fmla="*/ 18 h 96"/>
                <a:gd name="T32" fmla="*/ 55 w 103"/>
                <a:gd name="T33" fmla="*/ 6 h 96"/>
                <a:gd name="T34" fmla="*/ 85 w 103"/>
                <a:gd name="T35" fmla="*/ 18 h 96"/>
                <a:gd name="T36" fmla="*/ 98 w 103"/>
                <a:gd name="T37" fmla="*/ 48 h 96"/>
                <a:gd name="T38" fmla="*/ 93 w 103"/>
                <a:gd name="T39" fmla="*/ 68 h 96"/>
                <a:gd name="T40" fmla="*/ 90 w 103"/>
                <a:gd name="T41" fmla="*/ 67 h 96"/>
                <a:gd name="T42" fmla="*/ 80 w 103"/>
                <a:gd name="T43" fmla="*/ 77 h 96"/>
                <a:gd name="T44" fmla="*/ 81 w 103"/>
                <a:gd name="T45" fmla="*/ 82 h 96"/>
                <a:gd name="T46" fmla="*/ 55 w 103"/>
                <a:gd name="T47" fmla="*/ 91 h 96"/>
                <a:gd name="T48" fmla="*/ 25 w 103"/>
                <a:gd name="T49"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96">
                  <a:moveTo>
                    <a:pt x="98" y="70"/>
                  </a:moveTo>
                  <a:cubicBezTo>
                    <a:pt x="101" y="64"/>
                    <a:pt x="103" y="56"/>
                    <a:pt x="103" y="48"/>
                  </a:cubicBezTo>
                  <a:cubicBezTo>
                    <a:pt x="103" y="22"/>
                    <a:pt x="81" y="0"/>
                    <a:pt x="55" y="0"/>
                  </a:cubicBezTo>
                  <a:cubicBezTo>
                    <a:pt x="32" y="0"/>
                    <a:pt x="13" y="17"/>
                    <a:pt x="8" y="38"/>
                  </a:cubicBezTo>
                  <a:cubicBezTo>
                    <a:pt x="4" y="39"/>
                    <a:pt x="0" y="43"/>
                    <a:pt x="0" y="48"/>
                  </a:cubicBezTo>
                  <a:cubicBezTo>
                    <a:pt x="0" y="53"/>
                    <a:pt x="4" y="58"/>
                    <a:pt x="8" y="58"/>
                  </a:cubicBezTo>
                  <a:cubicBezTo>
                    <a:pt x="13" y="80"/>
                    <a:pt x="32" y="96"/>
                    <a:pt x="55" y="96"/>
                  </a:cubicBezTo>
                  <a:cubicBezTo>
                    <a:pt x="66" y="96"/>
                    <a:pt x="77" y="92"/>
                    <a:pt x="85" y="86"/>
                  </a:cubicBezTo>
                  <a:cubicBezTo>
                    <a:pt x="86" y="87"/>
                    <a:pt x="88" y="88"/>
                    <a:pt x="91" y="88"/>
                  </a:cubicBezTo>
                  <a:cubicBezTo>
                    <a:pt x="96" y="88"/>
                    <a:pt x="101" y="83"/>
                    <a:pt x="101" y="77"/>
                  </a:cubicBezTo>
                  <a:cubicBezTo>
                    <a:pt x="101" y="75"/>
                    <a:pt x="99" y="72"/>
                    <a:pt x="98" y="70"/>
                  </a:cubicBezTo>
                  <a:close/>
                  <a:moveTo>
                    <a:pt x="25" y="79"/>
                  </a:moveTo>
                  <a:cubicBezTo>
                    <a:pt x="19" y="73"/>
                    <a:pt x="15" y="66"/>
                    <a:pt x="13" y="58"/>
                  </a:cubicBezTo>
                  <a:cubicBezTo>
                    <a:pt x="17" y="56"/>
                    <a:pt x="20" y="53"/>
                    <a:pt x="20" y="48"/>
                  </a:cubicBezTo>
                  <a:cubicBezTo>
                    <a:pt x="20" y="44"/>
                    <a:pt x="17" y="40"/>
                    <a:pt x="13" y="39"/>
                  </a:cubicBezTo>
                  <a:cubicBezTo>
                    <a:pt x="15" y="31"/>
                    <a:pt x="19" y="24"/>
                    <a:pt x="25" y="18"/>
                  </a:cubicBezTo>
                  <a:cubicBezTo>
                    <a:pt x="33" y="10"/>
                    <a:pt x="44" y="6"/>
                    <a:pt x="55" y="6"/>
                  </a:cubicBezTo>
                  <a:cubicBezTo>
                    <a:pt x="67" y="6"/>
                    <a:pt x="77" y="10"/>
                    <a:pt x="85" y="18"/>
                  </a:cubicBezTo>
                  <a:cubicBezTo>
                    <a:pt x="93" y="26"/>
                    <a:pt x="98" y="37"/>
                    <a:pt x="98" y="48"/>
                  </a:cubicBezTo>
                  <a:cubicBezTo>
                    <a:pt x="98" y="55"/>
                    <a:pt x="96" y="62"/>
                    <a:pt x="93" y="68"/>
                  </a:cubicBezTo>
                  <a:cubicBezTo>
                    <a:pt x="92" y="67"/>
                    <a:pt x="91" y="67"/>
                    <a:pt x="90" y="67"/>
                  </a:cubicBezTo>
                  <a:cubicBezTo>
                    <a:pt x="85" y="67"/>
                    <a:pt x="80" y="72"/>
                    <a:pt x="80" y="77"/>
                  </a:cubicBezTo>
                  <a:cubicBezTo>
                    <a:pt x="80" y="79"/>
                    <a:pt x="81" y="81"/>
                    <a:pt x="81" y="82"/>
                  </a:cubicBezTo>
                  <a:cubicBezTo>
                    <a:pt x="74" y="88"/>
                    <a:pt x="65" y="91"/>
                    <a:pt x="55" y="91"/>
                  </a:cubicBezTo>
                  <a:cubicBezTo>
                    <a:pt x="44" y="91"/>
                    <a:pt x="33" y="87"/>
                    <a:pt x="25"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C3C41"/>
                </a:solidFill>
                <a:effectLst/>
                <a:uLnTx/>
                <a:uFillTx/>
              </a:endParaRPr>
            </a:p>
          </p:txBody>
        </p:sp>
      </p:grpSp>
      <p:grpSp>
        <p:nvGrpSpPr>
          <p:cNvPr id="21" name="Group 20">
            <a:extLst>
              <a:ext uri="{FF2B5EF4-FFF2-40B4-BE49-F238E27FC236}">
                <a16:creationId xmlns:a16="http://schemas.microsoft.com/office/drawing/2014/main" id="{5071E6B1-0F7E-4BD3-A2EE-F40C4335263F}"/>
              </a:ext>
            </a:extLst>
          </p:cNvPr>
          <p:cNvGrpSpPr/>
          <p:nvPr/>
        </p:nvGrpSpPr>
        <p:grpSpPr>
          <a:xfrm>
            <a:off x="6110421" y="1589390"/>
            <a:ext cx="680979" cy="656835"/>
            <a:chOff x="5592823" y="1161775"/>
            <a:chExt cx="806341" cy="777753"/>
          </a:xfrm>
        </p:grpSpPr>
        <p:pic>
          <p:nvPicPr>
            <p:cNvPr id="22" name="Graphic 21" descr="SQL Database R">
              <a:extLst>
                <a:ext uri="{FF2B5EF4-FFF2-40B4-BE49-F238E27FC236}">
                  <a16:creationId xmlns:a16="http://schemas.microsoft.com/office/drawing/2014/main" id="{E68A4B41-398C-41E5-A44A-5B945CE0A5E3}"/>
                </a:ext>
              </a:extLst>
            </p:cNvPr>
            <p:cNvPicPr>
              <a:picLocks noChangeAspect="1"/>
            </p:cNvPicPr>
            <p:nvPr/>
          </p:nvPicPr>
          <p:blipFill>
            <a:blip r:embed="rId3">
              <a:lum bright="15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92823" y="1161775"/>
              <a:ext cx="777753" cy="777753"/>
            </a:xfrm>
            <a:prstGeom prst="rect">
              <a:avLst/>
            </a:prstGeom>
          </p:spPr>
        </p:pic>
        <p:sp>
          <p:nvSpPr>
            <p:cNvPr id="23" name="Freeform: Shape 22">
              <a:extLst>
                <a:ext uri="{FF2B5EF4-FFF2-40B4-BE49-F238E27FC236}">
                  <a16:creationId xmlns:a16="http://schemas.microsoft.com/office/drawing/2014/main" id="{A1597B2D-4E6E-4565-8203-72BC92117838}"/>
                </a:ext>
              </a:extLst>
            </p:cNvPr>
            <p:cNvSpPr/>
            <p:nvPr/>
          </p:nvSpPr>
          <p:spPr bwMode="auto">
            <a:xfrm>
              <a:off x="5937201" y="1165650"/>
              <a:ext cx="461963" cy="333565"/>
            </a:xfrm>
            <a:custGeom>
              <a:avLst/>
              <a:gdLst>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7157 w 461963"/>
                <a:gd name="connsiteY6" fmla="*/ 18811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42863 w 461963"/>
                <a:gd name="connsiteY5" fmla="*/ 142875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101650 w 461963"/>
                <a:gd name="connsiteY6" fmla="*/ 178053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0424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294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3388 w 461963"/>
                <a:gd name="connsiteY6" fmla="*/ 180569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 name="connsiteX0" fmla="*/ 140494 w 461963"/>
                <a:gd name="connsiteY0" fmla="*/ 304800 h 304800"/>
                <a:gd name="connsiteX1" fmla="*/ 461963 w 461963"/>
                <a:gd name="connsiteY1" fmla="*/ 278606 h 304800"/>
                <a:gd name="connsiteX2" fmla="*/ 390525 w 461963"/>
                <a:gd name="connsiteY2" fmla="*/ 14288 h 304800"/>
                <a:gd name="connsiteX3" fmla="*/ 150019 w 461963"/>
                <a:gd name="connsiteY3" fmla="*/ 0 h 304800"/>
                <a:gd name="connsiteX4" fmla="*/ 0 w 461963"/>
                <a:gd name="connsiteY4" fmla="*/ 83344 h 304800"/>
                <a:gd name="connsiteX5" fmla="*/ 31847 w 461963"/>
                <a:gd name="connsiteY5" fmla="*/ 151402 h 304800"/>
                <a:gd name="connsiteX6" fmla="*/ 95074 w 461963"/>
                <a:gd name="connsiteY6" fmla="*/ 186730 h 304800"/>
                <a:gd name="connsiteX7" fmla="*/ 140494 w 461963"/>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63" h="304800">
                  <a:moveTo>
                    <a:pt x="140494" y="304800"/>
                  </a:moveTo>
                  <a:lnTo>
                    <a:pt x="461963" y="278606"/>
                  </a:lnTo>
                  <a:lnTo>
                    <a:pt x="390525" y="14288"/>
                  </a:lnTo>
                  <a:lnTo>
                    <a:pt x="150019" y="0"/>
                  </a:lnTo>
                  <a:lnTo>
                    <a:pt x="0" y="83344"/>
                  </a:lnTo>
                  <a:lnTo>
                    <a:pt x="31847" y="151402"/>
                  </a:lnTo>
                  <a:cubicBezTo>
                    <a:pt x="76674" y="170404"/>
                    <a:pt x="80337" y="170405"/>
                    <a:pt x="95074" y="186730"/>
                  </a:cubicBezTo>
                  <a:cubicBezTo>
                    <a:pt x="109811" y="203055"/>
                    <a:pt x="81360" y="289719"/>
                    <a:pt x="140494" y="304800"/>
                  </a:cubicBezTo>
                  <a:close/>
                </a:path>
              </a:pathLst>
            </a:cu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4" name="Graphic 23" descr=" SQL Server">
            <a:extLst>
              <a:ext uri="{FF2B5EF4-FFF2-40B4-BE49-F238E27FC236}">
                <a16:creationId xmlns:a16="http://schemas.microsoft.com/office/drawing/2014/main" id="{C68ECC30-66AF-4F52-9FC0-5A168BA6FE00}"/>
              </a:ext>
            </a:extLst>
          </p:cNvPr>
          <p:cNvPicPr>
            <a:picLocks noChangeAspect="1"/>
          </p:cNvPicPr>
          <p:nvPr/>
        </p:nvPicPr>
        <p:blipFill>
          <a:blip r:embed="rId5">
            <a:lum bright="8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37066" y="3983217"/>
            <a:ext cx="573646" cy="573646"/>
          </a:xfrm>
          <a:prstGeom prst="rect">
            <a:avLst/>
          </a:prstGeom>
        </p:spPr>
      </p:pic>
      <p:pic>
        <p:nvPicPr>
          <p:cNvPr id="25" name="Graphic 24" descr="Virtual Machines">
            <a:extLst>
              <a:ext uri="{FF2B5EF4-FFF2-40B4-BE49-F238E27FC236}">
                <a16:creationId xmlns:a16="http://schemas.microsoft.com/office/drawing/2014/main" id="{79EAC907-6549-420E-BDB4-F5B93052D217}"/>
              </a:ext>
            </a:extLst>
          </p:cNvPr>
          <p:cNvPicPr>
            <a:picLocks noChangeAspect="1"/>
          </p:cNvPicPr>
          <p:nvPr/>
        </p:nvPicPr>
        <p:blipFill>
          <a:blip r:embed="rId7">
            <a:lum bright="8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98154" y="5163695"/>
            <a:ext cx="466659" cy="466659"/>
          </a:xfrm>
          <a:prstGeom prst="rect">
            <a:avLst/>
          </a:prstGeom>
        </p:spPr>
      </p:pic>
      <p:pic>
        <p:nvPicPr>
          <p:cNvPr id="26" name="Graphic 25" descr="SQL Database">
            <a:extLst>
              <a:ext uri="{FF2B5EF4-FFF2-40B4-BE49-F238E27FC236}">
                <a16:creationId xmlns:a16="http://schemas.microsoft.com/office/drawing/2014/main" id="{308FD28A-10C7-40EC-BA04-41DEC509ECB3}"/>
              </a:ext>
            </a:extLst>
          </p:cNvPr>
          <p:cNvPicPr>
            <a:picLocks noChangeAspect="1"/>
          </p:cNvPicPr>
          <p:nvPr/>
        </p:nvPicPr>
        <p:blipFill>
          <a:blip r:embed="rId9">
            <a:lum bright="8000"/>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82358" y="5366163"/>
            <a:ext cx="308330" cy="308330"/>
          </a:xfrm>
          <a:prstGeom prst="rect">
            <a:avLst/>
          </a:prstGeom>
        </p:spPr>
      </p:pic>
    </p:spTree>
    <p:extLst>
      <p:ext uri="{BB962C8B-B14F-4D97-AF65-F5344CB8AC3E}">
        <p14:creationId xmlns:p14="http://schemas.microsoft.com/office/powerpoint/2010/main" val="4100642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07085A2-4FBE-421E-A332-5449E2F44450}"/>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dirty="0">
                <a:ln w="3175">
                  <a:noFill/>
                </a:ln>
                <a:gradFill>
                  <a:gsLst>
                    <a:gs pos="1250">
                      <a:sysClr val="windowText" lastClr="000000"/>
                    </a:gs>
                    <a:gs pos="100000">
                      <a:sysClr val="windowText" lastClr="000000"/>
                    </a:gs>
                  </a:gsLst>
                  <a:lin ang="5400000" scaled="0"/>
                </a:gradFill>
                <a:effectLst/>
                <a:uLnTx/>
                <a:uFillTx/>
                <a:latin typeface="Segoe UI Semibold"/>
                <a:ea typeface="+mn-ea"/>
                <a:cs typeface="Segoe UI" pitchFamily="34" charset="0"/>
              </a:rPr>
              <a:t>Azure SQL Family</a:t>
            </a:r>
          </a:p>
        </p:txBody>
      </p:sp>
      <p:pic>
        <p:nvPicPr>
          <p:cNvPr id="13" name="Picture 12">
            <a:extLst>
              <a:ext uri="{FF2B5EF4-FFF2-40B4-BE49-F238E27FC236}">
                <a16:creationId xmlns:a16="http://schemas.microsoft.com/office/drawing/2014/main" id="{DDBFF6E5-8EEB-4AF2-AE55-05C2F96FF20C}"/>
              </a:ext>
            </a:extLst>
          </p:cNvPr>
          <p:cNvPicPr>
            <a:picLocks noChangeAspect="1"/>
          </p:cNvPicPr>
          <p:nvPr/>
        </p:nvPicPr>
        <p:blipFill>
          <a:blip r:embed="rId3"/>
          <a:stretch>
            <a:fillRect/>
          </a:stretch>
        </p:blipFill>
        <p:spPr>
          <a:xfrm>
            <a:off x="811251" y="1847127"/>
            <a:ext cx="10795532" cy="31637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7517310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514266" y="310062"/>
            <a:ext cx="10880725" cy="461665"/>
          </a:xfrm>
        </p:spPr>
        <p:txBody>
          <a:bodyPr/>
          <a:lstStyle/>
          <a:p>
            <a:r>
              <a:rPr lang="en-US"/>
              <a:t>A closer look… Best for</a:t>
            </a:r>
          </a:p>
        </p:txBody>
      </p:sp>
      <p:graphicFrame>
        <p:nvGraphicFramePr>
          <p:cNvPr id="7" name="Diagram 6">
            <a:extLst>
              <a:ext uri="{FF2B5EF4-FFF2-40B4-BE49-F238E27FC236}">
                <a16:creationId xmlns:a16="http://schemas.microsoft.com/office/drawing/2014/main" id="{18FFD0BA-ED18-4F81-8C66-3DA154E8B166}"/>
              </a:ext>
            </a:extLst>
          </p:cNvPr>
          <p:cNvGraphicFramePr/>
          <p:nvPr>
            <p:extLst>
              <p:ext uri="{D42A27DB-BD31-4B8C-83A1-F6EECF244321}">
                <p14:modId xmlns:p14="http://schemas.microsoft.com/office/powerpoint/2010/main" val="2911173270"/>
              </p:ext>
            </p:extLst>
          </p:nvPr>
        </p:nvGraphicFramePr>
        <p:xfrm>
          <a:off x="514266" y="1052614"/>
          <a:ext cx="11163467" cy="5281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2331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Purchasing models and resources</a:t>
            </a:r>
          </a:p>
        </p:txBody>
      </p:sp>
      <p:grpSp>
        <p:nvGrpSpPr>
          <p:cNvPr id="6" name="Group 5">
            <a:extLst>
              <a:ext uri="{FF2B5EF4-FFF2-40B4-BE49-F238E27FC236}">
                <a16:creationId xmlns:a16="http://schemas.microsoft.com/office/drawing/2014/main" id="{60B12E2B-40FE-49BA-AB6C-A51873E84AEE}"/>
              </a:ext>
            </a:extLst>
          </p:cNvPr>
          <p:cNvGrpSpPr/>
          <p:nvPr/>
        </p:nvGrpSpPr>
        <p:grpSpPr>
          <a:xfrm>
            <a:off x="7497543" y="1408114"/>
            <a:ext cx="4038818" cy="4663503"/>
            <a:chOff x="6508458" y="346017"/>
            <a:chExt cx="4726051" cy="6243344"/>
          </a:xfrm>
        </p:grpSpPr>
        <p:sp>
          <p:nvSpPr>
            <p:cNvPr id="7" name="TextBox 6">
              <a:extLst>
                <a:ext uri="{FF2B5EF4-FFF2-40B4-BE49-F238E27FC236}">
                  <a16:creationId xmlns:a16="http://schemas.microsoft.com/office/drawing/2014/main" id="{E6F4DF75-EE24-450B-8AD4-1D87A85E0C46}"/>
                </a:ext>
              </a:extLst>
            </p:cNvPr>
            <p:cNvSpPr txBox="1"/>
            <p:nvPr/>
          </p:nvSpPr>
          <p:spPr>
            <a:xfrm>
              <a:off x="8227608" y="3714631"/>
              <a:ext cx="2034544" cy="58715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New vCore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Independent scalability</a:t>
              </a:r>
            </a:p>
          </p:txBody>
        </p:sp>
        <p:sp>
          <p:nvSpPr>
            <p:cNvPr id="8" name="TextBox 7">
              <a:extLst>
                <a:ext uri="{FF2B5EF4-FFF2-40B4-BE49-F238E27FC236}">
                  <a16:creationId xmlns:a16="http://schemas.microsoft.com/office/drawing/2014/main" id="{5FE14864-D0AF-4D2C-84E8-77CCDC7FE651}"/>
                </a:ext>
              </a:extLst>
            </p:cNvPr>
            <p:cNvSpPr txBox="1"/>
            <p:nvPr/>
          </p:nvSpPr>
          <p:spPr>
            <a:xfrm>
              <a:off x="8435861" y="346017"/>
              <a:ext cx="1439710" cy="438582"/>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DTU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latin typeface="Segoe UI Semibold" panose="020B0702040204020203" pitchFamily="34" charset="0"/>
                  <a:ea typeface="MS PGothic" charset="0"/>
                  <a:cs typeface="Segoe UI Semibold" panose="020B0702040204020203" pitchFamily="34" charset="0"/>
                </a:rPr>
                <a:t>Fixed scalability</a:t>
              </a:r>
            </a:p>
          </p:txBody>
        </p:sp>
        <p:cxnSp>
          <p:nvCxnSpPr>
            <p:cNvPr id="9" name="Straight Arrow Connector 8">
              <a:extLst>
                <a:ext uri="{FF2B5EF4-FFF2-40B4-BE49-F238E27FC236}">
                  <a16:creationId xmlns:a16="http://schemas.microsoft.com/office/drawing/2014/main" id="{53275D1C-549D-495A-A3D2-3420B0A8618A}"/>
                </a:ext>
              </a:extLst>
            </p:cNvPr>
            <p:cNvCxnSpPr/>
            <p:nvPr/>
          </p:nvCxnSpPr>
          <p:spPr>
            <a:xfrm flipV="1">
              <a:off x="6865373" y="4336874"/>
              <a:ext cx="0" cy="1955155"/>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0" name="Straight Arrow Connector 9">
              <a:extLst>
                <a:ext uri="{FF2B5EF4-FFF2-40B4-BE49-F238E27FC236}">
                  <a16:creationId xmlns:a16="http://schemas.microsoft.com/office/drawing/2014/main" id="{0D887CAB-4442-45D6-9A30-85AEB02BF393}"/>
                </a:ext>
              </a:extLst>
            </p:cNvPr>
            <p:cNvCxnSpPr>
              <a:cxnSpLocks/>
            </p:cNvCxnSpPr>
            <p:nvPr/>
          </p:nvCxnSpPr>
          <p:spPr>
            <a:xfrm flipV="1">
              <a:off x="6865373" y="6292028"/>
              <a:ext cx="4369136" cy="1"/>
            </a:xfrm>
            <a:prstGeom prst="straightConnector1">
              <a:avLst/>
            </a:prstGeom>
            <a:noFill/>
            <a:ln w="12700" cap="flat" cmpd="sng" algn="ctr">
              <a:solidFill>
                <a:schemeClr val="tx1">
                  <a:lumMod val="65000"/>
                  <a:lumOff val="35000"/>
                </a:schemeClr>
              </a:solidFill>
              <a:prstDash val="solid"/>
              <a:miter lim="800000"/>
              <a:tailEnd type="triangle"/>
            </a:ln>
            <a:effectLst/>
          </p:spPr>
        </p:cxnSp>
        <p:sp>
          <p:nvSpPr>
            <p:cNvPr id="11" name="TextBox 10">
              <a:extLst>
                <a:ext uri="{FF2B5EF4-FFF2-40B4-BE49-F238E27FC236}">
                  <a16:creationId xmlns:a16="http://schemas.microsoft.com/office/drawing/2014/main" id="{C26E3A7F-4789-401F-BE89-267EF50B61F5}"/>
                </a:ext>
              </a:extLst>
            </p:cNvPr>
            <p:cNvSpPr txBox="1"/>
            <p:nvPr/>
          </p:nvSpPr>
          <p:spPr>
            <a:xfrm rot="16200000">
              <a:off x="6196829" y="5104835"/>
              <a:ext cx="973313" cy="2971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Compute</a:t>
              </a:r>
              <a:r>
                <a:rPr kumimoji="0" lang="en-US" sz="1050" b="0" i="0" u="none" strike="noStrike" kern="1200" cap="none" spc="0" normalizeH="0" baseline="0" noProof="0" dirty="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sp>
          <p:nvSpPr>
            <p:cNvPr id="12" name="TextBox 11">
              <a:extLst>
                <a:ext uri="{FF2B5EF4-FFF2-40B4-BE49-F238E27FC236}">
                  <a16:creationId xmlns:a16="http://schemas.microsoft.com/office/drawing/2014/main" id="{09739CB9-693F-4FB8-94BE-DF5648BD881E}"/>
                </a:ext>
              </a:extLst>
            </p:cNvPr>
            <p:cNvSpPr txBox="1"/>
            <p:nvPr/>
          </p:nvSpPr>
          <p:spPr>
            <a:xfrm>
              <a:off x="8424318" y="6335445"/>
              <a:ext cx="125124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torage</a:t>
              </a: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sp>
          <p:nvSpPr>
            <p:cNvPr id="13" name="TextBox 12">
              <a:extLst>
                <a:ext uri="{FF2B5EF4-FFF2-40B4-BE49-F238E27FC236}">
                  <a16:creationId xmlns:a16="http://schemas.microsoft.com/office/drawing/2014/main" id="{6FF4ABC5-B3B5-473E-BBFF-C64F18AEB990}"/>
                </a:ext>
              </a:extLst>
            </p:cNvPr>
            <p:cNvSpPr txBox="1"/>
            <p:nvPr/>
          </p:nvSpPr>
          <p:spPr>
            <a:xfrm>
              <a:off x="8224313" y="2966066"/>
              <a:ext cx="165125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Storage</a:t>
              </a:r>
            </a:p>
          </p:txBody>
        </p:sp>
        <p:sp>
          <p:nvSpPr>
            <p:cNvPr id="14" name="TextBox 13">
              <a:extLst>
                <a:ext uri="{FF2B5EF4-FFF2-40B4-BE49-F238E27FC236}">
                  <a16:creationId xmlns:a16="http://schemas.microsoft.com/office/drawing/2014/main" id="{064AE4FF-FD59-4664-BBA7-FDC46442E801}"/>
                </a:ext>
              </a:extLst>
            </p:cNvPr>
            <p:cNvSpPr txBox="1"/>
            <p:nvPr/>
          </p:nvSpPr>
          <p:spPr>
            <a:xfrm rot="16200000">
              <a:off x="6170362" y="1761423"/>
              <a:ext cx="973313" cy="2971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Compute</a:t>
              </a:r>
              <a:r>
                <a:rPr kumimoji="0" lang="en-US" sz="1050" b="0" i="0" u="none" strike="noStrike" kern="1200" cap="none" spc="0" normalizeH="0" baseline="0" noProof="0">
                  <a:ln>
                    <a:noFill/>
                  </a:ln>
                  <a:solidFill>
                    <a:prstClr val="black"/>
                  </a:solidFill>
                  <a:effectLst/>
                  <a:uLnTx/>
                  <a:uFillTx/>
                  <a:latin typeface="Segoe UI Semilight" panose="020B0402040204020203" pitchFamily="34" charset="0"/>
                  <a:ea typeface="+mn-ea"/>
                  <a:cs typeface="Segoe UI Semilight" panose="020B0402040204020203" pitchFamily="34" charset="0"/>
                </a:rPr>
                <a:t> </a:t>
              </a:r>
            </a:p>
          </p:txBody>
        </p:sp>
        <p:cxnSp>
          <p:nvCxnSpPr>
            <p:cNvPr id="15" name="Straight Arrow Connector 14">
              <a:extLst>
                <a:ext uri="{FF2B5EF4-FFF2-40B4-BE49-F238E27FC236}">
                  <a16:creationId xmlns:a16="http://schemas.microsoft.com/office/drawing/2014/main" id="{51737AB7-B85A-4BEA-80C2-F580DFECB114}"/>
                </a:ext>
              </a:extLst>
            </p:cNvPr>
            <p:cNvCxnSpPr/>
            <p:nvPr/>
          </p:nvCxnSpPr>
          <p:spPr>
            <a:xfrm flipV="1">
              <a:off x="6865375" y="962203"/>
              <a:ext cx="0" cy="1955152"/>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6" name="Straight Arrow Connector 15">
              <a:extLst>
                <a:ext uri="{FF2B5EF4-FFF2-40B4-BE49-F238E27FC236}">
                  <a16:creationId xmlns:a16="http://schemas.microsoft.com/office/drawing/2014/main" id="{40117F59-AB3B-4E46-95CC-8ECDF6642F30}"/>
                </a:ext>
              </a:extLst>
            </p:cNvPr>
            <p:cNvCxnSpPr>
              <a:cxnSpLocks/>
            </p:cNvCxnSpPr>
            <p:nvPr/>
          </p:nvCxnSpPr>
          <p:spPr>
            <a:xfrm flipV="1">
              <a:off x="6865375" y="2917354"/>
              <a:ext cx="4369132" cy="1"/>
            </a:xfrm>
            <a:prstGeom prst="straightConnector1">
              <a:avLst/>
            </a:prstGeom>
            <a:noFill/>
            <a:ln w="12700" cap="flat" cmpd="sng" algn="ctr">
              <a:solidFill>
                <a:schemeClr val="tx1">
                  <a:lumMod val="65000"/>
                  <a:lumOff val="35000"/>
                </a:schemeClr>
              </a:solidFill>
              <a:prstDash val="solid"/>
              <a:miter lim="800000"/>
              <a:tailEnd type="triangle"/>
            </a:ln>
            <a:effectLst/>
          </p:spPr>
        </p:cxnSp>
        <p:cxnSp>
          <p:nvCxnSpPr>
            <p:cNvPr id="17" name="Straight Arrow Connector 16">
              <a:extLst>
                <a:ext uri="{FF2B5EF4-FFF2-40B4-BE49-F238E27FC236}">
                  <a16:creationId xmlns:a16="http://schemas.microsoft.com/office/drawing/2014/main" id="{54E3ABED-53C4-405A-AF09-4BF2473D22AE}"/>
                </a:ext>
              </a:extLst>
            </p:cNvPr>
            <p:cNvCxnSpPr>
              <a:cxnSpLocks/>
            </p:cNvCxnSpPr>
            <p:nvPr/>
          </p:nvCxnSpPr>
          <p:spPr>
            <a:xfrm flipV="1">
              <a:off x="6902736" y="1106737"/>
              <a:ext cx="4202818" cy="1808855"/>
            </a:xfrm>
            <a:prstGeom prst="straightConnector1">
              <a:avLst/>
            </a:prstGeom>
            <a:noFill/>
            <a:ln w="9525" cap="flat" cmpd="sng" algn="ctr">
              <a:solidFill>
                <a:schemeClr val="tx2"/>
              </a:solidFill>
              <a:prstDash val="sysDash"/>
              <a:miter lim="800000"/>
              <a:tailEnd type="triangle" w="sm" len="sm"/>
            </a:ln>
            <a:effectLst/>
          </p:spPr>
        </p:cxnSp>
        <p:cxnSp>
          <p:nvCxnSpPr>
            <p:cNvPr id="18" name="Straight Connector 17">
              <a:extLst>
                <a:ext uri="{FF2B5EF4-FFF2-40B4-BE49-F238E27FC236}">
                  <a16:creationId xmlns:a16="http://schemas.microsoft.com/office/drawing/2014/main" id="{87FDD1CA-9170-41C6-B776-2943E8AD0E6B}"/>
                </a:ext>
              </a:extLst>
            </p:cNvPr>
            <p:cNvCxnSpPr>
              <a:cxnSpLocks/>
            </p:cNvCxnSpPr>
            <p:nvPr/>
          </p:nvCxnSpPr>
          <p:spPr>
            <a:xfrm flipV="1">
              <a:off x="7598967" y="2656901"/>
              <a:ext cx="0" cy="258692"/>
            </a:xfrm>
            <a:prstGeom prst="line">
              <a:avLst/>
            </a:prstGeom>
            <a:noFill/>
            <a:ln w="9525" cap="flat" cmpd="sng" algn="ctr">
              <a:solidFill>
                <a:schemeClr val="tx2"/>
              </a:solidFill>
              <a:prstDash val="dash"/>
              <a:round/>
              <a:headEnd type="none" w="med" len="med"/>
              <a:tailEnd type="none" w="med" len="med"/>
            </a:ln>
            <a:effectLst/>
          </p:spPr>
        </p:cxnSp>
        <p:cxnSp>
          <p:nvCxnSpPr>
            <p:cNvPr id="19" name="Straight Connector 18">
              <a:extLst>
                <a:ext uri="{FF2B5EF4-FFF2-40B4-BE49-F238E27FC236}">
                  <a16:creationId xmlns:a16="http://schemas.microsoft.com/office/drawing/2014/main" id="{1E0CCA4A-8BAE-4E77-B7B3-C58324044D42}"/>
                </a:ext>
              </a:extLst>
            </p:cNvPr>
            <p:cNvCxnSpPr>
              <a:cxnSpLocks/>
            </p:cNvCxnSpPr>
            <p:nvPr/>
          </p:nvCxnSpPr>
          <p:spPr>
            <a:xfrm flipV="1">
              <a:off x="8377343" y="2325478"/>
              <a:ext cx="0" cy="590235"/>
            </a:xfrm>
            <a:prstGeom prst="line">
              <a:avLst/>
            </a:prstGeom>
            <a:noFill/>
            <a:ln w="9525" cap="flat" cmpd="sng" algn="ctr">
              <a:solidFill>
                <a:schemeClr val="tx2"/>
              </a:solidFill>
              <a:prstDash val="dash"/>
              <a:round/>
              <a:headEnd type="none" w="med" len="med"/>
              <a:tailEnd type="none" w="med" len="med"/>
            </a:ln>
            <a:effectLst/>
          </p:spPr>
        </p:cxnSp>
        <p:cxnSp>
          <p:nvCxnSpPr>
            <p:cNvPr id="20" name="Straight Connector 19">
              <a:extLst>
                <a:ext uri="{FF2B5EF4-FFF2-40B4-BE49-F238E27FC236}">
                  <a16:creationId xmlns:a16="http://schemas.microsoft.com/office/drawing/2014/main" id="{CDFA479F-0C94-408A-8F53-151D34CE0B6E}"/>
                </a:ext>
              </a:extLst>
            </p:cNvPr>
            <p:cNvCxnSpPr>
              <a:cxnSpLocks/>
            </p:cNvCxnSpPr>
            <p:nvPr/>
          </p:nvCxnSpPr>
          <p:spPr>
            <a:xfrm flipH="1" flipV="1">
              <a:off x="9155718" y="1995104"/>
              <a:ext cx="0" cy="920608"/>
            </a:xfrm>
            <a:prstGeom prst="line">
              <a:avLst/>
            </a:prstGeom>
            <a:noFill/>
            <a:ln w="9525" cap="flat" cmpd="sng" algn="ctr">
              <a:solidFill>
                <a:schemeClr val="tx2"/>
              </a:solidFill>
              <a:prstDash val="dash"/>
              <a:round/>
              <a:headEnd type="none" w="med" len="med"/>
              <a:tailEnd type="none" w="med" len="med"/>
            </a:ln>
            <a:effectLst/>
          </p:spPr>
        </p:cxnSp>
        <p:cxnSp>
          <p:nvCxnSpPr>
            <p:cNvPr id="21" name="Straight Connector 20">
              <a:extLst>
                <a:ext uri="{FF2B5EF4-FFF2-40B4-BE49-F238E27FC236}">
                  <a16:creationId xmlns:a16="http://schemas.microsoft.com/office/drawing/2014/main" id="{1992A00A-43AF-41D8-88A3-DDC955547053}"/>
                </a:ext>
              </a:extLst>
            </p:cNvPr>
            <p:cNvCxnSpPr>
              <a:cxnSpLocks/>
            </p:cNvCxnSpPr>
            <p:nvPr/>
          </p:nvCxnSpPr>
          <p:spPr>
            <a:xfrm flipV="1">
              <a:off x="9934095" y="1662632"/>
              <a:ext cx="0" cy="1252962"/>
            </a:xfrm>
            <a:prstGeom prst="line">
              <a:avLst/>
            </a:prstGeom>
            <a:noFill/>
            <a:ln w="9525" cap="flat" cmpd="sng" algn="ctr">
              <a:solidFill>
                <a:schemeClr val="tx2"/>
              </a:solidFill>
              <a:prstDash val="dash"/>
              <a:round/>
              <a:headEnd type="none" w="med" len="med"/>
              <a:tailEnd type="none" w="med" len="med"/>
            </a:ln>
            <a:effectLst/>
          </p:spPr>
        </p:cxnSp>
        <p:cxnSp>
          <p:nvCxnSpPr>
            <p:cNvPr id="22" name="Straight Connector 21">
              <a:extLst>
                <a:ext uri="{FF2B5EF4-FFF2-40B4-BE49-F238E27FC236}">
                  <a16:creationId xmlns:a16="http://schemas.microsoft.com/office/drawing/2014/main" id="{075BFB73-01FF-4484-BB1C-DE5AE5CDB16C}"/>
                </a:ext>
              </a:extLst>
            </p:cNvPr>
            <p:cNvCxnSpPr>
              <a:cxnSpLocks/>
            </p:cNvCxnSpPr>
            <p:nvPr/>
          </p:nvCxnSpPr>
          <p:spPr>
            <a:xfrm flipV="1">
              <a:off x="10712470" y="1331209"/>
              <a:ext cx="0" cy="1584384"/>
            </a:xfrm>
            <a:prstGeom prst="line">
              <a:avLst/>
            </a:prstGeom>
            <a:noFill/>
            <a:ln w="9525" cap="flat" cmpd="sng" algn="ctr">
              <a:solidFill>
                <a:schemeClr val="tx2"/>
              </a:solidFill>
              <a:prstDash val="dash"/>
              <a:round/>
              <a:headEnd type="none" w="med" len="med"/>
              <a:tailEnd type="none" w="med" len="med"/>
            </a:ln>
            <a:effectLst/>
          </p:spPr>
        </p:cxnSp>
        <p:cxnSp>
          <p:nvCxnSpPr>
            <p:cNvPr id="23" name="Straight Connector 22">
              <a:extLst>
                <a:ext uri="{FF2B5EF4-FFF2-40B4-BE49-F238E27FC236}">
                  <a16:creationId xmlns:a16="http://schemas.microsoft.com/office/drawing/2014/main" id="{03A382E7-1A1F-483D-B43A-CCEC032D0A37}"/>
                </a:ext>
              </a:extLst>
            </p:cNvPr>
            <p:cNvCxnSpPr>
              <a:cxnSpLocks/>
            </p:cNvCxnSpPr>
            <p:nvPr/>
          </p:nvCxnSpPr>
          <p:spPr>
            <a:xfrm flipV="1">
              <a:off x="6865372" y="2280603"/>
              <a:ext cx="1434014" cy="0"/>
            </a:xfrm>
            <a:prstGeom prst="line">
              <a:avLst/>
            </a:prstGeom>
            <a:noFill/>
            <a:ln w="9525" cap="flat" cmpd="sng" algn="ctr">
              <a:solidFill>
                <a:schemeClr val="tx2"/>
              </a:solidFill>
              <a:prstDash val="dash"/>
              <a:round/>
              <a:headEnd type="none" w="med" len="med"/>
              <a:tailEnd type="none" w="med" len="med"/>
            </a:ln>
            <a:effectLst/>
          </p:spPr>
        </p:cxnSp>
        <p:cxnSp>
          <p:nvCxnSpPr>
            <p:cNvPr id="24" name="Straight Connector 23">
              <a:extLst>
                <a:ext uri="{FF2B5EF4-FFF2-40B4-BE49-F238E27FC236}">
                  <a16:creationId xmlns:a16="http://schemas.microsoft.com/office/drawing/2014/main" id="{ACB940CA-CE9B-46E5-8C1C-AB1AF7B000E0}"/>
                </a:ext>
              </a:extLst>
            </p:cNvPr>
            <p:cNvCxnSpPr>
              <a:cxnSpLocks/>
            </p:cNvCxnSpPr>
            <p:nvPr/>
          </p:nvCxnSpPr>
          <p:spPr>
            <a:xfrm>
              <a:off x="6865372" y="1949180"/>
              <a:ext cx="2238371" cy="0"/>
            </a:xfrm>
            <a:prstGeom prst="line">
              <a:avLst/>
            </a:prstGeom>
            <a:noFill/>
            <a:ln w="9525" cap="flat" cmpd="sng" algn="ctr">
              <a:solidFill>
                <a:schemeClr val="tx2"/>
              </a:solidFill>
              <a:prstDash val="dash"/>
              <a:round/>
              <a:headEnd type="none" w="med" len="med"/>
              <a:tailEnd type="none" w="med" len="med"/>
            </a:ln>
            <a:effectLst/>
          </p:spPr>
        </p:cxnSp>
        <p:cxnSp>
          <p:nvCxnSpPr>
            <p:cNvPr id="25" name="Straight Connector 24">
              <a:extLst>
                <a:ext uri="{FF2B5EF4-FFF2-40B4-BE49-F238E27FC236}">
                  <a16:creationId xmlns:a16="http://schemas.microsoft.com/office/drawing/2014/main" id="{6405B955-49ED-48A0-A500-E84C17433771}"/>
                </a:ext>
              </a:extLst>
            </p:cNvPr>
            <p:cNvCxnSpPr>
              <a:cxnSpLocks/>
            </p:cNvCxnSpPr>
            <p:nvPr/>
          </p:nvCxnSpPr>
          <p:spPr>
            <a:xfrm flipV="1">
              <a:off x="6865372" y="1617757"/>
              <a:ext cx="3042728" cy="0"/>
            </a:xfrm>
            <a:prstGeom prst="line">
              <a:avLst/>
            </a:prstGeom>
            <a:noFill/>
            <a:ln w="9525" cap="flat" cmpd="sng" algn="ctr">
              <a:solidFill>
                <a:schemeClr val="tx2"/>
              </a:solidFill>
              <a:prstDash val="dash"/>
              <a:round/>
              <a:headEnd type="none" w="med" len="med"/>
              <a:tailEnd type="none" w="med" len="med"/>
            </a:ln>
            <a:effectLst/>
          </p:spPr>
        </p:cxnSp>
        <p:cxnSp>
          <p:nvCxnSpPr>
            <p:cNvPr id="26" name="Straight Connector 25">
              <a:extLst>
                <a:ext uri="{FF2B5EF4-FFF2-40B4-BE49-F238E27FC236}">
                  <a16:creationId xmlns:a16="http://schemas.microsoft.com/office/drawing/2014/main" id="{74BA89C8-3161-42B7-979F-119548B3EC16}"/>
                </a:ext>
              </a:extLst>
            </p:cNvPr>
            <p:cNvCxnSpPr>
              <a:cxnSpLocks/>
            </p:cNvCxnSpPr>
            <p:nvPr/>
          </p:nvCxnSpPr>
          <p:spPr>
            <a:xfrm>
              <a:off x="6865372" y="1286334"/>
              <a:ext cx="3847087" cy="0"/>
            </a:xfrm>
            <a:prstGeom prst="line">
              <a:avLst/>
            </a:prstGeom>
            <a:noFill/>
            <a:ln w="9525" cap="flat" cmpd="sng" algn="ctr">
              <a:solidFill>
                <a:schemeClr val="tx2"/>
              </a:solidFill>
              <a:prstDash val="dash"/>
              <a:round/>
              <a:headEnd type="none" w="med" len="med"/>
              <a:tailEnd type="none" w="med" len="med"/>
            </a:ln>
            <a:effectLst/>
          </p:spPr>
        </p:cxnSp>
        <p:cxnSp>
          <p:nvCxnSpPr>
            <p:cNvPr id="27" name="Straight Connector 26">
              <a:extLst>
                <a:ext uri="{FF2B5EF4-FFF2-40B4-BE49-F238E27FC236}">
                  <a16:creationId xmlns:a16="http://schemas.microsoft.com/office/drawing/2014/main" id="{FCDC20D2-B754-4302-8F26-9098EB050A03}"/>
                </a:ext>
              </a:extLst>
            </p:cNvPr>
            <p:cNvCxnSpPr>
              <a:cxnSpLocks/>
              <a:endCxn id="28" idx="1"/>
            </p:cNvCxnSpPr>
            <p:nvPr/>
          </p:nvCxnSpPr>
          <p:spPr>
            <a:xfrm>
              <a:off x="6865372" y="2612026"/>
              <a:ext cx="665603" cy="1632"/>
            </a:xfrm>
            <a:prstGeom prst="line">
              <a:avLst/>
            </a:prstGeom>
            <a:noFill/>
            <a:ln w="9525" cap="flat" cmpd="sng" algn="ctr">
              <a:solidFill>
                <a:schemeClr val="tx2"/>
              </a:solidFill>
              <a:prstDash val="dash"/>
              <a:round/>
              <a:headEnd type="none" w="med" len="med"/>
              <a:tailEnd type="none" w="med" len="med"/>
            </a:ln>
            <a:effectLst/>
          </p:spPr>
        </p:cxnSp>
        <p:sp>
          <p:nvSpPr>
            <p:cNvPr id="28" name="Rectangle 27">
              <a:extLst>
                <a:ext uri="{FF2B5EF4-FFF2-40B4-BE49-F238E27FC236}">
                  <a16:creationId xmlns:a16="http://schemas.microsoft.com/office/drawing/2014/main" id="{DA4736C7-32A6-41C3-9D2F-8A493237AC54}"/>
                </a:ext>
              </a:extLst>
            </p:cNvPr>
            <p:cNvSpPr/>
            <p:nvPr/>
          </p:nvSpPr>
          <p:spPr>
            <a:xfrm>
              <a:off x="7530975" y="2545078"/>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C4AD181-D4ED-46B8-8DDC-2BD8119D78A9}"/>
                </a:ext>
              </a:extLst>
            </p:cNvPr>
            <p:cNvSpPr/>
            <p:nvPr/>
          </p:nvSpPr>
          <p:spPr>
            <a:xfrm>
              <a:off x="8309350" y="2213655"/>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DA575BFF-C554-4009-93BB-764E9B42375F}"/>
                </a:ext>
              </a:extLst>
            </p:cNvPr>
            <p:cNvSpPr/>
            <p:nvPr/>
          </p:nvSpPr>
          <p:spPr>
            <a:xfrm>
              <a:off x="9087726" y="1882232"/>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6C391C01-A7D4-494A-A5AE-19BAECEAA907}"/>
                </a:ext>
              </a:extLst>
            </p:cNvPr>
            <p:cNvSpPr/>
            <p:nvPr/>
          </p:nvSpPr>
          <p:spPr>
            <a:xfrm>
              <a:off x="9866101" y="1550809"/>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885341B-4CB7-4B65-B10B-05BCDBE8B18B}"/>
                </a:ext>
              </a:extLst>
            </p:cNvPr>
            <p:cNvSpPr/>
            <p:nvPr/>
          </p:nvSpPr>
          <p:spPr>
            <a:xfrm>
              <a:off x="10644478" y="1219386"/>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4CA57C1B-E0DA-42D0-B879-EE10F2E5C2DF}"/>
                </a:ext>
              </a:extLst>
            </p:cNvPr>
            <p:cNvGrpSpPr/>
            <p:nvPr/>
          </p:nvGrpSpPr>
          <p:grpSpPr>
            <a:xfrm>
              <a:off x="7240056" y="4568812"/>
              <a:ext cx="502920" cy="502920"/>
              <a:chOff x="7240056" y="4430167"/>
              <a:chExt cx="502920" cy="502920"/>
            </a:xfrm>
          </p:grpSpPr>
          <p:sp>
            <p:nvSpPr>
              <p:cNvPr id="46" name="Rectangle 45">
                <a:extLst>
                  <a:ext uri="{FF2B5EF4-FFF2-40B4-BE49-F238E27FC236}">
                    <a16:creationId xmlns:a16="http://schemas.microsoft.com/office/drawing/2014/main" id="{6E7A0688-AB20-4C64-BBF3-4228EEC85016}"/>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7" name="Straight Connector 46">
                <a:extLst>
                  <a:ext uri="{FF2B5EF4-FFF2-40B4-BE49-F238E27FC236}">
                    <a16:creationId xmlns:a16="http://schemas.microsoft.com/office/drawing/2014/main" id="{3EE60A5D-7E59-4C26-AEFD-8807DD6A19B4}"/>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8" name="Straight Connector 47">
                <a:extLst>
                  <a:ext uri="{FF2B5EF4-FFF2-40B4-BE49-F238E27FC236}">
                    <a16:creationId xmlns:a16="http://schemas.microsoft.com/office/drawing/2014/main" id="{546C0B12-46AA-404A-B66F-70EAF535F170}"/>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4" name="Group 33">
              <a:extLst>
                <a:ext uri="{FF2B5EF4-FFF2-40B4-BE49-F238E27FC236}">
                  <a16:creationId xmlns:a16="http://schemas.microsoft.com/office/drawing/2014/main" id="{B4F2D761-F316-40C7-87CC-388F5CDB88C5}"/>
                </a:ext>
              </a:extLst>
            </p:cNvPr>
            <p:cNvGrpSpPr/>
            <p:nvPr/>
          </p:nvGrpSpPr>
          <p:grpSpPr>
            <a:xfrm>
              <a:off x="8172858" y="5456054"/>
              <a:ext cx="502920" cy="502920"/>
              <a:chOff x="7240056" y="4430167"/>
              <a:chExt cx="502920" cy="502920"/>
            </a:xfrm>
          </p:grpSpPr>
          <p:sp>
            <p:nvSpPr>
              <p:cNvPr id="43" name="Rectangle 42">
                <a:extLst>
                  <a:ext uri="{FF2B5EF4-FFF2-40B4-BE49-F238E27FC236}">
                    <a16:creationId xmlns:a16="http://schemas.microsoft.com/office/drawing/2014/main" id="{762750F2-E6D3-4AEB-8BC4-17DB3E00C50E}"/>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4" name="Straight Connector 43">
                <a:extLst>
                  <a:ext uri="{FF2B5EF4-FFF2-40B4-BE49-F238E27FC236}">
                    <a16:creationId xmlns:a16="http://schemas.microsoft.com/office/drawing/2014/main" id="{BCB219A8-870A-4B8A-923E-DC89BF72D355}"/>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5" name="Straight Connector 44">
                <a:extLst>
                  <a:ext uri="{FF2B5EF4-FFF2-40B4-BE49-F238E27FC236}">
                    <a16:creationId xmlns:a16="http://schemas.microsoft.com/office/drawing/2014/main" id="{DFC2E308-2926-4EEB-99CC-3FAAFA5EBB93}"/>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5" name="Group 34">
              <a:extLst>
                <a:ext uri="{FF2B5EF4-FFF2-40B4-BE49-F238E27FC236}">
                  <a16:creationId xmlns:a16="http://schemas.microsoft.com/office/drawing/2014/main" id="{64F3953A-8224-4699-8F9E-65B69D96BB28}"/>
                </a:ext>
              </a:extLst>
            </p:cNvPr>
            <p:cNvGrpSpPr/>
            <p:nvPr/>
          </p:nvGrpSpPr>
          <p:grpSpPr>
            <a:xfrm>
              <a:off x="9155716" y="4766738"/>
              <a:ext cx="502920" cy="502920"/>
              <a:chOff x="7240056" y="4430167"/>
              <a:chExt cx="502920" cy="502920"/>
            </a:xfrm>
          </p:grpSpPr>
          <p:sp>
            <p:nvSpPr>
              <p:cNvPr id="40" name="Rectangle 39">
                <a:extLst>
                  <a:ext uri="{FF2B5EF4-FFF2-40B4-BE49-F238E27FC236}">
                    <a16:creationId xmlns:a16="http://schemas.microsoft.com/office/drawing/2014/main" id="{271423D6-A7DF-4603-A1ED-BBCD6EE66611}"/>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A5A821DF-5E4C-4424-B090-2A72F5CE4DFC}"/>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42" name="Straight Connector 41">
                <a:extLst>
                  <a:ext uri="{FF2B5EF4-FFF2-40B4-BE49-F238E27FC236}">
                    <a16:creationId xmlns:a16="http://schemas.microsoft.com/office/drawing/2014/main" id="{1B918F14-6DE6-40F2-AD32-393055476A72}"/>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nvGrpSpPr>
            <p:cNvPr id="36" name="Group 35">
              <a:extLst>
                <a:ext uri="{FF2B5EF4-FFF2-40B4-BE49-F238E27FC236}">
                  <a16:creationId xmlns:a16="http://schemas.microsoft.com/office/drawing/2014/main" id="{504CED0C-1529-4AA7-8389-37A1371DD361}"/>
                </a:ext>
              </a:extLst>
            </p:cNvPr>
            <p:cNvGrpSpPr/>
            <p:nvPr/>
          </p:nvGrpSpPr>
          <p:grpSpPr>
            <a:xfrm>
              <a:off x="10262160" y="4949618"/>
              <a:ext cx="502920" cy="502920"/>
              <a:chOff x="7240056" y="4430167"/>
              <a:chExt cx="502920" cy="502920"/>
            </a:xfrm>
          </p:grpSpPr>
          <p:sp>
            <p:nvSpPr>
              <p:cNvPr id="37" name="Rectangle 36">
                <a:extLst>
                  <a:ext uri="{FF2B5EF4-FFF2-40B4-BE49-F238E27FC236}">
                    <a16:creationId xmlns:a16="http://schemas.microsoft.com/office/drawing/2014/main" id="{845B5517-7DCD-4633-8DBE-8B8244CC960D}"/>
                  </a:ext>
                </a:extLst>
              </p:cNvPr>
              <p:cNvSpPr/>
              <p:nvPr/>
            </p:nvSpPr>
            <p:spPr>
              <a:xfrm>
                <a:off x="7422936" y="4613047"/>
                <a:ext cx="137160" cy="13716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EE1FBE4F-74CB-4BFB-B97D-03434C41C71A}"/>
                  </a:ext>
                </a:extLst>
              </p:cNvPr>
              <p:cNvCxnSpPr>
                <a:cxnSpLocks/>
              </p:cNvCxnSpPr>
              <p:nvPr/>
            </p:nvCxnSpPr>
            <p:spPr>
              <a:xfrm flipV="1">
                <a:off x="7491516" y="4430167"/>
                <a:ext cx="0" cy="502920"/>
              </a:xfrm>
              <a:prstGeom prst="line">
                <a:avLst/>
              </a:prstGeom>
              <a:noFill/>
              <a:ln w="9525" cap="flat" cmpd="sng" algn="ctr">
                <a:solidFill>
                  <a:schemeClr val="tx2"/>
                </a:solidFill>
                <a:prstDash val="sysDash"/>
                <a:miter lim="800000"/>
                <a:headEnd type="triangle" w="med" len="med"/>
                <a:tailEnd type="triangle" w="med" len="med"/>
              </a:ln>
              <a:effectLst/>
            </p:spPr>
          </p:cxnSp>
          <p:cxnSp>
            <p:nvCxnSpPr>
              <p:cNvPr id="39" name="Straight Connector 38">
                <a:extLst>
                  <a:ext uri="{FF2B5EF4-FFF2-40B4-BE49-F238E27FC236}">
                    <a16:creationId xmlns:a16="http://schemas.microsoft.com/office/drawing/2014/main" id="{D87F9C4B-B303-445F-8A56-F246A00FA101}"/>
                  </a:ext>
                </a:extLst>
              </p:cNvPr>
              <p:cNvCxnSpPr>
                <a:cxnSpLocks/>
              </p:cNvCxnSpPr>
              <p:nvPr/>
            </p:nvCxnSpPr>
            <p:spPr>
              <a:xfrm flipV="1">
                <a:off x="7240056" y="4681627"/>
                <a:ext cx="502920" cy="0"/>
              </a:xfrm>
              <a:prstGeom prst="line">
                <a:avLst/>
              </a:prstGeom>
              <a:noFill/>
              <a:ln w="9525" cap="flat" cmpd="sng" algn="ctr">
                <a:solidFill>
                  <a:schemeClr val="tx2"/>
                </a:solidFill>
                <a:prstDash val="sysDash"/>
                <a:miter lim="800000"/>
                <a:headEnd type="triangle" w="med" len="med"/>
                <a:tailEnd type="triangle" w="med" len="med"/>
              </a:ln>
              <a:effectLst/>
            </p:spPr>
          </p:cxnSp>
        </p:grpSp>
      </p:grpSp>
      <p:graphicFrame>
        <p:nvGraphicFramePr>
          <p:cNvPr id="56" name="Content Placeholder 55">
            <a:extLst>
              <a:ext uri="{FF2B5EF4-FFF2-40B4-BE49-F238E27FC236}">
                <a16:creationId xmlns:a16="http://schemas.microsoft.com/office/drawing/2014/main" id="{AA37CBE4-8426-49ED-855E-F7D6AF9139AA}"/>
              </a:ext>
            </a:extLst>
          </p:cNvPr>
          <p:cNvGraphicFramePr>
            <a:graphicFrameLocks noGrp="1"/>
          </p:cNvGraphicFramePr>
          <p:nvPr>
            <p:ph sz="quarter" idx="13"/>
            <p:extLst>
              <p:ext uri="{D42A27DB-BD31-4B8C-83A1-F6EECF244321}">
                <p14:modId xmlns:p14="http://schemas.microsoft.com/office/powerpoint/2010/main" val="521726508"/>
              </p:ext>
            </p:extLst>
          </p:nvPr>
        </p:nvGraphicFramePr>
        <p:xfrm>
          <a:off x="655637" y="1408114"/>
          <a:ext cx="683604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772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3">
            <a:extLst>
              <a:ext uri="{FF2B5EF4-FFF2-40B4-BE49-F238E27FC236}">
                <a16:creationId xmlns:a16="http://schemas.microsoft.com/office/drawing/2014/main" id="{B0DE46E9-B9D5-4510-A31A-1FBA0F0F23A2}"/>
              </a:ext>
            </a:extLst>
          </p:cNvPr>
          <p:cNvGraphicFramePr>
            <a:graphicFrameLocks noGrp="1"/>
          </p:cNvGraphicFramePr>
          <p:nvPr>
            <p:extLst>
              <p:ext uri="{D42A27DB-BD31-4B8C-83A1-F6EECF244321}">
                <p14:modId xmlns:p14="http://schemas.microsoft.com/office/powerpoint/2010/main" val="3267893109"/>
              </p:ext>
            </p:extLst>
          </p:nvPr>
        </p:nvGraphicFramePr>
        <p:xfrm>
          <a:off x="820132" y="1187777"/>
          <a:ext cx="10803117" cy="4920795"/>
        </p:xfrm>
        <a:graphic>
          <a:graphicData uri="http://schemas.openxmlformats.org/drawingml/2006/table">
            <a:tbl>
              <a:tblPr firstRow="1" bandRow="1">
                <a:tableStyleId>{B301B821-A1FF-4177-AEE7-76D212191A09}</a:tableStyleId>
              </a:tblPr>
              <a:tblGrid>
                <a:gridCol w="3601039">
                  <a:extLst>
                    <a:ext uri="{9D8B030D-6E8A-4147-A177-3AD203B41FA5}">
                      <a16:colId xmlns:a16="http://schemas.microsoft.com/office/drawing/2014/main" val="2860013488"/>
                    </a:ext>
                  </a:extLst>
                </a:gridCol>
                <a:gridCol w="3601039">
                  <a:extLst>
                    <a:ext uri="{9D8B030D-6E8A-4147-A177-3AD203B41FA5}">
                      <a16:colId xmlns:a16="http://schemas.microsoft.com/office/drawing/2014/main" val="3685007891"/>
                    </a:ext>
                  </a:extLst>
                </a:gridCol>
                <a:gridCol w="3601039">
                  <a:extLst>
                    <a:ext uri="{9D8B030D-6E8A-4147-A177-3AD203B41FA5}">
                      <a16:colId xmlns:a16="http://schemas.microsoft.com/office/drawing/2014/main" val="703986932"/>
                    </a:ext>
                  </a:extLst>
                </a:gridCol>
              </a:tblGrid>
              <a:tr h="984159">
                <a:tc>
                  <a:txBody>
                    <a:bodyPr/>
                    <a:lstStyle/>
                    <a:p>
                      <a:pPr algn="ctr" fontAlgn="b"/>
                      <a:r>
                        <a:rPr lang="en-US" sz="2000" u="none" strike="noStrike">
                          <a:effectLst/>
                        </a:rPr>
                        <a:t>Purchasing model/ Deployment model</a:t>
                      </a:r>
                      <a:endParaRPr lang="en-US" sz="2000" b="0" i="0" u="none" strike="noStrike">
                        <a:solidFill>
                          <a:schemeClr val="bg1"/>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DTU based </a:t>
                      </a:r>
                      <a:endParaRPr lang="en-US" sz="2000" b="0" i="0" u="none" strike="noStrike">
                        <a:solidFill>
                          <a:schemeClr val="bg1"/>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dirty="0">
                          <a:effectLst/>
                        </a:rPr>
                        <a:t>vCore based </a:t>
                      </a:r>
                      <a:endParaRPr lang="en-US" sz="2000" b="0" i="0" u="none" strike="noStrike" dirty="0">
                        <a:solidFill>
                          <a:schemeClr val="bg1"/>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2500174082"/>
                  </a:ext>
                </a:extLst>
              </a:tr>
              <a:tr h="984159">
                <a:tc>
                  <a:txBody>
                    <a:bodyPr/>
                    <a:lstStyle/>
                    <a:p>
                      <a:pPr algn="ctr" fontAlgn="b"/>
                      <a:r>
                        <a:rPr lang="en-US" sz="2400" u="none" strike="noStrike" dirty="0">
                          <a:effectLst/>
                        </a:rPr>
                        <a:t>Single Databas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942962592"/>
                  </a:ext>
                </a:extLst>
              </a:tr>
              <a:tr h="984159">
                <a:tc>
                  <a:txBody>
                    <a:bodyPr/>
                    <a:lstStyle/>
                    <a:p>
                      <a:pPr algn="ctr" fontAlgn="b"/>
                      <a:r>
                        <a:rPr lang="en-US" sz="2400" u="none" strike="noStrike" dirty="0">
                          <a:effectLst/>
                        </a:rPr>
                        <a:t>Elastic Pool</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3582095725"/>
                  </a:ext>
                </a:extLst>
              </a:tr>
              <a:tr h="984159">
                <a:tc>
                  <a:txBody>
                    <a:bodyPr/>
                    <a:lstStyle/>
                    <a:p>
                      <a:pPr algn="ctr" fontAlgn="b"/>
                      <a:r>
                        <a:rPr lang="en-US" sz="2400" u="none" strike="noStrike" dirty="0">
                          <a:effectLst/>
                        </a:rPr>
                        <a:t>Managed Instanc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a:effectLst/>
                        </a:rPr>
                        <a:t>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4119840710"/>
                  </a:ext>
                </a:extLst>
              </a:tr>
              <a:tr h="984159">
                <a:tc>
                  <a:txBody>
                    <a:bodyPr/>
                    <a:lstStyle/>
                    <a:p>
                      <a:pPr algn="ctr" fontAlgn="b"/>
                      <a:r>
                        <a:rPr lang="en-US" sz="2400" u="none" strike="noStrike" dirty="0">
                          <a:effectLst/>
                        </a:rPr>
                        <a:t>Hyperscale service tier</a:t>
                      </a:r>
                    </a:p>
                    <a:p>
                      <a:pPr algn="ctr" fontAlgn="b"/>
                      <a:r>
                        <a:rPr lang="en-US" sz="2400" u="none" strike="noStrike" kern="1200" dirty="0">
                          <a:effectLst/>
                        </a:rPr>
                        <a:t>(single databases)</a:t>
                      </a:r>
                      <a:endParaRPr lang="en-US" sz="2400" u="none" strike="noStrike" kern="1200" dirty="0">
                        <a:solidFill>
                          <a:schemeClr val="dk1"/>
                        </a:solidFill>
                        <a:effectLst/>
                        <a:latin typeface="+mn-lt"/>
                        <a:ea typeface="+mn-ea"/>
                        <a:cs typeface="+mn-cs"/>
                      </a:endParaRPr>
                    </a:p>
                  </a:txBody>
                  <a:tcPr marL="4669" marR="4669" marT="4669" marB="0" anchor="ctr"/>
                </a:tc>
                <a:tc>
                  <a:txBody>
                    <a:bodyPr/>
                    <a:lstStyle/>
                    <a:p>
                      <a:pPr algn="ctr" fontAlgn="b"/>
                      <a:r>
                        <a:rPr lang="en-US" sz="2000" u="none" strike="noStrike" dirty="0">
                          <a:effectLst/>
                        </a:rPr>
                        <a:t> </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tc>
                  <a:txBody>
                    <a:bodyPr/>
                    <a:lstStyle/>
                    <a:p>
                      <a:pPr algn="ctr" fontAlgn="b"/>
                      <a:r>
                        <a:rPr lang="en-US" sz="2000" u="none" strike="noStrike" dirty="0">
                          <a:effectLst/>
                        </a:rPr>
                        <a:t> </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4669" marR="4669" marT="4669" marB="0" anchor="ctr"/>
                </a:tc>
                <a:extLst>
                  <a:ext uri="{0D108BD9-81ED-4DB2-BD59-A6C34878D82A}">
                    <a16:rowId xmlns:a16="http://schemas.microsoft.com/office/drawing/2014/main" val="2053998816"/>
                  </a:ext>
                </a:extLst>
              </a:tr>
            </a:tbl>
          </a:graphicData>
        </a:graphic>
      </p:graphicFrame>
      <p:sp>
        <p:nvSpPr>
          <p:cNvPr id="16" name="Title 1">
            <a:extLst>
              <a:ext uri="{FF2B5EF4-FFF2-40B4-BE49-F238E27FC236}">
                <a16:creationId xmlns:a16="http://schemas.microsoft.com/office/drawing/2014/main" id="{4B7B82A7-A77E-4CD4-BCDA-38DF1AC60F9C}"/>
              </a:ext>
            </a:extLst>
          </p:cNvPr>
          <p:cNvSpPr>
            <a:spLocks noGrp="1"/>
          </p:cNvSpPr>
          <p:nvPr>
            <p:ph type="title"/>
          </p:nvPr>
        </p:nvSpPr>
        <p:spPr>
          <a:xfrm>
            <a:off x="655638" y="320675"/>
            <a:ext cx="10880725" cy="427553"/>
          </a:xfrm>
        </p:spPr>
        <p:txBody>
          <a:bodyPr/>
          <a:lstStyle/>
          <a:p>
            <a:r>
              <a:rPr lang="en-US" sz="2800" dirty="0"/>
              <a:t>Purchasing models available for Azure SQL Database deployment:</a:t>
            </a:r>
          </a:p>
        </p:txBody>
      </p:sp>
      <p:sp>
        <p:nvSpPr>
          <p:cNvPr id="5" name="Graphic 25" descr="Checkmark">
            <a:extLst>
              <a:ext uri="{FF2B5EF4-FFF2-40B4-BE49-F238E27FC236}">
                <a16:creationId xmlns:a16="http://schemas.microsoft.com/office/drawing/2014/main" id="{A04AAEE3-EE01-4B1C-8DD8-2A42A55D7AC3}"/>
              </a:ext>
            </a:extLst>
          </p:cNvPr>
          <p:cNvSpPr/>
          <p:nvPr/>
        </p:nvSpPr>
        <p:spPr>
          <a:xfrm>
            <a:off x="5970200" y="2489943"/>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6" name="Graphic 27" descr="Close">
            <a:extLst>
              <a:ext uri="{FF2B5EF4-FFF2-40B4-BE49-F238E27FC236}">
                <a16:creationId xmlns:a16="http://schemas.microsoft.com/office/drawing/2014/main" id="{72FD3F85-2A87-42EA-BBFF-490B0EAA2DDF}"/>
              </a:ext>
            </a:extLst>
          </p:cNvPr>
          <p:cNvSpPr/>
          <p:nvPr/>
        </p:nvSpPr>
        <p:spPr>
          <a:xfrm>
            <a:off x="6049077" y="4469865"/>
            <a:ext cx="517082" cy="517082"/>
          </a:xfrm>
          <a:custGeom>
            <a:avLst/>
            <a:gdLst>
              <a:gd name="connsiteX0" fmla="*/ 517083 w 517082"/>
              <a:gd name="connsiteY0" fmla="*/ 62079 h 517082"/>
              <a:gd name="connsiteX1" fmla="*/ 455004 w 517082"/>
              <a:gd name="connsiteY1" fmla="*/ 0 h 517082"/>
              <a:gd name="connsiteX2" fmla="*/ 258541 w 517082"/>
              <a:gd name="connsiteY2" fmla="*/ 196462 h 517082"/>
              <a:gd name="connsiteX3" fmla="*/ 62079 w 517082"/>
              <a:gd name="connsiteY3" fmla="*/ 0 h 517082"/>
              <a:gd name="connsiteX4" fmla="*/ 0 w 517082"/>
              <a:gd name="connsiteY4" fmla="*/ 62079 h 517082"/>
              <a:gd name="connsiteX5" fmla="*/ 196462 w 517082"/>
              <a:gd name="connsiteY5" fmla="*/ 258541 h 517082"/>
              <a:gd name="connsiteX6" fmla="*/ 0 w 517082"/>
              <a:gd name="connsiteY6" fmla="*/ 455004 h 517082"/>
              <a:gd name="connsiteX7" fmla="*/ 62079 w 517082"/>
              <a:gd name="connsiteY7" fmla="*/ 517083 h 517082"/>
              <a:gd name="connsiteX8" fmla="*/ 258541 w 517082"/>
              <a:gd name="connsiteY8" fmla="*/ 320620 h 517082"/>
              <a:gd name="connsiteX9" fmla="*/ 455004 w 517082"/>
              <a:gd name="connsiteY9" fmla="*/ 517083 h 517082"/>
              <a:gd name="connsiteX10" fmla="*/ 517083 w 517082"/>
              <a:gd name="connsiteY10" fmla="*/ 455004 h 517082"/>
              <a:gd name="connsiteX11" fmla="*/ 320620 w 517082"/>
              <a:gd name="connsiteY11" fmla="*/ 258541 h 5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7082" h="517082">
                <a:moveTo>
                  <a:pt x="517083" y="62079"/>
                </a:moveTo>
                <a:lnTo>
                  <a:pt x="455004" y="0"/>
                </a:lnTo>
                <a:lnTo>
                  <a:pt x="258541" y="196462"/>
                </a:lnTo>
                <a:lnTo>
                  <a:pt x="62079" y="0"/>
                </a:lnTo>
                <a:lnTo>
                  <a:pt x="0" y="62079"/>
                </a:lnTo>
                <a:lnTo>
                  <a:pt x="196462" y="258541"/>
                </a:lnTo>
                <a:lnTo>
                  <a:pt x="0" y="455004"/>
                </a:lnTo>
                <a:lnTo>
                  <a:pt x="62079" y="517083"/>
                </a:lnTo>
                <a:lnTo>
                  <a:pt x="258541" y="320620"/>
                </a:lnTo>
                <a:lnTo>
                  <a:pt x="455004" y="517083"/>
                </a:lnTo>
                <a:lnTo>
                  <a:pt x="517083" y="455004"/>
                </a:lnTo>
                <a:lnTo>
                  <a:pt x="320620" y="258541"/>
                </a:lnTo>
                <a:close/>
              </a:path>
            </a:pathLst>
          </a:custGeom>
          <a:solidFill>
            <a:schemeClr val="accent3"/>
          </a:solidFill>
          <a:ln w="7243" cap="flat">
            <a:noFill/>
            <a:prstDash val="solid"/>
            <a:miter/>
          </a:ln>
        </p:spPr>
        <p:txBody>
          <a:bodyPr rtlCol="0" anchor="ctr"/>
          <a:lstStyle/>
          <a:p>
            <a:endParaRPr lang="en-US">
              <a:solidFill>
                <a:schemeClr val="accent3"/>
              </a:solidFill>
            </a:endParaRPr>
          </a:p>
        </p:txBody>
      </p:sp>
      <p:sp>
        <p:nvSpPr>
          <p:cNvPr id="7" name="Graphic 28" descr="Close">
            <a:extLst>
              <a:ext uri="{FF2B5EF4-FFF2-40B4-BE49-F238E27FC236}">
                <a16:creationId xmlns:a16="http://schemas.microsoft.com/office/drawing/2014/main" id="{8C977923-9A27-4145-AAD7-63FC82BE4CB4}"/>
              </a:ext>
            </a:extLst>
          </p:cNvPr>
          <p:cNvSpPr/>
          <p:nvPr/>
        </p:nvSpPr>
        <p:spPr>
          <a:xfrm>
            <a:off x="6077357" y="5411682"/>
            <a:ext cx="517082" cy="517082"/>
          </a:xfrm>
          <a:custGeom>
            <a:avLst/>
            <a:gdLst>
              <a:gd name="connsiteX0" fmla="*/ 517083 w 517082"/>
              <a:gd name="connsiteY0" fmla="*/ 62079 h 517082"/>
              <a:gd name="connsiteX1" fmla="*/ 455004 w 517082"/>
              <a:gd name="connsiteY1" fmla="*/ 0 h 517082"/>
              <a:gd name="connsiteX2" fmla="*/ 258541 w 517082"/>
              <a:gd name="connsiteY2" fmla="*/ 196462 h 517082"/>
              <a:gd name="connsiteX3" fmla="*/ 62079 w 517082"/>
              <a:gd name="connsiteY3" fmla="*/ 0 h 517082"/>
              <a:gd name="connsiteX4" fmla="*/ 0 w 517082"/>
              <a:gd name="connsiteY4" fmla="*/ 62079 h 517082"/>
              <a:gd name="connsiteX5" fmla="*/ 196462 w 517082"/>
              <a:gd name="connsiteY5" fmla="*/ 258541 h 517082"/>
              <a:gd name="connsiteX6" fmla="*/ 0 w 517082"/>
              <a:gd name="connsiteY6" fmla="*/ 455004 h 517082"/>
              <a:gd name="connsiteX7" fmla="*/ 62079 w 517082"/>
              <a:gd name="connsiteY7" fmla="*/ 517083 h 517082"/>
              <a:gd name="connsiteX8" fmla="*/ 258541 w 517082"/>
              <a:gd name="connsiteY8" fmla="*/ 320620 h 517082"/>
              <a:gd name="connsiteX9" fmla="*/ 455004 w 517082"/>
              <a:gd name="connsiteY9" fmla="*/ 517083 h 517082"/>
              <a:gd name="connsiteX10" fmla="*/ 517083 w 517082"/>
              <a:gd name="connsiteY10" fmla="*/ 455004 h 517082"/>
              <a:gd name="connsiteX11" fmla="*/ 320620 w 517082"/>
              <a:gd name="connsiteY11" fmla="*/ 258541 h 51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7082" h="517082">
                <a:moveTo>
                  <a:pt x="517083" y="62079"/>
                </a:moveTo>
                <a:lnTo>
                  <a:pt x="455004" y="0"/>
                </a:lnTo>
                <a:lnTo>
                  <a:pt x="258541" y="196462"/>
                </a:lnTo>
                <a:lnTo>
                  <a:pt x="62079" y="0"/>
                </a:lnTo>
                <a:lnTo>
                  <a:pt x="0" y="62079"/>
                </a:lnTo>
                <a:lnTo>
                  <a:pt x="196462" y="258541"/>
                </a:lnTo>
                <a:lnTo>
                  <a:pt x="0" y="455004"/>
                </a:lnTo>
                <a:lnTo>
                  <a:pt x="62079" y="517083"/>
                </a:lnTo>
                <a:lnTo>
                  <a:pt x="258541" y="320620"/>
                </a:lnTo>
                <a:lnTo>
                  <a:pt x="455004" y="517083"/>
                </a:lnTo>
                <a:lnTo>
                  <a:pt x="517083" y="455004"/>
                </a:lnTo>
                <a:lnTo>
                  <a:pt x="320620" y="258541"/>
                </a:lnTo>
                <a:close/>
              </a:path>
            </a:pathLst>
          </a:custGeom>
          <a:solidFill>
            <a:schemeClr val="accent3"/>
          </a:solidFill>
          <a:ln w="7243" cap="flat">
            <a:noFill/>
            <a:prstDash val="solid"/>
            <a:miter/>
          </a:ln>
        </p:spPr>
        <p:txBody>
          <a:bodyPr rtlCol="0" anchor="ctr"/>
          <a:lstStyle/>
          <a:p>
            <a:endParaRPr lang="en-US">
              <a:solidFill>
                <a:schemeClr val="accent3"/>
              </a:solidFill>
            </a:endParaRPr>
          </a:p>
        </p:txBody>
      </p:sp>
      <p:sp>
        <p:nvSpPr>
          <p:cNvPr id="8" name="Graphic 29" descr="Checkmark">
            <a:extLst>
              <a:ext uri="{FF2B5EF4-FFF2-40B4-BE49-F238E27FC236}">
                <a16:creationId xmlns:a16="http://schemas.microsoft.com/office/drawing/2014/main" id="{1937399E-F9E4-4E56-9FBE-F7893D87D795}"/>
              </a:ext>
            </a:extLst>
          </p:cNvPr>
          <p:cNvSpPr/>
          <p:nvPr/>
        </p:nvSpPr>
        <p:spPr>
          <a:xfrm>
            <a:off x="5998480" y="3464782"/>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9" name="Graphic 30" descr="Checkmark">
            <a:extLst>
              <a:ext uri="{FF2B5EF4-FFF2-40B4-BE49-F238E27FC236}">
                <a16:creationId xmlns:a16="http://schemas.microsoft.com/office/drawing/2014/main" id="{36E3E0F1-2F90-46BC-BF70-0E7231B44F7C}"/>
              </a:ext>
            </a:extLst>
          </p:cNvPr>
          <p:cNvSpPr/>
          <p:nvPr/>
        </p:nvSpPr>
        <p:spPr>
          <a:xfrm>
            <a:off x="9518495" y="2385627"/>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0" name="Graphic 31" descr="Checkmark">
            <a:extLst>
              <a:ext uri="{FF2B5EF4-FFF2-40B4-BE49-F238E27FC236}">
                <a16:creationId xmlns:a16="http://schemas.microsoft.com/office/drawing/2014/main" id="{F4D73C3E-7D8A-4657-94AB-BACB4944E095}"/>
              </a:ext>
            </a:extLst>
          </p:cNvPr>
          <p:cNvSpPr/>
          <p:nvPr/>
        </p:nvSpPr>
        <p:spPr>
          <a:xfrm>
            <a:off x="9518495" y="3464782"/>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1" name="Graphic 32" descr="Checkmark">
            <a:extLst>
              <a:ext uri="{FF2B5EF4-FFF2-40B4-BE49-F238E27FC236}">
                <a16:creationId xmlns:a16="http://schemas.microsoft.com/office/drawing/2014/main" id="{360C4140-7975-4122-B566-D31439099E4F}"/>
              </a:ext>
            </a:extLst>
          </p:cNvPr>
          <p:cNvSpPr/>
          <p:nvPr/>
        </p:nvSpPr>
        <p:spPr>
          <a:xfrm>
            <a:off x="9518495" y="4469865"/>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
        <p:nvSpPr>
          <p:cNvPr id="13" name="Graphic 33" descr="Checkmark">
            <a:extLst>
              <a:ext uri="{FF2B5EF4-FFF2-40B4-BE49-F238E27FC236}">
                <a16:creationId xmlns:a16="http://schemas.microsoft.com/office/drawing/2014/main" id="{561B424C-EADA-4732-981C-47623685A634}"/>
              </a:ext>
            </a:extLst>
          </p:cNvPr>
          <p:cNvSpPr/>
          <p:nvPr/>
        </p:nvSpPr>
        <p:spPr>
          <a:xfrm>
            <a:off x="9518495" y="5474948"/>
            <a:ext cx="674836" cy="473992"/>
          </a:xfrm>
          <a:custGeom>
            <a:avLst/>
            <a:gdLst>
              <a:gd name="connsiteX0" fmla="*/ 615679 w 674836"/>
              <a:gd name="connsiteY0" fmla="*/ 0 h 473992"/>
              <a:gd name="connsiteX1" fmla="*/ 241743 w 674836"/>
              <a:gd name="connsiteY1" fmla="*/ 353486 h 473992"/>
              <a:gd name="connsiteX2" fmla="*/ 62079 w 674836"/>
              <a:gd name="connsiteY2" fmla="*/ 169440 h 473992"/>
              <a:gd name="connsiteX3" fmla="*/ 0 w 674836"/>
              <a:gd name="connsiteY3" fmla="*/ 228597 h 473992"/>
              <a:gd name="connsiteX4" fmla="*/ 238822 w 674836"/>
              <a:gd name="connsiteY4" fmla="*/ 473992 h 473992"/>
              <a:gd name="connsiteX5" fmla="*/ 301632 w 674836"/>
              <a:gd name="connsiteY5" fmla="*/ 415565 h 473992"/>
              <a:gd name="connsiteX6" fmla="*/ 674837 w 674836"/>
              <a:gd name="connsiteY6" fmla="*/ 61349 h 4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836" h="473992">
                <a:moveTo>
                  <a:pt x="615679" y="0"/>
                </a:moveTo>
                <a:lnTo>
                  <a:pt x="241743" y="353486"/>
                </a:lnTo>
                <a:lnTo>
                  <a:pt x="62079" y="169440"/>
                </a:lnTo>
                <a:lnTo>
                  <a:pt x="0" y="228597"/>
                </a:lnTo>
                <a:lnTo>
                  <a:pt x="238822" y="473992"/>
                </a:lnTo>
                <a:lnTo>
                  <a:pt x="301632" y="415565"/>
                </a:lnTo>
                <a:lnTo>
                  <a:pt x="674837" y="61349"/>
                </a:lnTo>
                <a:close/>
              </a:path>
            </a:pathLst>
          </a:custGeom>
          <a:solidFill>
            <a:schemeClr val="accent1"/>
          </a:solidFill>
          <a:ln w="7243" cap="flat">
            <a:noFill/>
            <a:prstDash val="solid"/>
            <a:miter/>
          </a:ln>
        </p:spPr>
        <p:txBody>
          <a:bodyPr rtlCol="0" anchor="ctr"/>
          <a:lstStyle/>
          <a:p>
            <a:endParaRPr lang="en-US"/>
          </a:p>
        </p:txBody>
      </p:sp>
    </p:spTree>
    <p:extLst>
      <p:ext uri="{BB962C8B-B14F-4D97-AF65-F5344CB8AC3E}">
        <p14:creationId xmlns:p14="http://schemas.microsoft.com/office/powerpoint/2010/main" val="4139485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580710EA-282A-47EC-93C4-EC32C29CD39B}"/>
              </a:ext>
            </a:extLst>
          </p:cNvPr>
          <p:cNvGraphicFramePr>
            <a:graphicFrameLocks noGrp="1"/>
          </p:cNvGraphicFramePr>
          <p:nvPr>
            <p:ph sz="quarter" idx="13"/>
            <p:extLst>
              <p:ext uri="{D42A27DB-BD31-4B8C-83A1-F6EECF244321}">
                <p14:modId xmlns:p14="http://schemas.microsoft.com/office/powerpoint/2010/main" val="1193920758"/>
              </p:ext>
            </p:extLst>
          </p:nvPr>
        </p:nvGraphicFramePr>
        <p:xfrm>
          <a:off x="655637" y="151445"/>
          <a:ext cx="10880726" cy="65258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Overview Service Tiers </a:t>
            </a:r>
          </a:p>
        </p:txBody>
      </p:sp>
      <p:sp>
        <p:nvSpPr>
          <p:cNvPr id="5" name="Rectangle 4">
            <a:extLst>
              <a:ext uri="{FF2B5EF4-FFF2-40B4-BE49-F238E27FC236}">
                <a16:creationId xmlns:a16="http://schemas.microsoft.com/office/drawing/2014/main" id="{E30EB0C8-F538-41BA-8473-010CA34DAA0D}"/>
              </a:ext>
            </a:extLst>
          </p:cNvPr>
          <p:cNvSpPr/>
          <p:nvPr/>
        </p:nvSpPr>
        <p:spPr bwMode="auto">
          <a:xfrm>
            <a:off x="4576751" y="5320142"/>
            <a:ext cx="3482728" cy="10269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90000"/>
              </a:lnSpc>
              <a:spcAft>
                <a:spcPts val="600"/>
              </a:spcAft>
            </a:pPr>
            <a:r>
              <a:rPr lang="en-US" dirty="0">
                <a:solidFill>
                  <a:schemeClr val="bg1"/>
                </a:solidFill>
              </a:rPr>
              <a:t>Standard 100DTUs = 1vCore </a:t>
            </a:r>
          </a:p>
          <a:p>
            <a:pPr>
              <a:lnSpc>
                <a:spcPct val="90000"/>
              </a:lnSpc>
              <a:spcAft>
                <a:spcPts val="600"/>
              </a:spcAft>
            </a:pPr>
            <a:r>
              <a:rPr lang="en-US" dirty="0">
                <a:solidFill>
                  <a:schemeClr val="bg1"/>
                </a:solidFill>
              </a:rPr>
              <a:t>Premium 125DTUs = 1vCore</a:t>
            </a: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3530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atabase Transaction Units (DTUs)</a:t>
            </a:r>
          </a:p>
        </p:txBody>
      </p:sp>
      <p:pic>
        <p:nvPicPr>
          <p:cNvPr id="8" name="Content Placeholder 4">
            <a:extLst>
              <a:ext uri="{FF2B5EF4-FFF2-40B4-BE49-F238E27FC236}">
                <a16:creationId xmlns:a16="http://schemas.microsoft.com/office/drawing/2014/main" id="{1833ADED-B442-4211-87BA-FD1A50B39175}"/>
              </a:ext>
            </a:extLst>
          </p:cNvPr>
          <p:cNvPicPr>
            <a:picLocks noChangeAspect="1"/>
          </p:cNvPicPr>
          <p:nvPr/>
        </p:nvPicPr>
        <p:blipFill>
          <a:blip r:embed="rId3"/>
          <a:stretch>
            <a:fillRect/>
          </a:stretch>
        </p:blipFill>
        <p:spPr>
          <a:xfrm>
            <a:off x="1500142" y="1408114"/>
            <a:ext cx="9191715" cy="4328657"/>
          </a:xfrm>
          <a:prstGeom prst="rect">
            <a:avLst/>
          </a:prstGeom>
        </p:spPr>
      </p:pic>
    </p:spTree>
    <p:extLst>
      <p:ext uri="{BB962C8B-B14F-4D97-AF65-F5344CB8AC3E}">
        <p14:creationId xmlns:p14="http://schemas.microsoft.com/office/powerpoint/2010/main" val="6365216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DTU-based model: Service Tiers </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908653"/>
            <a:ext cx="10880726" cy="4819650"/>
          </a:xfrm>
        </p:spPr>
        <p:txBody>
          <a:bodyPr/>
          <a:lstStyle/>
          <a:p>
            <a:endParaRPr lang="en-US"/>
          </a:p>
        </p:txBody>
      </p:sp>
      <p:sp>
        <p:nvSpPr>
          <p:cNvPr id="17" name="TextBox 16">
            <a:extLst>
              <a:ext uri="{FF2B5EF4-FFF2-40B4-BE49-F238E27FC236}">
                <a16:creationId xmlns:a16="http://schemas.microsoft.com/office/drawing/2014/main" id="{0A585082-47F3-47F5-A911-31E2E02C9261}"/>
              </a:ext>
            </a:extLst>
          </p:cNvPr>
          <p:cNvSpPr txBox="1"/>
          <p:nvPr/>
        </p:nvSpPr>
        <p:spPr>
          <a:xfrm>
            <a:off x="2292000" y="6059188"/>
            <a:ext cx="274994" cy="263704"/>
          </a:xfrm>
          <a:prstGeom prst="rect">
            <a:avLst/>
          </a:prstGeom>
          <a:noFill/>
        </p:spPr>
        <p:txBody>
          <a:bodyPr wrap="square" lIns="93260" tIns="46630" rIns="93260" bIns="46630"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24" b="0" i="0" u="none" strike="noStrike" kern="0" cap="none" spc="0" normalizeH="0" baseline="0" noProof="0">
                <a:ln>
                  <a:noFill/>
                </a:ln>
                <a:gradFill>
                  <a:gsLst>
                    <a:gs pos="2917">
                      <a:srgbClr val="000000"/>
                    </a:gs>
                    <a:gs pos="30000">
                      <a:srgbClr val="000000"/>
                    </a:gs>
                  </a:gsLst>
                  <a:lin ang="5400000" scaled="0"/>
                </a:gradFill>
                <a:effectLst/>
                <a:uLnTx/>
                <a:uFillTx/>
              </a:rPr>
              <a:t>$</a:t>
            </a:r>
          </a:p>
        </p:txBody>
      </p:sp>
      <p:sp>
        <p:nvSpPr>
          <p:cNvPr id="18" name="TextBox 17">
            <a:extLst>
              <a:ext uri="{FF2B5EF4-FFF2-40B4-BE49-F238E27FC236}">
                <a16:creationId xmlns:a16="http://schemas.microsoft.com/office/drawing/2014/main" id="{6D7C4E30-6111-4271-BC05-25E67C4EE2DB}"/>
              </a:ext>
            </a:extLst>
          </p:cNvPr>
          <p:cNvSpPr txBox="1"/>
          <p:nvPr/>
        </p:nvSpPr>
        <p:spPr>
          <a:xfrm>
            <a:off x="11312216" y="6129325"/>
            <a:ext cx="448294" cy="430135"/>
          </a:xfrm>
          <a:prstGeom prst="rect">
            <a:avLst/>
          </a:prstGeom>
          <a:noFill/>
        </p:spPr>
        <p:txBody>
          <a:bodyPr wrap="none" lIns="93260" tIns="46630" rIns="93260" bIns="46630"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24" b="0" i="0" u="none" strike="noStrike" kern="0" cap="none" spc="0" normalizeH="0" baseline="0" noProof="0" dirty="0">
                <a:ln>
                  <a:noFill/>
                </a:ln>
                <a:gradFill>
                  <a:gsLst>
                    <a:gs pos="2917">
                      <a:srgbClr val="000000"/>
                    </a:gs>
                    <a:gs pos="30000">
                      <a:srgbClr val="000000"/>
                    </a:gs>
                  </a:gsLst>
                  <a:lin ang="5400000" scaled="0"/>
                </a:gradFill>
                <a:effectLst/>
                <a:uLnTx/>
                <a:uFillTx/>
              </a:rPr>
              <a:t>$$$</a:t>
            </a:r>
          </a:p>
        </p:txBody>
      </p:sp>
      <p:cxnSp>
        <p:nvCxnSpPr>
          <p:cNvPr id="19" name="Straight Arrow Connector 18">
            <a:extLst>
              <a:ext uri="{FF2B5EF4-FFF2-40B4-BE49-F238E27FC236}">
                <a16:creationId xmlns:a16="http://schemas.microsoft.com/office/drawing/2014/main" id="{599E692F-A61C-4F2D-BE95-7150B40A8E5F}"/>
              </a:ext>
            </a:extLst>
          </p:cNvPr>
          <p:cNvCxnSpPr>
            <a:cxnSpLocks/>
          </p:cNvCxnSpPr>
          <p:nvPr/>
        </p:nvCxnSpPr>
        <p:spPr>
          <a:xfrm>
            <a:off x="2311706" y="6059022"/>
            <a:ext cx="9448804" cy="23690"/>
          </a:xfrm>
          <a:prstGeom prst="straightConnector1">
            <a:avLst/>
          </a:prstGeom>
          <a:noFill/>
          <a:ln w="28575" cap="flat" cmpd="sng" algn="ctr">
            <a:solidFill>
              <a:srgbClr val="00BCF2">
                <a:lumMod val="75000"/>
              </a:srgbClr>
            </a:solidFill>
            <a:prstDash val="solid"/>
            <a:headEnd type="triangle"/>
            <a:tailEnd type="triangle"/>
          </a:ln>
          <a:effectLst/>
        </p:spPr>
      </p:cxnSp>
      <p:graphicFrame>
        <p:nvGraphicFramePr>
          <p:cNvPr id="20" name="Table 19">
            <a:extLst>
              <a:ext uri="{FF2B5EF4-FFF2-40B4-BE49-F238E27FC236}">
                <a16:creationId xmlns:a16="http://schemas.microsoft.com/office/drawing/2014/main" id="{2A52DC15-A65C-4604-8292-93B527600C4A}"/>
              </a:ext>
            </a:extLst>
          </p:cNvPr>
          <p:cNvGraphicFramePr>
            <a:graphicFrameLocks noGrp="1"/>
          </p:cNvGraphicFramePr>
          <p:nvPr>
            <p:extLst>
              <p:ext uri="{D42A27DB-BD31-4B8C-83A1-F6EECF244321}">
                <p14:modId xmlns:p14="http://schemas.microsoft.com/office/powerpoint/2010/main" val="3617491426"/>
              </p:ext>
            </p:extLst>
          </p:nvPr>
        </p:nvGraphicFramePr>
        <p:xfrm>
          <a:off x="655636" y="833604"/>
          <a:ext cx="11291639" cy="5119258"/>
        </p:xfrm>
        <a:graphic>
          <a:graphicData uri="http://schemas.openxmlformats.org/drawingml/2006/table">
            <a:tbl>
              <a:tblPr bandRow="1"/>
              <a:tblGrid>
                <a:gridCol w="1686971">
                  <a:extLst>
                    <a:ext uri="{9D8B030D-6E8A-4147-A177-3AD203B41FA5}">
                      <a16:colId xmlns:a16="http://schemas.microsoft.com/office/drawing/2014/main" val="1641115587"/>
                    </a:ext>
                  </a:extLst>
                </a:gridCol>
                <a:gridCol w="1320089">
                  <a:extLst>
                    <a:ext uri="{9D8B030D-6E8A-4147-A177-3AD203B41FA5}">
                      <a16:colId xmlns:a16="http://schemas.microsoft.com/office/drawing/2014/main" val="851697351"/>
                    </a:ext>
                  </a:extLst>
                </a:gridCol>
                <a:gridCol w="509597">
                  <a:extLst>
                    <a:ext uri="{9D8B030D-6E8A-4147-A177-3AD203B41FA5}">
                      <a16:colId xmlns:a16="http://schemas.microsoft.com/office/drawing/2014/main" val="1725539160"/>
                    </a:ext>
                  </a:extLst>
                </a:gridCol>
                <a:gridCol w="509597">
                  <a:extLst>
                    <a:ext uri="{9D8B030D-6E8A-4147-A177-3AD203B41FA5}">
                      <a16:colId xmlns:a16="http://schemas.microsoft.com/office/drawing/2014/main" val="2749465807"/>
                    </a:ext>
                  </a:extLst>
                </a:gridCol>
                <a:gridCol w="509597">
                  <a:extLst>
                    <a:ext uri="{9D8B030D-6E8A-4147-A177-3AD203B41FA5}">
                      <a16:colId xmlns:a16="http://schemas.microsoft.com/office/drawing/2014/main" val="3721630276"/>
                    </a:ext>
                  </a:extLst>
                </a:gridCol>
                <a:gridCol w="491758">
                  <a:extLst>
                    <a:ext uri="{9D8B030D-6E8A-4147-A177-3AD203B41FA5}">
                      <a16:colId xmlns:a16="http://schemas.microsoft.com/office/drawing/2014/main" val="659091790"/>
                    </a:ext>
                  </a:extLst>
                </a:gridCol>
                <a:gridCol w="491758">
                  <a:extLst>
                    <a:ext uri="{9D8B030D-6E8A-4147-A177-3AD203B41FA5}">
                      <a16:colId xmlns:a16="http://schemas.microsoft.com/office/drawing/2014/main" val="2794484508"/>
                    </a:ext>
                  </a:extLst>
                </a:gridCol>
                <a:gridCol w="491758">
                  <a:extLst>
                    <a:ext uri="{9D8B030D-6E8A-4147-A177-3AD203B41FA5}">
                      <a16:colId xmlns:a16="http://schemas.microsoft.com/office/drawing/2014/main" val="1949844289"/>
                    </a:ext>
                  </a:extLst>
                </a:gridCol>
                <a:gridCol w="491758">
                  <a:extLst>
                    <a:ext uri="{9D8B030D-6E8A-4147-A177-3AD203B41FA5}">
                      <a16:colId xmlns:a16="http://schemas.microsoft.com/office/drawing/2014/main" val="2905655254"/>
                    </a:ext>
                  </a:extLst>
                </a:gridCol>
                <a:gridCol w="654833">
                  <a:extLst>
                    <a:ext uri="{9D8B030D-6E8A-4147-A177-3AD203B41FA5}">
                      <a16:colId xmlns:a16="http://schemas.microsoft.com/office/drawing/2014/main" val="1347937065"/>
                    </a:ext>
                  </a:extLst>
                </a:gridCol>
                <a:gridCol w="654833">
                  <a:extLst>
                    <a:ext uri="{9D8B030D-6E8A-4147-A177-3AD203B41FA5}">
                      <a16:colId xmlns:a16="http://schemas.microsoft.com/office/drawing/2014/main" val="2861927024"/>
                    </a:ext>
                  </a:extLst>
                </a:gridCol>
                <a:gridCol w="509597">
                  <a:extLst>
                    <a:ext uri="{9D8B030D-6E8A-4147-A177-3AD203B41FA5}">
                      <a16:colId xmlns:a16="http://schemas.microsoft.com/office/drawing/2014/main" val="2583665386"/>
                    </a:ext>
                  </a:extLst>
                </a:gridCol>
                <a:gridCol w="491758">
                  <a:extLst>
                    <a:ext uri="{9D8B030D-6E8A-4147-A177-3AD203B41FA5}">
                      <a16:colId xmlns:a16="http://schemas.microsoft.com/office/drawing/2014/main" val="2850931112"/>
                    </a:ext>
                  </a:extLst>
                </a:gridCol>
                <a:gridCol w="491758">
                  <a:extLst>
                    <a:ext uri="{9D8B030D-6E8A-4147-A177-3AD203B41FA5}">
                      <a16:colId xmlns:a16="http://schemas.microsoft.com/office/drawing/2014/main" val="2242411004"/>
                    </a:ext>
                  </a:extLst>
                </a:gridCol>
                <a:gridCol w="654833">
                  <a:extLst>
                    <a:ext uri="{9D8B030D-6E8A-4147-A177-3AD203B41FA5}">
                      <a16:colId xmlns:a16="http://schemas.microsoft.com/office/drawing/2014/main" val="2459189114"/>
                    </a:ext>
                  </a:extLst>
                </a:gridCol>
                <a:gridCol w="654833">
                  <a:extLst>
                    <a:ext uri="{9D8B030D-6E8A-4147-A177-3AD203B41FA5}">
                      <a16:colId xmlns:a16="http://schemas.microsoft.com/office/drawing/2014/main" val="1344251794"/>
                    </a:ext>
                  </a:extLst>
                </a:gridCol>
                <a:gridCol w="676311">
                  <a:extLst>
                    <a:ext uri="{9D8B030D-6E8A-4147-A177-3AD203B41FA5}">
                      <a16:colId xmlns:a16="http://schemas.microsoft.com/office/drawing/2014/main" val="3415541349"/>
                    </a:ext>
                  </a:extLst>
                </a:gridCol>
              </a:tblGrid>
              <a:tr h="212013">
                <a:tc row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endParaRPr lang="en-US" sz="1400" kern="1200">
                        <a:solidFill>
                          <a:schemeClr val="tx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row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Basic</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solidFill>
                            <a:schemeClr val="bg1"/>
                          </a:solidFill>
                        </a:rPr>
                        <a:t>Standard</a:t>
                      </a:r>
                      <a:endParaRPr lang="en-US" sz="1400" kern="1200" dirty="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lnL w="12700" cap="flat" cmpd="sng" algn="ctr">
                      <a:solidFill>
                        <a:srgbClr val="00BCF2"/>
                      </a:solidFill>
                      <a:prstDash val="solid"/>
                      <a:round/>
                      <a:headEnd type="none" w="med" len="med"/>
                      <a:tailEnd type="none" w="med" len="med"/>
                    </a:ln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remium</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h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extLst>
                  <a:ext uri="{0D108BD9-81ED-4DB2-BD59-A6C34878D82A}">
                    <a16:rowId xmlns:a16="http://schemas.microsoft.com/office/drawing/2014/main" val="900670429"/>
                  </a:ext>
                </a:extLst>
              </a:tr>
              <a:tr h="284286">
                <a:tc vMerge="1">
                  <a:txBody>
                    <a:bodyPr/>
                    <a:lstStyle/>
                    <a:p>
                      <a:pPr marL="0" algn="ctr" defTabSz="914367" rtl="0" eaLnBrk="1" latinLnBrk="0" hangingPunct="1"/>
                      <a:endParaRPr lang="en-US" sz="1400" kern="1200">
                        <a:solidFill>
                          <a:schemeClr val="tx1"/>
                        </a:solidFill>
                        <a:latin typeface="Segoe UI Semibold"/>
                        <a:ea typeface="+mn-ea"/>
                        <a:cs typeface="Segoe UI Semibold"/>
                      </a:endParaRPr>
                    </a:p>
                  </a:txBody>
                  <a:tcPr marL="93260" marR="93260" marT="46630" marB="46630"/>
                </a:tc>
                <a:tc vMerge="1">
                  <a:txBody>
                    <a:bodyPr/>
                    <a:lstStyle/>
                    <a:p>
                      <a:pPr marL="0" algn="ctr" defTabSz="914367" rtl="0" eaLnBrk="1" latinLnBrk="0" hangingPunct="1"/>
                      <a:endParaRPr lang="en-US" sz="1400" kern="1200">
                        <a:solidFill>
                          <a:schemeClr val="bg1"/>
                        </a:solidFill>
                        <a:latin typeface="Segoe UI Semibold" panose="020B0702040204020203" pitchFamily="34" charset="0"/>
                        <a:ea typeface="+mn-ea"/>
                        <a:cs typeface="Segoe UI Semibold" panose="020B0702040204020203" pitchFamily="34" charset="0"/>
                      </a:endParaRPr>
                    </a:p>
                  </a:txBody>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0</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1</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2</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3</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4</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6</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7</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9</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ln>
                            <a:solidFill>
                              <a:schemeClr val="bg1"/>
                            </a:solidFill>
                          </a:ln>
                          <a:solidFill>
                            <a:schemeClr val="bg1"/>
                          </a:solidFill>
                        </a:rPr>
                        <a:t>S12</a:t>
                      </a:r>
                      <a:endParaRPr lang="en-US" sz="1400" kern="1200" dirty="0">
                        <a:ln>
                          <a:solidFill>
                            <a:schemeClr val="bg1"/>
                          </a:solidFill>
                        </a:ln>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2</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4</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6</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1</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solidFill>
                            <a:schemeClr val="bg1"/>
                          </a:solidFill>
                        </a:rPr>
                        <a:t>P15</a:t>
                      </a:r>
                      <a:endParaRPr lang="en-US" sz="1400" kern="1200">
                        <a:solidFill>
                          <a:schemeClr val="bg1"/>
                        </a:solidFill>
                        <a:latin typeface="Segoe UI Semibold"/>
                        <a:ea typeface="+mn-ea"/>
                        <a:cs typeface="Segoe UI Semibold"/>
                      </a:endParaRPr>
                    </a:p>
                  </a:txBody>
                  <a:tcPr marL="93260" marR="93260" marT="46630" marB="46630">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3232970631"/>
                  </a:ext>
                </a:extLst>
              </a:tr>
              <a:tr h="43983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Built for</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Light transactional workloads</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Medium transactional workloads</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endParaRPr lang="en-US"/>
                    </a:p>
                  </a:txBody>
                  <a:tcPr>
                    <a:lnL w="12700" cap="flat" cmpd="sng" algn="ctr">
                      <a:solidFill>
                        <a:srgbClr val="00BCF2"/>
                      </a:solidFill>
                      <a:prstDash val="solid"/>
                      <a:round/>
                      <a:headEnd type="none" w="med" len="med"/>
                      <a:tailEnd type="none" w="med" len="med"/>
                    </a:lnL>
                    <a:lnT w="12700" cap="flat" cmpd="sng" algn="ctr">
                      <a:solidFill>
                        <a:srgbClr val="00BCF2"/>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ap="flat" cmpd="sng" algn="ctr">
                      <a:solidFill>
                        <a:schemeClr val="bg2"/>
                      </a:solidFill>
                      <a:prstDash val="solid"/>
                      <a:round/>
                      <a:headEnd type="none" w="med" len="med"/>
                      <a:tailEnd type="none" w="med" len="med"/>
                    </a:lnL>
                    <a:lnT w="12700" cmpd="sng">
                      <a:noFill/>
                    </a:lnT>
                  </a:tcPr>
                </a:tc>
                <a:tc hMerge="1">
                  <a:txBody>
                    <a:bodyPr/>
                    <a:lstStyle/>
                    <a:p>
                      <a:endParaRPr lang="en-US"/>
                    </a:p>
                  </a:txBody>
                  <a:tcPr>
                    <a:lnL w="12700" cap="flat" cmpd="sng" algn="ctr">
                      <a:solidFill>
                        <a:schemeClr val="bg2"/>
                      </a:solidFill>
                      <a:prstDash val="solid"/>
                      <a:round/>
                      <a:headEnd type="none" w="med" len="med"/>
                      <a:tailEnd type="none" w="med" len="med"/>
                    </a:lnL>
                    <a:lnT w="12700" cmpd="sng">
                      <a:noFill/>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Heavy transactional workload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50044522"/>
                  </a:ext>
                </a:extLst>
              </a:tr>
              <a:tr h="41090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Available SLA</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99.99%</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5397524"/>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Database max. size</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 G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3">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50 G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10">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 T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4 TB</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99421169"/>
                  </a:ext>
                </a:extLst>
              </a:tr>
              <a:tr h="6799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Point-in-time restore</a:t>
                      </a:r>
                    </a:p>
                    <a:p>
                      <a:pPr marL="0" algn="l" defTabSz="914367" rtl="0" eaLnBrk="1" latinLnBrk="0" hangingPunct="1"/>
                      <a:r>
                        <a:rPr lang="en-US" sz="1400" kern="1200"/>
                        <a:t>(“oops” recover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Any point within 7 day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5">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u="none" strike="noStrike">
                          <a:effectLst/>
                        </a:rPr>
                        <a:t>7-35 days (7 days by default)</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420935"/>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Business continuit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Active geo-replication, up to four readable secondary backups</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0195514"/>
                  </a:ext>
                </a:extLst>
              </a:tr>
              <a:tr h="41090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Security</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1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effectLst/>
                          <a:uLnTx/>
                          <a:uFillTx/>
                        </a:rPr>
                        <a:t>Auditing, row-level security, dynamic data masking, Advanced Threat Protection</a:t>
                      </a:r>
                      <a:endParaRPr kumimoji="0" lang="en-US" sz="1400" b="0" i="0" u="none" strike="noStrike" kern="0" cap="none" spc="0" normalizeH="0" baseline="0" noProof="0">
                        <a:ln>
                          <a:noFill/>
                        </a:ln>
                        <a:solidFill>
                          <a:schemeClr val="tx1"/>
                        </a:solidFill>
                        <a:effectLst/>
                        <a:uLnTx/>
                        <a:uFillTx/>
                        <a:latin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2221051"/>
                  </a:ext>
                </a:extLst>
              </a:tr>
              <a:tr h="48210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Performance objectives</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Transactions per hour</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gridSpan="9">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Transactions per minute</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rgbClr val="00BCF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6">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Transactions per second</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0078D7">
                        <a:tint val="20000"/>
                      </a:srgbClr>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367" rtl="0" eaLnBrk="1" latinLnBrk="0" hangingPunct="1"/>
                      <a:endParaRPr lang="en-US" sz="12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6969942"/>
                  </a:ext>
                </a:extLst>
              </a:tr>
              <a:tr h="67992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l" defTabSz="914367" rtl="0" eaLnBrk="1" latinLnBrk="0" hangingPunct="1"/>
                      <a:r>
                        <a:rPr lang="en-US" sz="1400" kern="1200"/>
                        <a:t>Database transaction units (DTUs)</a:t>
                      </a:r>
                      <a:endParaRPr lang="en-US" sz="1400" kern="1200">
                        <a:solidFill>
                          <a:schemeClr val="tx1"/>
                        </a:solidFill>
                        <a:latin typeface="Segoe UI Semibold"/>
                        <a:ea typeface="+mn-ea"/>
                        <a:cs typeface="Segoe UI Semibold"/>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5</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20</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50E6FF"/>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4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8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6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3,0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25</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2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5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00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a:t>1,750</a:t>
                      </a:r>
                      <a:endParaRPr lang="en-US" sz="1400" kern="120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algn="ctr" defTabSz="914367" rtl="0" eaLnBrk="1" latinLnBrk="0" hangingPunct="1"/>
                      <a:r>
                        <a:rPr lang="en-US" sz="1400" kern="1200" dirty="0"/>
                        <a:t>4,000</a:t>
                      </a:r>
                      <a:endParaRPr lang="en-US" sz="1400" kern="1200" dirty="0">
                        <a:solidFill>
                          <a:schemeClr val="tx1"/>
                        </a:solidFill>
                        <a:latin typeface="Segoe UI Semibold"/>
                        <a:ea typeface="+mn-ea"/>
                        <a:cs typeface="+mn-cs"/>
                      </a:endParaRPr>
                    </a:p>
                  </a:txBody>
                  <a:tcPr marL="93260" marR="93260" marT="46630" marB="46630" anchor="ctr">
                    <a:lnL w="12700" cap="flat" cmpd="sng" algn="ctr">
                      <a:solidFill>
                        <a:srgbClr val="00BCF2"/>
                      </a:solidFill>
                      <a:prstDash val="solid"/>
                      <a:round/>
                      <a:headEnd type="none" w="med" len="med"/>
                      <a:tailEnd type="none" w="med" len="med"/>
                    </a:lnL>
                    <a:lnR w="12700" cap="flat" cmpd="sng" algn="ctr">
                      <a:solidFill>
                        <a:srgbClr val="00BCF2"/>
                      </a:solidFill>
                      <a:prstDash val="solid"/>
                      <a:round/>
                      <a:headEnd type="none" w="med" len="med"/>
                      <a:tailEnd type="none" w="med" len="med"/>
                    </a:lnR>
                    <a:lnT w="12700" cap="flat" cmpd="sng" algn="ctr">
                      <a:solidFill>
                        <a:srgbClr val="00BCF2"/>
                      </a:solidFill>
                      <a:prstDash val="solid"/>
                      <a:round/>
                      <a:headEnd type="none" w="med" len="med"/>
                      <a:tailEnd type="none" w="med" len="med"/>
                    </a:lnT>
                    <a:lnB w="12700" cap="flat" cmpd="sng" algn="ctr">
                      <a:solidFill>
                        <a:srgbClr val="00BCF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81501684"/>
                  </a:ext>
                </a:extLst>
              </a:tr>
            </a:tbl>
          </a:graphicData>
        </a:graphic>
      </p:graphicFrame>
      <p:sp>
        <p:nvSpPr>
          <p:cNvPr id="22" name="TextBox 21">
            <a:extLst>
              <a:ext uri="{FF2B5EF4-FFF2-40B4-BE49-F238E27FC236}">
                <a16:creationId xmlns:a16="http://schemas.microsoft.com/office/drawing/2014/main" id="{B7311D23-B138-44D3-954D-14C71307B8D4}"/>
              </a:ext>
            </a:extLst>
          </p:cNvPr>
          <p:cNvSpPr txBox="1"/>
          <p:nvPr/>
        </p:nvSpPr>
        <p:spPr>
          <a:xfrm>
            <a:off x="3500171" y="6191040"/>
            <a:ext cx="6399829" cy="489365"/>
          </a:xfrm>
          <a:prstGeom prst="rect">
            <a:avLst/>
          </a:prstGeom>
          <a:noFill/>
        </p:spPr>
        <p:txBody>
          <a:bodyPr wrap="none" lIns="182880" tIns="146304" rIns="182880" bIns="146304" rtlCol="0" anchor="t">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505050"/>
                </a:solidFill>
                <a:effectLst/>
                <a:uLnTx/>
                <a:uFillTx/>
                <a:hlinkClick r:id="rId3"/>
              </a:rPr>
              <a:t>Resource limits for single databases using the DTU-based purchasing model</a:t>
            </a:r>
            <a:endParaRPr kumimoji="0" lang="nl-BE" sz="1400" b="0" i="0" u="none" strike="noStrike" kern="0" cap="none" spc="0" normalizeH="0" baseline="0" noProof="0" dirty="0">
              <a:ln>
                <a:noFill/>
              </a:ln>
              <a:gradFill>
                <a:gsLst>
                  <a:gs pos="2917">
                    <a:srgbClr val="505050"/>
                  </a:gs>
                  <a:gs pos="30000">
                    <a:srgbClr val="505050"/>
                  </a:gs>
                </a:gsLst>
                <a:lin ang="5400000" scaled="0"/>
              </a:gradFill>
              <a:effectLst/>
              <a:uLnTx/>
              <a:uFillTx/>
              <a:cs typeface="Segoe UI"/>
            </a:endParaRPr>
          </a:p>
        </p:txBody>
      </p:sp>
    </p:spTree>
    <p:extLst>
      <p:ext uri="{BB962C8B-B14F-4D97-AF65-F5344CB8AC3E}">
        <p14:creationId xmlns:p14="http://schemas.microsoft.com/office/powerpoint/2010/main" val="22768451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Performance Levels (DTU)</a:t>
            </a:r>
          </a:p>
        </p:txBody>
      </p:sp>
      <p:graphicFrame>
        <p:nvGraphicFramePr>
          <p:cNvPr id="5" name="Content Placeholder 4">
            <a:extLst>
              <a:ext uri="{FF2B5EF4-FFF2-40B4-BE49-F238E27FC236}">
                <a16:creationId xmlns:a16="http://schemas.microsoft.com/office/drawing/2014/main" id="{E45287CD-7850-4655-A12E-288B214D9518}"/>
              </a:ext>
            </a:extLst>
          </p:cNvPr>
          <p:cNvGraphicFramePr>
            <a:graphicFrameLocks noGrp="1"/>
          </p:cNvGraphicFramePr>
          <p:nvPr>
            <p:ph sz="quarter" idx="13"/>
          </p:nvPr>
        </p:nvGraphicFramePr>
        <p:xfrm>
          <a:off x="655638" y="1408114"/>
          <a:ext cx="3840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6467AA7F-AFAD-39D2-DDD8-6FD2FEABA554}"/>
              </a:ext>
            </a:extLst>
          </p:cNvPr>
          <p:cNvPicPr>
            <a:picLocks noChangeAspect="1"/>
          </p:cNvPicPr>
          <p:nvPr/>
        </p:nvPicPr>
        <p:blipFill>
          <a:blip r:embed="rId8"/>
          <a:stretch>
            <a:fillRect/>
          </a:stretch>
        </p:blipFill>
        <p:spPr>
          <a:xfrm>
            <a:off x="4746193" y="1752600"/>
            <a:ext cx="7114311" cy="3962400"/>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D0C9D8CE-A265-4EDB-86D4-716D2FB90CFC}"/>
              </a:ext>
            </a:extLst>
          </p:cNvPr>
          <p:cNvSpPr/>
          <p:nvPr/>
        </p:nvSpPr>
        <p:spPr bwMode="auto">
          <a:xfrm>
            <a:off x="7086600" y="4114800"/>
            <a:ext cx="4648200" cy="114300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388608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Performance Levels (vCore)</a:t>
            </a:r>
          </a:p>
        </p:txBody>
      </p:sp>
      <p:graphicFrame>
        <p:nvGraphicFramePr>
          <p:cNvPr id="8" name="Content Placeholder 7">
            <a:extLst>
              <a:ext uri="{FF2B5EF4-FFF2-40B4-BE49-F238E27FC236}">
                <a16:creationId xmlns:a16="http://schemas.microsoft.com/office/drawing/2014/main" id="{4FD52D02-547A-4E62-A617-DE934C045434}"/>
              </a:ext>
            </a:extLst>
          </p:cNvPr>
          <p:cNvGraphicFramePr>
            <a:graphicFrameLocks noGrp="1"/>
          </p:cNvGraphicFramePr>
          <p:nvPr>
            <p:ph sz="quarter" idx="13"/>
          </p:nvPr>
        </p:nvGraphicFramePr>
        <p:xfrm>
          <a:off x="655638" y="1428750"/>
          <a:ext cx="3840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9C54A63E-5701-5E93-F88E-5156DB24E11C}"/>
              </a:ext>
            </a:extLst>
          </p:cNvPr>
          <p:cNvPicPr>
            <a:picLocks noChangeAspect="1"/>
          </p:cNvPicPr>
          <p:nvPr/>
        </p:nvPicPr>
        <p:blipFill>
          <a:blip r:embed="rId8"/>
          <a:stretch>
            <a:fillRect/>
          </a:stretch>
        </p:blipFill>
        <p:spPr>
          <a:xfrm>
            <a:off x="4876800" y="1209304"/>
            <a:ext cx="6467607" cy="5328656"/>
          </a:xfrm>
          <a:prstGeom prst="rect">
            <a:avLst/>
          </a:prstGeom>
        </p:spPr>
      </p:pic>
      <p:sp>
        <p:nvSpPr>
          <p:cNvPr id="10" name="Rectangle 9">
            <a:extLst>
              <a:ext uri="{FF2B5EF4-FFF2-40B4-BE49-F238E27FC236}">
                <a16:creationId xmlns:a16="http://schemas.microsoft.com/office/drawing/2014/main" id="{1FD83EDD-D28E-A828-5B1D-159F32C75679}"/>
              </a:ext>
            </a:extLst>
          </p:cNvPr>
          <p:cNvSpPr/>
          <p:nvPr/>
        </p:nvSpPr>
        <p:spPr bwMode="auto">
          <a:xfrm>
            <a:off x="7010399" y="2286000"/>
            <a:ext cx="4334007" cy="106680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21411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Compute Tier and Hardware (vCore)</a:t>
            </a:r>
          </a:p>
        </p:txBody>
      </p:sp>
      <p:grpSp>
        <p:nvGrpSpPr>
          <p:cNvPr id="9" name="Group 8">
            <a:extLst>
              <a:ext uri="{FF2B5EF4-FFF2-40B4-BE49-F238E27FC236}">
                <a16:creationId xmlns:a16="http://schemas.microsoft.com/office/drawing/2014/main" id="{61D0B62C-0527-FC23-A3C3-83CA0AA3A039}"/>
              </a:ext>
            </a:extLst>
          </p:cNvPr>
          <p:cNvGrpSpPr/>
          <p:nvPr/>
        </p:nvGrpSpPr>
        <p:grpSpPr>
          <a:xfrm>
            <a:off x="1676400" y="1295400"/>
            <a:ext cx="8458200" cy="4969231"/>
            <a:chOff x="4876800" y="1676400"/>
            <a:chExt cx="7232750" cy="4147261"/>
          </a:xfrm>
        </p:grpSpPr>
        <p:pic>
          <p:nvPicPr>
            <p:cNvPr id="4" name="Picture 3">
              <a:extLst>
                <a:ext uri="{FF2B5EF4-FFF2-40B4-BE49-F238E27FC236}">
                  <a16:creationId xmlns:a16="http://schemas.microsoft.com/office/drawing/2014/main" id="{B8271C90-5D22-41DF-52DE-04FED49EC31E}"/>
                </a:ext>
              </a:extLst>
            </p:cNvPr>
            <p:cNvPicPr>
              <a:picLocks noChangeAspect="1"/>
            </p:cNvPicPr>
            <p:nvPr/>
          </p:nvPicPr>
          <p:blipFill>
            <a:blip r:embed="rId3"/>
            <a:stretch>
              <a:fillRect/>
            </a:stretch>
          </p:blipFill>
          <p:spPr>
            <a:xfrm>
              <a:off x="4876800" y="1676400"/>
              <a:ext cx="7232750" cy="4147261"/>
            </a:xfrm>
            <a:prstGeom prst="rect">
              <a:avLst/>
            </a:prstGeom>
            <a:ln>
              <a:noFill/>
            </a:ln>
            <a:effectLst>
              <a:outerShdw blurRad="190500" algn="tl" rotWithShape="0">
                <a:srgbClr val="000000">
                  <a:alpha val="70000"/>
                </a:srgbClr>
              </a:outerShdw>
            </a:effectLst>
          </p:spPr>
        </p:pic>
        <p:sp>
          <p:nvSpPr>
            <p:cNvPr id="10" name="Rectangle 9">
              <a:extLst>
                <a:ext uri="{FF2B5EF4-FFF2-40B4-BE49-F238E27FC236}">
                  <a16:creationId xmlns:a16="http://schemas.microsoft.com/office/drawing/2014/main" id="{1FD83EDD-D28E-A828-5B1D-159F32C75679}"/>
                </a:ext>
              </a:extLst>
            </p:cNvPr>
            <p:cNvSpPr/>
            <p:nvPr/>
          </p:nvSpPr>
          <p:spPr bwMode="auto">
            <a:xfrm>
              <a:off x="4953000" y="3124200"/>
              <a:ext cx="7086600" cy="2590800"/>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34230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81DA0D0A-6A76-479C-9608-A86440D4607E}"/>
              </a:ext>
            </a:extLst>
          </p:cNvPr>
          <p:cNvGraphicFramePr>
            <a:graphicFrameLocks noGrp="1"/>
          </p:cNvGraphicFramePr>
          <p:nvPr/>
        </p:nvGraphicFramePr>
        <p:xfrm>
          <a:off x="655636" y="1406918"/>
          <a:ext cx="10880726" cy="4879630"/>
        </p:xfrm>
        <a:graphic>
          <a:graphicData uri="http://schemas.openxmlformats.org/drawingml/2006/table">
            <a:tbl>
              <a:tblPr/>
              <a:tblGrid>
                <a:gridCol w="1554390">
                  <a:extLst>
                    <a:ext uri="{9D8B030D-6E8A-4147-A177-3AD203B41FA5}">
                      <a16:colId xmlns:a16="http://schemas.microsoft.com/office/drawing/2014/main" val="784886160"/>
                    </a:ext>
                  </a:extLst>
                </a:gridCol>
                <a:gridCol w="1590724">
                  <a:extLst>
                    <a:ext uri="{9D8B030D-6E8A-4147-A177-3AD203B41FA5}">
                      <a16:colId xmlns:a16="http://schemas.microsoft.com/office/drawing/2014/main" val="2771511070"/>
                    </a:ext>
                  </a:extLst>
                </a:gridCol>
                <a:gridCol w="1590724">
                  <a:extLst>
                    <a:ext uri="{9D8B030D-6E8A-4147-A177-3AD203B41FA5}">
                      <a16:colId xmlns:a16="http://schemas.microsoft.com/office/drawing/2014/main" val="4198495588"/>
                    </a:ext>
                  </a:extLst>
                </a:gridCol>
                <a:gridCol w="1590724">
                  <a:extLst>
                    <a:ext uri="{9D8B030D-6E8A-4147-A177-3AD203B41FA5}">
                      <a16:colId xmlns:a16="http://schemas.microsoft.com/office/drawing/2014/main" val="3616988431"/>
                    </a:ext>
                  </a:extLst>
                </a:gridCol>
                <a:gridCol w="1590724">
                  <a:extLst>
                    <a:ext uri="{9D8B030D-6E8A-4147-A177-3AD203B41FA5}">
                      <a16:colId xmlns:a16="http://schemas.microsoft.com/office/drawing/2014/main" val="1579151052"/>
                    </a:ext>
                  </a:extLst>
                </a:gridCol>
                <a:gridCol w="2963440">
                  <a:extLst>
                    <a:ext uri="{9D8B030D-6E8A-4147-A177-3AD203B41FA5}">
                      <a16:colId xmlns:a16="http://schemas.microsoft.com/office/drawing/2014/main" val="745531816"/>
                    </a:ext>
                  </a:extLst>
                </a:gridCol>
              </a:tblGrid>
              <a:tr h="4665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Service tier</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dirty="0">
                          <a:solidFill>
                            <a:srgbClr val="0078D7"/>
                          </a:solidFill>
                          <a:effectLst/>
                        </a:rPr>
                        <a:t> General purpose</a:t>
                      </a:r>
                      <a:endParaRPr lang="en-US" sz="1100" b="0" i="0" u="none" strike="noStrike" dirty="0">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dirty="0">
                          <a:solidFill>
                            <a:srgbClr val="0078D7"/>
                          </a:solidFill>
                          <a:effectLst/>
                        </a:rPr>
                        <a:t>Business critical</a:t>
                      </a:r>
                      <a:endParaRPr lang="en-US" sz="1100" b="0" i="0" u="none" strike="noStrike" dirty="0">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b"/>
                      <a:r>
                        <a:rPr lang="en-US" sz="1400" u="none" strike="noStrike" dirty="0">
                          <a:solidFill>
                            <a:srgbClr val="0078D7"/>
                          </a:solidFill>
                          <a:effectLst/>
                        </a:rPr>
                        <a:t>Hyperscale</a:t>
                      </a:r>
                      <a:endParaRPr lang="en-US" sz="1100" b="0" i="0" u="none" strike="noStrike" dirty="0">
                        <a:solidFill>
                          <a:srgbClr val="0078D7"/>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587259502"/>
                  </a:ext>
                </a:extLst>
              </a:tr>
              <a:tr h="72158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Best for</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Most budget-oriented workload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Critical business applications with high IO requirements. </a:t>
                      </a:r>
                      <a:endParaRPr lang="en-US"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VLDB OLTP and HTAP workloads with highly scalable storage and read-scale requirement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1943949272"/>
                  </a:ext>
                </a:extLst>
              </a:tr>
              <a:tr h="52086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Deployment  option</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dirty="0">
                          <a:solidFill>
                            <a:schemeClr val="bg1"/>
                          </a:solidFill>
                          <a:effectLst/>
                        </a:rPr>
                        <a:t>Single / </a:t>
                      </a:r>
                      <a:endParaRPr lang="en-US" sz="1200" u="none" strike="noStrike">
                        <a:solidFill>
                          <a:schemeClr val="bg1"/>
                        </a:solidFill>
                        <a:effectLst/>
                      </a:endParaRPr>
                    </a:p>
                    <a:p>
                      <a:pPr algn="ctr" rtl="0" fontAlgn="ctr"/>
                      <a:r>
                        <a:rPr lang="en-US" sz="1200" u="none" strike="noStrike" dirty="0">
                          <a:solidFill>
                            <a:schemeClr val="bg1"/>
                          </a:solidFill>
                          <a:effectLst/>
                        </a:rPr>
                        <a:t>Elastic Pools</a:t>
                      </a:r>
                      <a:endParaRPr lang="en-US" sz="1200" b="0" i="0" u="none" strike="noStrike" dirty="0">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dirty="0">
                          <a:solidFill>
                            <a:schemeClr val="bg1"/>
                          </a:solidFill>
                          <a:effectLst/>
                        </a:rPr>
                        <a:t>Managed Instance</a:t>
                      </a:r>
                      <a:endParaRPr lang="en-US" sz="1200" b="0" i="0" u="none" strike="noStrike" dirty="0">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dirty="0">
                          <a:solidFill>
                            <a:schemeClr val="bg1"/>
                          </a:solidFill>
                          <a:effectLst/>
                        </a:rPr>
                        <a:t>Single / </a:t>
                      </a:r>
                      <a:endParaRPr lang="en-US" sz="1200" u="none" strike="noStrike">
                        <a:solidFill>
                          <a:schemeClr val="bg1"/>
                        </a:solidFill>
                        <a:effectLst/>
                      </a:endParaRPr>
                    </a:p>
                    <a:p>
                      <a:pPr algn="ctr" rtl="0" fontAlgn="ctr"/>
                      <a:r>
                        <a:rPr lang="en-US" sz="1200" u="none" strike="noStrike" dirty="0">
                          <a:solidFill>
                            <a:schemeClr val="bg1"/>
                          </a:solidFill>
                          <a:effectLst/>
                        </a:rPr>
                        <a:t>Elastic Pools</a:t>
                      </a:r>
                      <a:endParaRPr lang="en-US" sz="1200" b="0" i="0" u="none" strike="noStrike" dirty="0">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dirty="0">
                          <a:solidFill>
                            <a:schemeClr val="bg1"/>
                          </a:solidFill>
                          <a:effectLst/>
                        </a:rPr>
                        <a:t>Managed Instance</a:t>
                      </a:r>
                    </a:p>
                    <a:p>
                      <a:pPr algn="ctr" rtl="0" fontAlgn="ctr"/>
                      <a:endParaRPr lang="en-US" sz="1200" b="0" i="0" u="none" strike="noStrike">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200" u="none" strike="noStrike" dirty="0">
                          <a:solidFill>
                            <a:schemeClr val="bg1"/>
                          </a:solidFill>
                          <a:effectLst/>
                        </a:rPr>
                        <a:t>Single</a:t>
                      </a:r>
                      <a:endParaRPr lang="en-US" sz="1200" b="0" i="0" u="none" strike="noStrike" dirty="0">
                        <a:solidFill>
                          <a:schemeClr val="bg1"/>
                        </a:solidFill>
                        <a:effectLst/>
                        <a:latin typeface="Segoe UI Semibold" panose="020B0702040204020203" pitchFamily="34" charset="0"/>
                      </a:endParaRPr>
                    </a:p>
                  </a:txBody>
                  <a:tcPr marL="0" marR="0" marT="0" marB="0">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56660644"/>
                  </a:ext>
                </a:extLst>
              </a:tr>
              <a:tr h="993020">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Compute tiers</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br>
                        <a:rPr lang="en-US" sz="1000" u="none" strike="noStrike" dirty="0">
                          <a:effectLst/>
                        </a:rPr>
                      </a:br>
                      <a:r>
                        <a:rPr lang="en-US" sz="1000" u="none" strike="noStrike" dirty="0">
                          <a:effectLst/>
                        </a:rPr>
                        <a:t>Gen5: 2 to 80 </a:t>
                      </a:r>
                      <a:r>
                        <a:rPr lang="en-US" sz="1000" u="none" strike="noStrike" dirty="0" err="1">
                          <a:effectLst/>
                        </a:rPr>
                        <a:t>vCore</a:t>
                      </a:r>
                    </a:p>
                    <a:p>
                      <a:pPr algn="l" rtl="0" fontAlgn="ctr"/>
                      <a:r>
                        <a:rPr lang="en-US" sz="1000" u="none" strike="noStrike" dirty="0">
                          <a:effectLst/>
                        </a:rPr>
                        <a:t>Fsv2-series</a:t>
                      </a:r>
                      <a:r>
                        <a:rPr lang="en-US" sz="1000" b="1" u="none" strike="noStrike" dirty="0">
                          <a:effectLst/>
                        </a:rPr>
                        <a:t>*</a:t>
                      </a:r>
                      <a:r>
                        <a:rPr lang="en-US" sz="1000" u="none" strike="noStrike" dirty="0">
                          <a:effectLst/>
                        </a:rPr>
                        <a:t>: 72 </a:t>
                      </a:r>
                      <a:r>
                        <a:rPr lang="en-US" sz="1000" u="none" strike="noStrike" dirty="0" err="1">
                          <a:effectLst/>
                        </a:rPr>
                        <a:t>vCore</a:t>
                      </a:r>
                    </a:p>
                    <a:p>
                      <a:pPr marL="0" marR="0" lvl="0" indent="0" algn="l" defTabSz="914367" rtl="0" eaLnBrk="1" fontAlgn="ctr" latinLnBrk="0" hangingPunct="1">
                        <a:lnSpc>
                          <a:spcPct val="100000"/>
                        </a:lnSpc>
                        <a:spcBef>
                          <a:spcPts val="0"/>
                        </a:spcBef>
                        <a:spcAft>
                          <a:spcPts val="0"/>
                        </a:spcAft>
                        <a:buClrTx/>
                        <a:buSzTx/>
                        <a:buFontTx/>
                        <a:buNone/>
                        <a:tabLst/>
                        <a:defRPr/>
                      </a:pPr>
                      <a:r>
                        <a:rPr lang="en-US" sz="1000" u="none" strike="noStrike" dirty="0">
                          <a:effectLst/>
                        </a:rPr>
                        <a:t>Serverless: 0.5 to 16 </a:t>
                      </a:r>
                      <a:r>
                        <a:rPr lang="en-US" sz="1000" u="none" strike="noStrike" dirty="0" err="1">
                          <a:effectLst/>
                        </a:rPr>
                        <a:t>vCore</a:t>
                      </a:r>
                    </a:p>
                    <a:p>
                      <a:pPr algn="l" rtl="0" fontAlgn="ctr"/>
                      <a:endParaRPr lang="en-US" sz="10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000" u="none" strike="noStrike" dirty="0">
                          <a:effectLst/>
                        </a:rPr>
                        <a:t>Gen5: 4 to 80 </a:t>
                      </a:r>
                      <a:r>
                        <a:rPr lang="en-US" sz="1000" u="none" strike="noStrike" dirty="0" err="1">
                          <a:effectLst/>
                        </a:rPr>
                        <a:t>vCore</a:t>
                      </a:r>
                      <a:endParaRPr lang="en-US" sz="1000" b="0" i="0" u="none" strike="noStrike" dirty="0" err="1">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000" u="none" strike="noStrike" dirty="0">
                          <a:effectLst/>
                        </a:rPr>
                        <a:t>Gen5: 2 to 80 </a:t>
                      </a:r>
                      <a:r>
                        <a:rPr lang="en-US" sz="1000" u="none" strike="noStrike" dirty="0" err="1">
                          <a:effectLst/>
                        </a:rPr>
                        <a:t>vCore</a:t>
                      </a:r>
                    </a:p>
                    <a:p>
                      <a:pPr algn="l" rtl="0" fontAlgn="ctr"/>
                      <a:r>
                        <a:rPr lang="en-US" sz="1000" u="none" strike="noStrike" dirty="0">
                          <a:effectLst/>
                        </a:rPr>
                        <a:t>M-series*: 128 </a:t>
                      </a:r>
                      <a:r>
                        <a:rPr lang="en-US" sz="1000" u="none" strike="noStrike" dirty="0" err="1">
                          <a:effectLst/>
                        </a:rPr>
                        <a:t>vCore</a:t>
                      </a:r>
                      <a:endParaRPr lang="en-US" sz="1000" b="0" i="0" u="none" strike="noStrike" dirty="0" err="1">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000" u="none" strike="noStrike" dirty="0">
                          <a:effectLst/>
                        </a:rPr>
                        <a:t>Gen5: 4 to 80 </a:t>
                      </a:r>
                      <a:r>
                        <a:rPr lang="en-US" sz="1000" u="none" strike="noStrike" dirty="0" err="1">
                          <a:effectLst/>
                        </a:rPr>
                        <a:t>vCore</a:t>
                      </a:r>
                      <a:endParaRPr lang="en-US" sz="1000" b="0" i="0" u="none" strike="noStrike" dirty="0" err="1">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000" u="none" strike="noStrike" dirty="0">
                          <a:effectLst/>
                        </a:rPr>
                        <a:t>Gen5: 2 to 80 </a:t>
                      </a:r>
                      <a:r>
                        <a:rPr lang="en-US" sz="1000" u="none" strike="noStrike" dirty="0" err="1">
                          <a:effectLst/>
                        </a:rPr>
                        <a:t>vCore</a:t>
                      </a:r>
                      <a:endParaRPr lang="en-US" sz="1000" b="0" i="0" u="none" strike="noStrike" dirty="0" err="1">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687905213"/>
                  </a:ext>
                </a:extLst>
              </a:tr>
              <a:tr h="217726">
                <a:tc row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Storage</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Premium remote</a:t>
                      </a:r>
                      <a:endParaRPr lang="en-US" sz="1100" b="1"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ocal SSD</a:t>
                      </a:r>
                      <a:endParaRPr lang="en-US" sz="1100" b="1"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ocal SSD Cache</a:t>
                      </a:r>
                      <a:endParaRPr lang="en-US" sz="1100" b="1"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4002356545"/>
                  </a:ext>
                </a:extLst>
              </a:tr>
              <a:tr h="360793">
                <a:tc v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5GB – 4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32GB – 16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5GB – 4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32GB – 16TB per instanc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Scale from 5GB to 100TB of storage in 1GB increment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052644292"/>
                  </a:ext>
                </a:extLst>
              </a:tr>
              <a:tr h="20694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In-Memory</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Not supported</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Supported</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Not supported</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2145969495"/>
                  </a:ext>
                </a:extLst>
              </a:tr>
              <a:tr h="36079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Read-write IO</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2ms for all data acces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t;0.5ms for all data acces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t;0.5ms for hot data access</a:t>
                      </a:r>
                      <a:br>
                        <a:rPr lang="en-US" sz="1100" u="none" strike="noStrike" dirty="0">
                          <a:effectLst/>
                        </a:rPr>
                      </a:br>
                      <a:r>
                        <a:rPr lang="en-US" sz="1100" u="none" strike="noStrike" dirty="0">
                          <a:effectLst/>
                        </a:rPr>
                        <a:t>~2ms otherwise</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513752236"/>
                  </a:ext>
                </a:extLst>
              </a:tr>
              <a:tr h="62418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Availability</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1 replica, no read-scale replica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it-IT" sz="1100" u="none" strike="noStrike" dirty="0">
                          <a:effectLst/>
                        </a:rPr>
                        <a:t>3 </a:t>
                      </a:r>
                      <a:r>
                        <a:rPr lang="it-IT" sz="1100" u="none" strike="noStrike" dirty="0" err="1">
                          <a:effectLst/>
                        </a:rPr>
                        <a:t>read</a:t>
                      </a:r>
                      <a:r>
                        <a:rPr lang="it-IT" sz="1100" u="none" strike="noStrike" dirty="0">
                          <a:effectLst/>
                        </a:rPr>
                        <a:t> </a:t>
                      </a:r>
                      <a:r>
                        <a:rPr lang="it-IT" sz="1100" u="none" strike="noStrike" dirty="0" err="1">
                          <a:effectLst/>
                        </a:rPr>
                        <a:t>replicas</a:t>
                      </a:r>
                      <a:r>
                        <a:rPr lang="it-IT" sz="1100" u="none" strike="noStrike" dirty="0">
                          <a:effectLst/>
                        </a:rPr>
                        <a:t>, zone-</a:t>
                      </a:r>
                      <a:r>
                        <a:rPr lang="it-IT" sz="1100" u="none" strike="noStrike" dirty="0" err="1">
                          <a:effectLst/>
                        </a:rPr>
                        <a:t>redundant</a:t>
                      </a:r>
                      <a:r>
                        <a:rPr lang="it-IT" sz="1100" u="none" strike="noStrike" dirty="0">
                          <a:effectLst/>
                        </a:rPr>
                        <a:t> HA</a:t>
                      </a:r>
                      <a:endParaRPr lang="it-IT"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ctr" latinLnBrk="0" hangingPunct="1">
                        <a:lnSpc>
                          <a:spcPct val="100000"/>
                        </a:lnSpc>
                        <a:spcBef>
                          <a:spcPts val="0"/>
                        </a:spcBef>
                        <a:spcAft>
                          <a:spcPts val="0"/>
                        </a:spcAft>
                        <a:buClrTx/>
                        <a:buSzTx/>
                        <a:buFontTx/>
                        <a:buNone/>
                        <a:tabLst/>
                        <a:defRPr/>
                      </a:pPr>
                      <a:r>
                        <a:rPr lang="it-IT" sz="1100" u="none" strike="noStrike" dirty="0">
                          <a:effectLst/>
                        </a:rPr>
                        <a:t>3 </a:t>
                      </a:r>
                      <a:r>
                        <a:rPr lang="it-IT" sz="1100" u="none" strike="noStrike" dirty="0" err="1">
                          <a:effectLst/>
                        </a:rPr>
                        <a:t>replicas</a:t>
                      </a:r>
                      <a:r>
                        <a:rPr lang="it-IT" sz="1100" u="none" strike="noStrike" dirty="0">
                          <a:effectLst/>
                        </a:rPr>
                        <a:t>, 1 </a:t>
                      </a:r>
                      <a:r>
                        <a:rPr lang="it-IT" sz="1100" u="none" strike="noStrike" dirty="0" err="1">
                          <a:effectLst/>
                        </a:rPr>
                        <a:t>read</a:t>
                      </a:r>
                      <a:r>
                        <a:rPr lang="it-IT" sz="1100" u="none" strike="noStrike" dirty="0">
                          <a:effectLst/>
                        </a:rPr>
                        <a:t>-scale replica, zone-</a:t>
                      </a:r>
                      <a:r>
                        <a:rPr lang="it-IT" sz="1100" u="none" strike="noStrike" dirty="0" err="1">
                          <a:effectLst/>
                        </a:rPr>
                        <a:t>redundant</a:t>
                      </a:r>
                      <a:r>
                        <a:rPr lang="it-IT" sz="1100" u="none" strike="noStrike" dirty="0">
                          <a:effectLst/>
                        </a:rPr>
                        <a:t> HA</a:t>
                      </a:r>
                    </a:p>
                    <a:p>
                      <a:pPr algn="ctr" rtl="0" fontAlgn="ctr"/>
                      <a:endParaRPr lang="it-IT" sz="1100" b="0" i="0" u="none" strike="noStrike">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Primary read/write replica + up to 4 read replicas</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3645875476"/>
                  </a:ext>
                </a:extLst>
              </a:tr>
              <a:tr h="36079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l" rtl="0" fontAlgn="ctr"/>
                      <a:r>
                        <a:rPr lang="en-US" sz="1100" u="none" strike="noStrike" dirty="0">
                          <a:effectLst/>
                        </a:rPr>
                        <a:t> Backups</a:t>
                      </a:r>
                      <a:endParaRPr lang="en-US" sz="1100" b="0" i="0" u="none" strike="noStrike" dirty="0">
                        <a:solidFill>
                          <a:srgbClr val="0070C0"/>
                        </a:solidFill>
                        <a:effectLst/>
                        <a:latin typeface="Segoe UI Semibold" panose="020B0702040204020203" pitchFamily="34" charset="0"/>
                      </a:endParaRPr>
                    </a:p>
                  </a:txBody>
                  <a:tcPr marL="4663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RA-GRS, 7-35 days (7 days by default)</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RA-GRS, 7-35 days (7 days by default)</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rtl="0" fontAlgn="ctr"/>
                      <a:r>
                        <a:rPr lang="en-US" sz="1100" u="none" strike="noStrike" dirty="0">
                          <a:effectLst/>
                        </a:rPr>
                        <a:t>LRS, ZRS, RA-GRS, 7-35 days (7 days by default)</a:t>
                      </a:r>
                      <a:endParaRPr lang="en-US" sz="1100" b="0" i="0" u="none" strike="noStrike" dirty="0">
                        <a:solidFill>
                          <a:schemeClr val="tx1">
                            <a:lumMod val="95000"/>
                            <a:lumOff val="5000"/>
                          </a:schemeClr>
                        </a:solidFill>
                        <a:effectLst/>
                        <a:latin typeface="Segoe UI" panose="020B0502040204020203" pitchFamily="34" charset="0"/>
                      </a:endParaRPr>
                    </a:p>
                  </a:txBody>
                  <a:tcPr marL="0" marR="0" marT="0" marB="0" anchor="ctr">
                    <a:lnL w="12700" cmpd="sng">
                      <a:solidFill>
                        <a:srgbClr val="0078D7"/>
                      </a:solidFill>
                    </a:lnL>
                    <a:lnR w="12700" cmpd="sng">
                      <a:solidFill>
                        <a:srgbClr val="0078D7"/>
                      </a:solidFill>
                    </a:lnR>
                    <a:lnT w="12700" cmpd="sng">
                      <a:solidFill>
                        <a:srgbClr val="0078D7"/>
                      </a:solidFill>
                    </a:lnT>
                    <a:lnB w="12700" cmpd="sng">
                      <a:solidFill>
                        <a:srgbClr val="0078D7"/>
                      </a:solidFill>
                    </a:lnB>
                    <a:lnTlToBr w="12700" cmpd="sng">
                      <a:noFill/>
                      <a:prstDash val="solid"/>
                    </a:lnTlToBr>
                    <a:lnBlToTr w="12700" cmpd="sng">
                      <a:noFill/>
                      <a:prstDash val="solid"/>
                    </a:lnBlToTr>
                    <a:noFill/>
                  </a:tcPr>
                </a:tc>
                <a:extLst>
                  <a:ext uri="{0D108BD9-81ED-4DB2-BD59-A6C34878D82A}">
                    <a16:rowId xmlns:a16="http://schemas.microsoft.com/office/drawing/2014/main" val="4008461807"/>
                  </a:ext>
                </a:extLst>
              </a:tr>
            </a:tbl>
          </a:graphicData>
        </a:graphic>
      </p:graphicFrame>
      <p:sp>
        <p:nvSpPr>
          <p:cNvPr id="2" name="Title 1">
            <a:extLst>
              <a:ext uri="{FF2B5EF4-FFF2-40B4-BE49-F238E27FC236}">
                <a16:creationId xmlns:a16="http://schemas.microsoft.com/office/drawing/2014/main" id="{277EC0F6-B31A-411D-BBA7-EF213F312CBB}"/>
              </a:ext>
            </a:extLst>
          </p:cNvPr>
          <p:cNvSpPr>
            <a:spLocks noGrp="1"/>
          </p:cNvSpPr>
          <p:nvPr>
            <p:ph type="title"/>
          </p:nvPr>
        </p:nvSpPr>
        <p:spPr/>
        <p:txBody>
          <a:bodyPr/>
          <a:lstStyle/>
          <a:p>
            <a:r>
              <a:rPr lang="en-US" err="1"/>
              <a:t>vCore</a:t>
            </a:r>
            <a:r>
              <a:rPr lang="en-US"/>
              <a:t>-based purchasing model: Provisioned compute tier </a:t>
            </a:r>
          </a:p>
        </p:txBody>
      </p:sp>
      <p:sp>
        <p:nvSpPr>
          <p:cNvPr id="18" name="Freeform 182">
            <a:extLst>
              <a:ext uri="{FF2B5EF4-FFF2-40B4-BE49-F238E27FC236}">
                <a16:creationId xmlns:a16="http://schemas.microsoft.com/office/drawing/2014/main" id="{8CE34CF4-C4B4-4A18-88EB-8C1C9AD175BD}"/>
              </a:ext>
            </a:extLst>
          </p:cNvPr>
          <p:cNvSpPr/>
          <p:nvPr/>
        </p:nvSpPr>
        <p:spPr bwMode="auto">
          <a:xfrm>
            <a:off x="2457731" y="1463976"/>
            <a:ext cx="361669" cy="37475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85AC5BB8-000D-4371-A92D-2217B5C4FDDA}"/>
              </a:ext>
            </a:extLst>
          </p:cNvPr>
          <p:cNvGrpSpPr/>
          <p:nvPr/>
        </p:nvGrpSpPr>
        <p:grpSpPr>
          <a:xfrm>
            <a:off x="9035969" y="1474722"/>
            <a:ext cx="457111" cy="430278"/>
            <a:chOff x="0" y="0"/>
            <a:chExt cx="815248" cy="984722"/>
          </a:xfrm>
        </p:grpSpPr>
        <p:sp>
          <p:nvSpPr>
            <p:cNvPr id="20" name="Freeform 182">
              <a:extLst>
                <a:ext uri="{FF2B5EF4-FFF2-40B4-BE49-F238E27FC236}">
                  <a16:creationId xmlns:a16="http://schemas.microsoft.com/office/drawing/2014/main" id="{03B0F42E-12BF-4D34-801A-233A36C8B2E7}"/>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28">
              <a:extLst>
                <a:ext uri="{FF2B5EF4-FFF2-40B4-BE49-F238E27FC236}">
                  <a16:creationId xmlns:a16="http://schemas.microsoft.com/office/drawing/2014/main" id="{4C5C849D-FB2F-42B5-9C1C-8EC521A36307}"/>
                </a:ext>
              </a:extLst>
            </p:cNvPr>
            <p:cNvSpPr/>
            <p:nvPr/>
          </p:nvSpPr>
          <p:spPr bwMode="auto">
            <a:xfrm>
              <a:off x="425605" y="313978"/>
              <a:ext cx="389643" cy="670744"/>
            </a:xfrm>
            <a:custGeom>
              <a:avLst/>
              <a:gdLst>
                <a:gd name="connsiteX0" fmla="*/ 357016 w 367945"/>
                <a:gd name="connsiteY0" fmla="*/ 0 h 717677"/>
                <a:gd name="connsiteX1" fmla="*/ 123863 w 367945"/>
                <a:gd name="connsiteY1" fmla="*/ 0 h 717677"/>
                <a:gd name="connsiteX2" fmla="*/ 0 w 367945"/>
                <a:gd name="connsiteY2" fmla="*/ 364303 h 717677"/>
                <a:gd name="connsiteX3" fmla="*/ 156650 w 367945"/>
                <a:gd name="connsiteY3" fmla="*/ 364303 h 717677"/>
                <a:gd name="connsiteX4" fmla="*/ 29144 w 367945"/>
                <a:gd name="connsiteY4" fmla="*/ 717677 h 717677"/>
                <a:gd name="connsiteX5" fmla="*/ 367945 w 367945"/>
                <a:gd name="connsiteY5" fmla="*/ 244083 h 717677"/>
                <a:gd name="connsiteX6" fmla="*/ 211295 w 367945"/>
                <a:gd name="connsiteY6" fmla="*/ 244083 h 717677"/>
                <a:gd name="connsiteX7" fmla="*/ 357016 w 367945"/>
                <a:gd name="connsiteY7" fmla="*/ 0 h 71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945" h="717677">
                  <a:moveTo>
                    <a:pt x="357016" y="0"/>
                  </a:moveTo>
                  <a:lnTo>
                    <a:pt x="123863" y="0"/>
                  </a:lnTo>
                  <a:lnTo>
                    <a:pt x="0" y="364303"/>
                  </a:lnTo>
                  <a:lnTo>
                    <a:pt x="156650" y="364303"/>
                  </a:lnTo>
                  <a:lnTo>
                    <a:pt x="29144" y="717677"/>
                  </a:lnTo>
                  <a:lnTo>
                    <a:pt x="367945" y="244083"/>
                  </a:lnTo>
                  <a:lnTo>
                    <a:pt x="211295" y="244083"/>
                  </a:lnTo>
                  <a:lnTo>
                    <a:pt x="357016" y="0"/>
                  </a:lnTo>
                  <a:close/>
                </a:path>
              </a:pathLst>
            </a:custGeom>
            <a:solidFill>
              <a:srgbClr val="50E6FF"/>
            </a:solidFill>
            <a:ln w="12700" cap="flat" cmpd="sng" algn="ctr">
              <a:noFill/>
              <a:prstDash val="solid"/>
              <a:bevel/>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 name="Group 21">
            <a:extLst>
              <a:ext uri="{FF2B5EF4-FFF2-40B4-BE49-F238E27FC236}">
                <a16:creationId xmlns:a16="http://schemas.microsoft.com/office/drawing/2014/main" id="{DCA2A26E-1F83-4CFA-AE0C-32AAB76AAF14}"/>
              </a:ext>
            </a:extLst>
          </p:cNvPr>
          <p:cNvGrpSpPr/>
          <p:nvPr/>
        </p:nvGrpSpPr>
        <p:grpSpPr>
          <a:xfrm>
            <a:off x="5761738" y="1480776"/>
            <a:ext cx="515116" cy="371273"/>
            <a:chOff x="0" y="0"/>
            <a:chExt cx="854772" cy="827284"/>
          </a:xfrm>
        </p:grpSpPr>
        <p:sp>
          <p:nvSpPr>
            <p:cNvPr id="23" name="Freeform 182">
              <a:extLst>
                <a:ext uri="{FF2B5EF4-FFF2-40B4-BE49-F238E27FC236}">
                  <a16:creationId xmlns:a16="http://schemas.microsoft.com/office/drawing/2014/main" id="{A6C682B2-93D1-4718-8062-0518FDAD83AE}"/>
                </a:ext>
              </a:extLst>
            </p:cNvPr>
            <p:cNvSpPr/>
            <p:nvPr/>
          </p:nvSpPr>
          <p:spPr bwMode="auto">
            <a:xfrm>
              <a:off x="0" y="0"/>
              <a:ext cx="645030" cy="827284"/>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rgbClr val="0078D4"/>
            </a:solidFill>
            <a:ln w="9525" cap="flat" cmpd="sng" algn="ctr">
              <a:noFill/>
              <a:prstDash val="solid"/>
              <a:headEnd type="none" w="med" len="med"/>
              <a:tailEnd type="none" w="med" len="med"/>
            </a:ln>
            <a:effectLst/>
          </p:spPr>
          <p:txBody>
            <a:bodyPr rot="0" spcFirstLastPara="0" vert="horz" wrap="square" lIns="137141" tIns="109712" rIns="137141" bIns="109712"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99220"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121">
              <a:extLst>
                <a:ext uri="{FF2B5EF4-FFF2-40B4-BE49-F238E27FC236}">
                  <a16:creationId xmlns:a16="http://schemas.microsoft.com/office/drawing/2014/main" id="{63F6DCB6-B667-44F3-8B22-C82BB2DDB913}"/>
                </a:ext>
              </a:extLst>
            </p:cNvPr>
            <p:cNvSpPr>
              <a:spLocks noChangeAspect="1"/>
            </p:cNvSpPr>
            <p:nvPr/>
          </p:nvSpPr>
          <p:spPr bwMode="black">
            <a:xfrm rot="5400000" flipH="1">
              <a:off x="367841" y="256150"/>
              <a:ext cx="554377" cy="419485"/>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 name="connsiteX0" fmla="*/ 4839 w 10000"/>
                <a:gd name="connsiteY0" fmla="*/ 10000 h 10000"/>
                <a:gd name="connsiteX1" fmla="*/ 1452 w 10000"/>
                <a:gd name="connsiteY1" fmla="*/ 6747 h 10000"/>
                <a:gd name="connsiteX2" fmla="*/ 5645 w 10000"/>
                <a:gd name="connsiteY2" fmla="*/ 3735 h 10000"/>
                <a:gd name="connsiteX3" fmla="*/ 5645 w 10000"/>
                <a:gd name="connsiteY3" fmla="*/ 5663 h 10000"/>
                <a:gd name="connsiteX4" fmla="*/ 10000 w 10000"/>
                <a:gd name="connsiteY4" fmla="*/ 2771 h 10000"/>
                <a:gd name="connsiteX5" fmla="*/ 5645 w 10000"/>
                <a:gd name="connsiteY5" fmla="*/ 0 h 10000"/>
                <a:gd name="connsiteX6" fmla="*/ 5645 w 10000"/>
                <a:gd name="connsiteY6" fmla="*/ 1807 h 10000"/>
                <a:gd name="connsiteX7" fmla="*/ 5484 w 10000"/>
                <a:gd name="connsiteY7" fmla="*/ 1807 h 10000"/>
                <a:gd name="connsiteX8" fmla="*/ 0 w 10000"/>
                <a:gd name="connsiteY8" fmla="*/ 6024 h 10000"/>
                <a:gd name="connsiteX9" fmla="*/ 4839 w 10000"/>
                <a:gd name="connsiteY9" fmla="*/ 10000 h 10000"/>
                <a:gd name="connsiteX0" fmla="*/ 197 w 10197"/>
                <a:gd name="connsiteY0" fmla="*/ 6024 h 6914"/>
                <a:gd name="connsiteX1" fmla="*/ 1649 w 10197"/>
                <a:gd name="connsiteY1" fmla="*/ 6747 h 6914"/>
                <a:gd name="connsiteX2" fmla="*/ 5842 w 10197"/>
                <a:gd name="connsiteY2" fmla="*/ 3735 h 6914"/>
                <a:gd name="connsiteX3" fmla="*/ 5842 w 10197"/>
                <a:gd name="connsiteY3" fmla="*/ 5663 h 6914"/>
                <a:gd name="connsiteX4" fmla="*/ 10197 w 10197"/>
                <a:gd name="connsiteY4" fmla="*/ 2771 h 6914"/>
                <a:gd name="connsiteX5" fmla="*/ 5842 w 10197"/>
                <a:gd name="connsiteY5" fmla="*/ 0 h 6914"/>
                <a:gd name="connsiteX6" fmla="*/ 5842 w 10197"/>
                <a:gd name="connsiteY6" fmla="*/ 1807 h 6914"/>
                <a:gd name="connsiteX7" fmla="*/ 5681 w 10197"/>
                <a:gd name="connsiteY7" fmla="*/ 1807 h 6914"/>
                <a:gd name="connsiteX8" fmla="*/ 197 w 10197"/>
                <a:gd name="connsiteY8" fmla="*/ 6024 h 6914"/>
                <a:gd name="connsiteX0" fmla="*/ 89 w 12307"/>
                <a:gd name="connsiteY0" fmla="*/ 8581 h 9965"/>
                <a:gd name="connsiteX1" fmla="*/ 3924 w 12307"/>
                <a:gd name="connsiteY1" fmla="*/ 9758 h 9965"/>
                <a:gd name="connsiteX2" fmla="*/ 8036 w 12307"/>
                <a:gd name="connsiteY2" fmla="*/ 5402 h 9965"/>
                <a:gd name="connsiteX3" fmla="*/ 8036 w 12307"/>
                <a:gd name="connsiteY3" fmla="*/ 8191 h 9965"/>
                <a:gd name="connsiteX4" fmla="*/ 12307 w 12307"/>
                <a:gd name="connsiteY4" fmla="*/ 4008 h 9965"/>
                <a:gd name="connsiteX5" fmla="*/ 8036 w 12307"/>
                <a:gd name="connsiteY5" fmla="*/ 0 h 9965"/>
                <a:gd name="connsiteX6" fmla="*/ 8036 w 12307"/>
                <a:gd name="connsiteY6" fmla="*/ 2614 h 9965"/>
                <a:gd name="connsiteX7" fmla="*/ 7878 w 12307"/>
                <a:gd name="connsiteY7" fmla="*/ 2614 h 9965"/>
                <a:gd name="connsiteX8" fmla="*/ 89 w 12307"/>
                <a:gd name="connsiteY8" fmla="*/ 8581 h 9965"/>
                <a:gd name="connsiteX0" fmla="*/ 77 w 10005"/>
                <a:gd name="connsiteY0" fmla="*/ 8611 h 10000"/>
                <a:gd name="connsiteX1" fmla="*/ 3193 w 10005"/>
                <a:gd name="connsiteY1" fmla="*/ 9792 h 10000"/>
                <a:gd name="connsiteX2" fmla="*/ 6535 w 10005"/>
                <a:gd name="connsiteY2" fmla="*/ 5421 h 10000"/>
                <a:gd name="connsiteX3" fmla="*/ 6535 w 10005"/>
                <a:gd name="connsiteY3" fmla="*/ 8220 h 10000"/>
                <a:gd name="connsiteX4" fmla="*/ 10005 w 10005"/>
                <a:gd name="connsiteY4" fmla="*/ 4022 h 10000"/>
                <a:gd name="connsiteX5" fmla="*/ 6535 w 10005"/>
                <a:gd name="connsiteY5" fmla="*/ 0 h 10000"/>
                <a:gd name="connsiteX6" fmla="*/ 6535 w 10005"/>
                <a:gd name="connsiteY6" fmla="*/ 2623 h 10000"/>
                <a:gd name="connsiteX7" fmla="*/ 77 w 10005"/>
                <a:gd name="connsiteY7" fmla="*/ 8611 h 10000"/>
                <a:gd name="connsiteX0" fmla="*/ 0 w 9928"/>
                <a:gd name="connsiteY0" fmla="*/ 8611 h 8652"/>
                <a:gd name="connsiteX1" fmla="*/ 6458 w 9928"/>
                <a:gd name="connsiteY1" fmla="*/ 5421 h 8652"/>
                <a:gd name="connsiteX2" fmla="*/ 6458 w 9928"/>
                <a:gd name="connsiteY2" fmla="*/ 8220 h 8652"/>
                <a:gd name="connsiteX3" fmla="*/ 9928 w 9928"/>
                <a:gd name="connsiteY3" fmla="*/ 4022 h 8652"/>
                <a:gd name="connsiteX4" fmla="*/ 6458 w 9928"/>
                <a:gd name="connsiteY4" fmla="*/ 0 h 8652"/>
                <a:gd name="connsiteX5" fmla="*/ 6458 w 9928"/>
                <a:gd name="connsiteY5" fmla="*/ 2623 h 8652"/>
                <a:gd name="connsiteX6" fmla="*/ 0 w 9928"/>
                <a:gd name="connsiteY6" fmla="*/ 8611 h 8652"/>
                <a:gd name="connsiteX0" fmla="*/ 0 w 10025"/>
                <a:gd name="connsiteY0" fmla="*/ 9224 h 9501"/>
                <a:gd name="connsiteX1" fmla="*/ 6530 w 10025"/>
                <a:gd name="connsiteY1" fmla="*/ 6266 h 9501"/>
                <a:gd name="connsiteX2" fmla="*/ 6530 w 10025"/>
                <a:gd name="connsiteY2" fmla="*/ 9501 h 9501"/>
                <a:gd name="connsiteX3" fmla="*/ 10025 w 10025"/>
                <a:gd name="connsiteY3" fmla="*/ 4649 h 9501"/>
                <a:gd name="connsiteX4" fmla="*/ 6530 w 10025"/>
                <a:gd name="connsiteY4" fmla="*/ 0 h 9501"/>
                <a:gd name="connsiteX5" fmla="*/ 6530 w 10025"/>
                <a:gd name="connsiteY5" fmla="*/ 3032 h 9501"/>
                <a:gd name="connsiteX6" fmla="*/ 0 w 10025"/>
                <a:gd name="connsiteY6" fmla="*/ 9224 h 9501"/>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10000"/>
                <a:gd name="connsiteY0" fmla="*/ 9708 h 10000"/>
                <a:gd name="connsiteX1" fmla="*/ 6514 w 10000"/>
                <a:gd name="connsiteY1" fmla="*/ 6595 h 10000"/>
                <a:gd name="connsiteX2" fmla="*/ 6514 w 10000"/>
                <a:gd name="connsiteY2" fmla="*/ 10000 h 10000"/>
                <a:gd name="connsiteX3" fmla="*/ 10000 w 10000"/>
                <a:gd name="connsiteY3" fmla="*/ 4893 h 10000"/>
                <a:gd name="connsiteX4" fmla="*/ 6514 w 10000"/>
                <a:gd name="connsiteY4" fmla="*/ 0 h 10000"/>
                <a:gd name="connsiteX5" fmla="*/ 6514 w 10000"/>
                <a:gd name="connsiteY5" fmla="*/ 3191 h 10000"/>
                <a:gd name="connsiteX6" fmla="*/ 0 w 10000"/>
                <a:gd name="connsiteY6" fmla="*/ 9708 h 10000"/>
                <a:gd name="connsiteX0" fmla="*/ 0 w 9951"/>
                <a:gd name="connsiteY0" fmla="*/ 10354 h 10354"/>
                <a:gd name="connsiteX1" fmla="*/ 6465 w 9951"/>
                <a:gd name="connsiteY1" fmla="*/ 6595 h 10354"/>
                <a:gd name="connsiteX2" fmla="*/ 6465 w 9951"/>
                <a:gd name="connsiteY2" fmla="*/ 10000 h 10354"/>
                <a:gd name="connsiteX3" fmla="*/ 9951 w 9951"/>
                <a:gd name="connsiteY3" fmla="*/ 4893 h 10354"/>
                <a:gd name="connsiteX4" fmla="*/ 6465 w 9951"/>
                <a:gd name="connsiteY4" fmla="*/ 0 h 10354"/>
                <a:gd name="connsiteX5" fmla="*/ 6465 w 9951"/>
                <a:gd name="connsiteY5" fmla="*/ 3191 h 10354"/>
                <a:gd name="connsiteX6" fmla="*/ 0 w 9951"/>
                <a:gd name="connsiteY6" fmla="*/ 10354 h 10354"/>
                <a:gd name="connsiteX0" fmla="*/ 0 w 10000"/>
                <a:gd name="connsiteY0" fmla="*/ 10000 h 10000"/>
                <a:gd name="connsiteX1" fmla="*/ 6497 w 10000"/>
                <a:gd name="connsiteY1" fmla="*/ 6370 h 10000"/>
                <a:gd name="connsiteX2" fmla="*/ 6497 w 10000"/>
                <a:gd name="connsiteY2" fmla="*/ 9658 h 10000"/>
                <a:gd name="connsiteX3" fmla="*/ 10000 w 10000"/>
                <a:gd name="connsiteY3" fmla="*/ 4726 h 10000"/>
                <a:gd name="connsiteX4" fmla="*/ 6497 w 10000"/>
                <a:gd name="connsiteY4" fmla="*/ 0 h 10000"/>
                <a:gd name="connsiteX5" fmla="*/ 6497 w 10000"/>
                <a:gd name="connsiteY5" fmla="*/ 3082 h 10000"/>
                <a:gd name="connsiteX6" fmla="*/ 0 w 10000"/>
                <a:gd name="connsiteY6" fmla="*/ 10000 h 10000"/>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 name="connsiteX0" fmla="*/ 0 w 10074"/>
                <a:gd name="connsiteY0" fmla="*/ 12029 h 12029"/>
                <a:gd name="connsiteX1" fmla="*/ 6571 w 10074"/>
                <a:gd name="connsiteY1" fmla="*/ 6370 h 12029"/>
                <a:gd name="connsiteX2" fmla="*/ 6571 w 10074"/>
                <a:gd name="connsiteY2" fmla="*/ 9658 h 12029"/>
                <a:gd name="connsiteX3" fmla="*/ 10074 w 10074"/>
                <a:gd name="connsiteY3" fmla="*/ 4726 h 12029"/>
                <a:gd name="connsiteX4" fmla="*/ 6571 w 10074"/>
                <a:gd name="connsiteY4" fmla="*/ 0 h 12029"/>
                <a:gd name="connsiteX5" fmla="*/ 6571 w 10074"/>
                <a:gd name="connsiteY5" fmla="*/ 3082 h 12029"/>
                <a:gd name="connsiteX6" fmla="*/ 0 w 10074"/>
                <a:gd name="connsiteY6" fmla="*/ 12029 h 1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74" h="12029">
                  <a:moveTo>
                    <a:pt x="0" y="12029"/>
                  </a:moveTo>
                  <a:cubicBezTo>
                    <a:pt x="1929" y="7777"/>
                    <a:pt x="5476" y="6765"/>
                    <a:pt x="6571" y="6370"/>
                  </a:cubicBezTo>
                  <a:lnTo>
                    <a:pt x="6571" y="9658"/>
                  </a:lnTo>
                  <a:lnTo>
                    <a:pt x="10074" y="4726"/>
                  </a:lnTo>
                  <a:lnTo>
                    <a:pt x="6571" y="0"/>
                  </a:lnTo>
                  <a:lnTo>
                    <a:pt x="6571" y="3082"/>
                  </a:lnTo>
                  <a:cubicBezTo>
                    <a:pt x="3841" y="3185"/>
                    <a:pt x="1048" y="5994"/>
                    <a:pt x="0" y="12029"/>
                  </a:cubicBezTo>
                  <a:close/>
                </a:path>
              </a:pathLst>
            </a:custGeom>
            <a:solidFill>
              <a:srgbClr val="50E6FF"/>
            </a:solidFill>
            <a:ln>
              <a:noFill/>
            </a:ln>
          </p:spPr>
          <p:txBody>
            <a:bodyPr vert="horz" wrap="square" lIns="68573" tIns="34287" rIns="68573" bIns="3428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685643"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a:ln>
                  <a:noFill/>
                </a:ln>
                <a:solidFill>
                  <a:srgbClr val="000000"/>
                </a:solidFill>
                <a:effectLst/>
                <a:uLnTx/>
                <a:uFillTx/>
                <a:latin typeface="Segoe UI"/>
                <a:ea typeface="+mn-ea"/>
                <a:cs typeface="+mn-cs"/>
              </a:endParaRPr>
            </a:p>
          </p:txBody>
        </p:sp>
      </p:grpSp>
      <p:sp>
        <p:nvSpPr>
          <p:cNvPr id="13" name="TextBox 12">
            <a:extLst>
              <a:ext uri="{FF2B5EF4-FFF2-40B4-BE49-F238E27FC236}">
                <a16:creationId xmlns:a16="http://schemas.microsoft.com/office/drawing/2014/main" id="{30810C71-C65E-415A-9FE2-C0BB608D51C6}"/>
              </a:ext>
            </a:extLst>
          </p:cNvPr>
          <p:cNvSpPr txBox="1"/>
          <p:nvPr/>
        </p:nvSpPr>
        <p:spPr>
          <a:xfrm>
            <a:off x="533400" y="6161508"/>
            <a:ext cx="7029179" cy="711436"/>
          </a:xfrm>
          <a:prstGeom prst="rect">
            <a:avLst/>
          </a:prstGeom>
          <a:noFill/>
        </p:spPr>
        <p:txBody>
          <a:bodyPr wrap="none" lIns="182854" tIns="146284" rIns="182854" bIns="146284"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For latest information reference: </a:t>
            </a:r>
            <a:r>
              <a:rPr kumimoji="0" lang="en-US" sz="12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hlinkClick r:id="rId3"/>
              </a:rPr>
              <a:t>https://azure.microsoft.com/en-us/pricing/details/sql-database/</a:t>
            </a:r>
            <a:endParaRPr kumimoji="0" lang="en-US" sz="12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endParaRP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a:ln>
                  <a:noFill/>
                </a:ln>
                <a:gradFill>
                  <a:gsLst>
                    <a:gs pos="2917">
                      <a:srgbClr val="3C3C41"/>
                    </a:gs>
                    <a:gs pos="30000">
                      <a:srgbClr val="3C3C41"/>
                    </a:gs>
                  </a:gsLst>
                  <a:lin ang="5400000" scaled="0"/>
                </a:gradFill>
                <a:effectLst/>
                <a:uLnTx/>
                <a:uFillTx/>
                <a:latin typeface="Segoe UI"/>
                <a:ea typeface="+mn-ea"/>
                <a:cs typeface="+mn-cs"/>
              </a:rPr>
              <a:t>* Fsv2-series and M-series  are currently in preview.</a:t>
            </a:r>
          </a:p>
        </p:txBody>
      </p:sp>
    </p:spTree>
    <p:extLst>
      <p:ext uri="{BB962C8B-B14F-4D97-AF65-F5344CB8AC3E}">
        <p14:creationId xmlns:p14="http://schemas.microsoft.com/office/powerpoint/2010/main" val="1094985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Choose from hardware generations</a:t>
            </a:r>
          </a:p>
        </p:txBody>
      </p:sp>
      <p:graphicFrame>
        <p:nvGraphicFramePr>
          <p:cNvPr id="5" name="Table 4">
            <a:extLst>
              <a:ext uri="{FF2B5EF4-FFF2-40B4-BE49-F238E27FC236}">
                <a16:creationId xmlns:a16="http://schemas.microsoft.com/office/drawing/2014/main" id="{BB42184F-CA1B-4A7B-9844-D1A2357E0022}"/>
              </a:ext>
            </a:extLst>
          </p:cNvPr>
          <p:cNvGraphicFramePr>
            <a:graphicFrameLocks noGrp="1"/>
          </p:cNvGraphicFramePr>
          <p:nvPr/>
        </p:nvGraphicFramePr>
        <p:xfrm>
          <a:off x="693057" y="990670"/>
          <a:ext cx="10843306" cy="4572365"/>
        </p:xfrm>
        <a:graphic>
          <a:graphicData uri="http://schemas.openxmlformats.org/drawingml/2006/table">
            <a:tbl>
              <a:tblPr firstRow="1" firstCol="1" bandRow="1"/>
              <a:tblGrid>
                <a:gridCol w="1235134">
                  <a:extLst>
                    <a:ext uri="{9D8B030D-6E8A-4147-A177-3AD203B41FA5}">
                      <a16:colId xmlns:a16="http://schemas.microsoft.com/office/drawing/2014/main" val="1584087558"/>
                    </a:ext>
                  </a:extLst>
                </a:gridCol>
                <a:gridCol w="2341632">
                  <a:extLst>
                    <a:ext uri="{9D8B030D-6E8A-4147-A177-3AD203B41FA5}">
                      <a16:colId xmlns:a16="http://schemas.microsoft.com/office/drawing/2014/main" val="2079053904"/>
                    </a:ext>
                  </a:extLst>
                </a:gridCol>
                <a:gridCol w="2422180">
                  <a:extLst>
                    <a:ext uri="{9D8B030D-6E8A-4147-A177-3AD203B41FA5}">
                      <a16:colId xmlns:a16="http://schemas.microsoft.com/office/drawing/2014/main" val="3426083731"/>
                    </a:ext>
                  </a:extLst>
                </a:gridCol>
                <a:gridCol w="2422180">
                  <a:extLst>
                    <a:ext uri="{9D8B030D-6E8A-4147-A177-3AD203B41FA5}">
                      <a16:colId xmlns:a16="http://schemas.microsoft.com/office/drawing/2014/main" val="4007490435"/>
                    </a:ext>
                  </a:extLst>
                </a:gridCol>
                <a:gridCol w="2422180">
                  <a:extLst>
                    <a:ext uri="{9D8B030D-6E8A-4147-A177-3AD203B41FA5}">
                      <a16:colId xmlns:a16="http://schemas.microsoft.com/office/drawing/2014/main" val="374414483"/>
                    </a:ext>
                  </a:extLst>
                </a:gridCol>
              </a:tblGrid>
              <a:tr h="6981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endParaRPr lang="en-US" sz="1400">
                        <a:solidFill>
                          <a:schemeClr val="tx1"/>
                        </a:solidFill>
                        <a:effectLst/>
                        <a:latin typeface="Segoe UI Semibold"/>
                        <a:ea typeface="Calibri" panose="020F0502020204030204" pitchFamily="34" charset="0"/>
                        <a:cs typeface="Times New Roman"/>
                      </a:endParaRPr>
                    </a:p>
                  </a:txBody>
                  <a:tcPr marL="64607" marR="64607" marT="64607" marB="64607">
                    <a:lnL w="12700" cap="flat" cmpd="sng" algn="ctr">
                      <a:no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a:solidFill>
                            <a:schemeClr val="bg1"/>
                          </a:solidFill>
                          <a:latin typeface="Segoe UI Semibold"/>
                          <a:ea typeface="+mn-ea"/>
                          <a:cs typeface="Segoe UI Semibold"/>
                        </a:rPr>
                        <a:t>Gen 5</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dirty="0">
                          <a:solidFill>
                            <a:schemeClr val="bg1"/>
                          </a:solidFill>
                          <a:latin typeface="Segoe UI Semibold"/>
                          <a:ea typeface="+mn-ea"/>
                          <a:cs typeface="Segoe UI Semibold"/>
                        </a:rPr>
                        <a:t>Fsv2-series</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algn="ctr">
                        <a:lnSpc>
                          <a:spcPct val="107000"/>
                        </a:lnSpc>
                        <a:spcBef>
                          <a:spcPts val="0"/>
                        </a:spcBef>
                        <a:spcAft>
                          <a:spcPts val="0"/>
                        </a:spcAft>
                      </a:pPr>
                      <a:r>
                        <a:rPr lang="en-US" sz="1400" b="1" kern="0" spc="0" baseline="0" dirty="0">
                          <a:solidFill>
                            <a:schemeClr val="bg1"/>
                          </a:solidFill>
                          <a:latin typeface="Segoe UI Semibold"/>
                          <a:ea typeface="+mn-ea"/>
                          <a:cs typeface="Segoe UI Semibold"/>
                        </a:rPr>
                        <a:t>M-series</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tc>
                  <a:txBody>
                    <a:bodyPr/>
                    <a:lstStyle/>
                    <a:p>
                      <a:pPr marL="0" marR="0" lvl="0" algn="ctr">
                        <a:lnSpc>
                          <a:spcPct val="107000"/>
                        </a:lnSpc>
                        <a:spcBef>
                          <a:spcPts val="0"/>
                        </a:spcBef>
                        <a:spcAft>
                          <a:spcPts val="0"/>
                        </a:spcAft>
                      </a:pPr>
                      <a:r>
                        <a:rPr lang="en-US" sz="1400" b="1" kern="0" spc="0" baseline="0" dirty="0">
                          <a:solidFill>
                            <a:schemeClr val="bg1"/>
                          </a:solidFill>
                          <a:latin typeface="Segoe UI Semibold"/>
                          <a:ea typeface="+mn-ea"/>
                          <a:cs typeface="Segoe UI Semibold"/>
                        </a:rPr>
                        <a:t>DC-Series</a:t>
                      </a:r>
                    </a:p>
                  </a:txBody>
                  <a:tcPr marL="64607" marR="64607" marT="64607" marB="64607" anchor="ct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F87E6"/>
                    </a:solidFill>
                  </a:tcPr>
                </a:tc>
                <a:extLst>
                  <a:ext uri="{0D108BD9-81ED-4DB2-BD59-A6C34878D82A}">
                    <a16:rowId xmlns:a16="http://schemas.microsoft.com/office/drawing/2014/main" val="2667652206"/>
                  </a:ext>
                </a:extLst>
              </a:tr>
              <a:tr h="1063778">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ea typeface="Calibri" panose="020F0502020204030204" pitchFamily="34" charset="0"/>
                          <a:cs typeface="Segoe UI Semibold"/>
                        </a:rPr>
                        <a:t>Hardwa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a:solidFill>
                            <a:schemeClr val="tx1"/>
                          </a:solidFill>
                          <a:latin typeface="Segoe UI Semibold"/>
                          <a:ea typeface="+mn-ea"/>
                          <a:cs typeface="Segoe UI Semilight"/>
                        </a:rPr>
                        <a:t>Intel E5-2673 v4 (Broadwell) 2.3 GHz processors, fast </a:t>
                      </a:r>
                      <a:r>
                        <a:rPr lang="en-US" sz="1400" kern="1200" err="1">
                          <a:solidFill>
                            <a:schemeClr val="tx1"/>
                          </a:solidFill>
                          <a:latin typeface="Segoe UI Semibold"/>
                          <a:ea typeface="+mn-ea"/>
                          <a:cs typeface="Segoe UI Semilight"/>
                        </a:rPr>
                        <a:t>eNVM</a:t>
                      </a:r>
                      <a:r>
                        <a:rPr lang="en-US" sz="1400" kern="1200">
                          <a:solidFill>
                            <a:schemeClr val="tx1"/>
                          </a:solidFill>
                          <a:latin typeface="Segoe UI Semibold"/>
                          <a:ea typeface="+mn-ea"/>
                          <a:cs typeface="Segoe UI Semilight"/>
                        </a:rPr>
                        <a:t> SSD</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noProof="0">
                          <a:solidFill>
                            <a:schemeClr val="tx1"/>
                          </a:solidFill>
                          <a:latin typeface="Segoe UI Semibold"/>
                          <a:ea typeface="+mn-ea"/>
                          <a:cs typeface="Segoe UI Semilight"/>
                        </a:rPr>
                        <a:t>vCore=1 LP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400" kern="1200" noProof="0" dirty="0">
                          <a:solidFill>
                            <a:schemeClr val="tx1"/>
                          </a:solidFill>
                          <a:latin typeface="Segoe UI Semibold"/>
                          <a:ea typeface="+mn-ea"/>
                          <a:cs typeface="Segoe UI Semilight"/>
                        </a:rPr>
                        <a:t>Intel Xeon Platinum 8168 (SkyLake) processors</a:t>
                      </a:r>
                      <a:endParaRPr lang="en-US" sz="1400" kern="1200" noProof="0" dirty="0">
                        <a:solidFill>
                          <a:schemeClr val="tx1"/>
                        </a:solidFill>
                        <a:latin typeface="Segoe UI Semibold"/>
                        <a:ea typeface="+mn-ea"/>
                        <a:cs typeface="Segoe UI Semilight"/>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noProof="0" dirty="0">
                          <a:solidFill>
                            <a:schemeClr val="tx1"/>
                          </a:solidFill>
                          <a:latin typeface="Segoe UI Semibold"/>
                          <a:ea typeface="+mn-ea"/>
                          <a:cs typeface="Segoe UI Semilight"/>
                        </a:rPr>
                        <a:t>Intel Xeon E7-8890 v3 2.5 GHz processor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400" dirty="0">
                          <a:effectLst/>
                          <a:latin typeface="+mj-lt"/>
                        </a:rPr>
                        <a:t>Intel® XEON E-2288G processors. Featuring Intel Software Guard Extension (Intel SGX))</a:t>
                      </a:r>
                      <a:br>
                        <a:rPr lang="en-US" sz="1400" dirty="0">
                          <a:effectLst/>
                          <a:latin typeface="+mj-lt"/>
                        </a:rPr>
                      </a:br>
                      <a:endParaRPr lang="en-US" sz="1400" dirty="0">
                        <a:effectLst/>
                        <a:latin typeface="+mj-lt"/>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4696992"/>
                  </a:ext>
                </a:extLst>
              </a:tr>
              <a:tr h="664861">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ea typeface="Calibri" panose="020F0502020204030204" pitchFamily="34" charset="0"/>
                          <a:cs typeface="Segoe UI Semibold"/>
                        </a:rPr>
                        <a:t>Performance level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1 to 80 vCores</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72 vCores (1 vCore = 1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128 vCores (1 vCore = 1 hyper-thread)</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7000"/>
                        </a:lnSpc>
                        <a:spcBef>
                          <a:spcPts val="0"/>
                        </a:spcBef>
                        <a:spcAft>
                          <a:spcPts val="0"/>
                        </a:spcAft>
                      </a:pPr>
                      <a:r>
                        <a:rPr lang="en-US" sz="1400" dirty="0">
                          <a:effectLst/>
                          <a:latin typeface="+mj-lt"/>
                        </a:rPr>
                        <a:t>Provision up to 8 vCores (physical)</a:t>
                      </a:r>
                      <a:endParaRPr lang="en-US" sz="1400" kern="1200" dirty="0">
                        <a:solidFill>
                          <a:schemeClr val="tx1"/>
                        </a:solidFill>
                        <a:latin typeface="+mj-lt"/>
                        <a:ea typeface="+mn-ea"/>
                        <a:cs typeface="Segoe UI Semilight"/>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8840782"/>
                  </a:ext>
                </a:extLst>
              </a:tr>
              <a:tr h="6981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cs typeface="Segoe UI Semibold"/>
                        </a:rPr>
                        <a:t>Memory</a:t>
                      </a:r>
                      <a:endParaRPr lang="en-US" sz="1400" b="1" kern="1200">
                        <a:solidFill>
                          <a:schemeClr val="tx1"/>
                        </a:solidFill>
                        <a:latin typeface="Segoe UI Semibold"/>
                        <a:ea typeface="Calibri" panose="020F0502020204030204" pitchFamily="34" charset="0"/>
                        <a:cs typeface="Segoe UI Semibold"/>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5.1 GB per vCore for provisioned compute </a:t>
                      </a:r>
                    </a:p>
                    <a:p>
                      <a:pPr marL="0" marR="0">
                        <a:lnSpc>
                          <a:spcPct val="107000"/>
                        </a:lnSpc>
                        <a:spcBef>
                          <a:spcPts val="0"/>
                        </a:spcBef>
                        <a:spcAft>
                          <a:spcPts val="0"/>
                        </a:spcAft>
                      </a:pPr>
                      <a:r>
                        <a:rPr lang="en-US" sz="1400" kern="1200">
                          <a:solidFill>
                            <a:schemeClr val="tx1"/>
                          </a:solidFill>
                          <a:latin typeface="Segoe UI Semibold"/>
                          <a:ea typeface="+mn-ea"/>
                          <a:cs typeface="Segoe UI Semilight"/>
                        </a:rPr>
                        <a:t>Up to 24 GB per vCore for serverless comput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1.9 GB per vCo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29 GB per vCor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7000"/>
                        </a:lnSpc>
                        <a:spcBef>
                          <a:spcPts val="0"/>
                        </a:spcBef>
                        <a:spcAft>
                          <a:spcPts val="0"/>
                        </a:spcAft>
                      </a:pPr>
                      <a:r>
                        <a:rPr lang="en-US" sz="1400" b="0" i="0" kern="1200" dirty="0">
                          <a:solidFill>
                            <a:schemeClr val="tx1"/>
                          </a:solidFill>
                          <a:effectLst/>
                          <a:latin typeface="+mj-lt"/>
                          <a:ea typeface="+mn-ea"/>
                          <a:cs typeface="+mn-cs"/>
                        </a:rPr>
                        <a:t>4.5 GB per vCore</a:t>
                      </a:r>
                      <a:endParaRPr lang="en-US" sz="1400" kern="1200" dirty="0">
                        <a:solidFill>
                          <a:schemeClr val="tx1"/>
                        </a:solidFill>
                        <a:latin typeface="+mj-lt"/>
                        <a:ea typeface="+mn-ea"/>
                        <a:cs typeface="Segoe UI Semilight"/>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198122"/>
                  </a:ext>
                </a:extLst>
              </a:tr>
              <a:tr h="79783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b="1" kern="1200">
                          <a:solidFill>
                            <a:schemeClr val="tx1"/>
                          </a:solidFill>
                          <a:latin typeface="Segoe UI Semibold"/>
                          <a:cs typeface="Segoe UI Semibold"/>
                        </a:rPr>
                        <a:t>Storage </a:t>
                      </a:r>
                      <a:endParaRPr lang="en-US" sz="1400" b="1" kern="1200">
                        <a:solidFill>
                          <a:schemeClr val="tx1"/>
                        </a:solidFill>
                        <a:latin typeface="Segoe UI Semibold"/>
                        <a:ea typeface="Calibri" panose="020F0502020204030204" pitchFamily="34" charset="0"/>
                        <a:cs typeface="Segoe UI Semibold"/>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a:solidFill>
                            <a:schemeClr val="tx1"/>
                          </a:solidFill>
                          <a:latin typeface="Segoe UI Semibold"/>
                          <a:ea typeface="+mn-ea"/>
                          <a:cs typeface="Segoe UI Semilight"/>
                        </a:rPr>
                        <a:t>Up to 4TB remote SSD storage</a:t>
                      </a:r>
                    </a:p>
                    <a:p>
                      <a:pPr marL="0" marR="0" lvl="0" indent="0" algn="l" defTabSz="914367" rtl="0" eaLnBrk="1" fontAlgn="auto" latinLnBrk="0" hangingPunct="1">
                        <a:lnSpc>
                          <a:spcPct val="107000"/>
                        </a:lnSpc>
                        <a:spcBef>
                          <a:spcPts val="0"/>
                        </a:spcBef>
                        <a:spcAft>
                          <a:spcPts val="0"/>
                        </a:spcAft>
                        <a:buClrTx/>
                        <a:buSzTx/>
                        <a:buFontTx/>
                        <a:buNone/>
                        <a:tabLst/>
                        <a:defRPr/>
                      </a:pPr>
                      <a:r>
                        <a:rPr lang="en-US" sz="1400" kern="1200">
                          <a:solidFill>
                            <a:schemeClr val="tx1"/>
                          </a:solidFill>
                          <a:latin typeface="Segoe UI Semibold"/>
                          <a:ea typeface="+mn-ea"/>
                          <a:cs typeface="Segoe UI Semilight"/>
                        </a:rPr>
                        <a:t>Up to 4TB local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a:lnSpc>
                          <a:spcPct val="107000"/>
                        </a:lnSpc>
                        <a:spcBef>
                          <a:spcPts val="0"/>
                        </a:spcBef>
                        <a:spcAft>
                          <a:spcPts val="0"/>
                        </a:spcAft>
                      </a:pPr>
                      <a:r>
                        <a:rPr lang="en-US" sz="1400" kern="1200" dirty="0">
                          <a:solidFill>
                            <a:schemeClr val="tx1"/>
                          </a:solidFill>
                          <a:latin typeface="Segoe UI Semibold"/>
                          <a:ea typeface="+mn-ea"/>
                          <a:cs typeface="Segoe UI Semilight"/>
                        </a:rPr>
                        <a:t>Up to 4TB remote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kern="1200" dirty="0">
                          <a:solidFill>
                            <a:schemeClr val="tx1"/>
                          </a:solidFill>
                          <a:latin typeface="Segoe UI Semibold"/>
                          <a:ea typeface="+mn-ea"/>
                          <a:cs typeface="Segoe UI Semilight"/>
                        </a:rPr>
                        <a:t>Up to 4TB local SSD storage</a:t>
                      </a: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1400" kern="1200" dirty="0">
                          <a:solidFill>
                            <a:schemeClr val="tx1"/>
                          </a:solidFill>
                          <a:latin typeface="Segoe UI Semibold"/>
                          <a:ea typeface="+mn-ea"/>
                          <a:cs typeface="Segoe UI Semilight"/>
                        </a:rPr>
                        <a:t>Up to 4TB remote SSD storage</a:t>
                      </a:r>
                    </a:p>
                    <a:p>
                      <a:pPr marL="0" marR="0" lvl="0" indent="0" algn="l" defTabSz="914367" rtl="0" eaLnBrk="1" fontAlgn="auto" latinLnBrk="0" hangingPunct="1">
                        <a:lnSpc>
                          <a:spcPct val="107000"/>
                        </a:lnSpc>
                        <a:spcBef>
                          <a:spcPts val="0"/>
                        </a:spcBef>
                        <a:spcAft>
                          <a:spcPts val="0"/>
                        </a:spcAft>
                        <a:buClrTx/>
                        <a:buSzTx/>
                        <a:buFontTx/>
                        <a:buNone/>
                        <a:tabLst/>
                        <a:defRPr/>
                      </a:pPr>
                      <a:endParaRPr lang="en-US" sz="1400" kern="1200" dirty="0">
                        <a:solidFill>
                          <a:schemeClr val="tx1"/>
                        </a:solidFill>
                        <a:latin typeface="+mj-lt"/>
                        <a:ea typeface="+mn-ea"/>
                        <a:cs typeface="Segoe UI Semilight"/>
                      </a:endParaRPr>
                    </a:p>
                  </a:txBody>
                  <a:tcPr marL="64607" marR="64607" marT="64607" marB="64607">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7146993"/>
                  </a:ext>
                </a:extLst>
              </a:tr>
            </a:tbl>
          </a:graphicData>
        </a:graphic>
      </p:graphicFrame>
      <p:sp>
        <p:nvSpPr>
          <p:cNvPr id="6" name="Rectangle 5">
            <a:extLst>
              <a:ext uri="{FF2B5EF4-FFF2-40B4-BE49-F238E27FC236}">
                <a16:creationId xmlns:a16="http://schemas.microsoft.com/office/drawing/2014/main" id="{E466DD75-8A7F-4686-B27A-FB3C6BEE4C2C}"/>
              </a:ext>
            </a:extLst>
          </p:cNvPr>
          <p:cNvSpPr/>
          <p:nvPr/>
        </p:nvSpPr>
        <p:spPr>
          <a:xfrm>
            <a:off x="655638" y="5557435"/>
            <a:ext cx="8433934" cy="1477328"/>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a:rPr>
              <a:t>Balance performance requirements and price with two hardware generations</a:t>
            </a:r>
            <a:endParaRPr kumimoji="0" lang="en-US" sz="1800" b="0" i="0" u="none" strike="noStrike" kern="1200" cap="none" spc="0" normalizeH="0" baseline="0" noProof="0" dirty="0">
              <a:ln>
                <a:noFill/>
              </a:ln>
              <a:solidFill>
                <a:srgbClr val="000000"/>
              </a:solidFill>
              <a:effectLst/>
              <a:uLnTx/>
              <a:uFillTx/>
              <a:latin typeface="Segoe UI"/>
              <a:ea typeface="+mn-ea"/>
              <a:cs typeface="Segoe UI Light"/>
            </a:endParaRPr>
          </a:p>
          <a:p>
            <a:pPr marL="457200" marR="0" lvl="0" indent="-4572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a:rPr>
              <a:t>Match your on-premises application behavior</a:t>
            </a:r>
          </a:p>
          <a:p>
            <a:pPr marL="457200" marR="0" lvl="0" indent="-45720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Segoe UI Semilight"/>
              </a:rPr>
              <a:t>Fsv2, M, and DC series are Generally available but in limited regions</a:t>
            </a:r>
          </a:p>
          <a:p>
            <a:pPr marL="457200" marR="0" lvl="0" indent="-45720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Segoe UI Semi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Segoe UI"/>
            </a:endParaRPr>
          </a:p>
        </p:txBody>
      </p:sp>
    </p:spTree>
    <p:extLst>
      <p:ext uri="{BB962C8B-B14F-4D97-AF65-F5344CB8AC3E}">
        <p14:creationId xmlns:p14="http://schemas.microsoft.com/office/powerpoint/2010/main" val="1848791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err="1"/>
              <a:t>vCore</a:t>
            </a:r>
            <a:r>
              <a:rPr lang="en-US"/>
              <a:t>-based purchasing model: Serverless compute tier</a:t>
            </a:r>
          </a:p>
        </p:txBody>
      </p:sp>
      <p:sp>
        <p:nvSpPr>
          <p:cNvPr id="81" name="Text Placeholder 17">
            <a:extLst>
              <a:ext uri="{FF2B5EF4-FFF2-40B4-BE49-F238E27FC236}">
                <a16:creationId xmlns:a16="http://schemas.microsoft.com/office/drawing/2014/main" id="{7B9BBCC3-35E2-4586-8A00-048872DA3794}"/>
              </a:ext>
            </a:extLst>
          </p:cNvPr>
          <p:cNvSpPr txBox="1">
            <a:spLocks/>
          </p:cNvSpPr>
          <p:nvPr/>
        </p:nvSpPr>
        <p:spPr>
          <a:xfrm>
            <a:off x="1019429" y="2265716"/>
            <a:ext cx="3730413" cy="988347"/>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4pPr>
            <a:lvl5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lnSpc>
                <a:spcPct val="100000"/>
              </a:lnSpc>
            </a:pPr>
            <a:r>
              <a:rPr lang="en-US" sz="1632">
                <a:latin typeface="Segoe UI Semibold" panose="020B0502040204020203" pitchFamily="34" charset="0"/>
                <a:cs typeface="Segoe UI Semibold" panose="020B0502040204020203" pitchFamily="34" charset="0"/>
              </a:rPr>
              <a:t>On-demand flexible scale</a:t>
            </a:r>
          </a:p>
          <a:p>
            <a:pPr lvl="1" algn="l">
              <a:lnSpc>
                <a:spcPct val="100000"/>
              </a:lnSpc>
            </a:pPr>
            <a:r>
              <a:rPr lang="en-US" sz="1632">
                <a:latin typeface="Segoe UI" panose="020B0502040204020203" pitchFamily="34" charset="0"/>
                <a:cs typeface="Segoe UI" panose="020B0502040204020203" pitchFamily="34" charset="0"/>
              </a:rPr>
              <a:t>Operate at the true rhythm of </a:t>
            </a:r>
            <a:br>
              <a:rPr lang="en-US" sz="1632">
                <a:latin typeface="Segoe UI" panose="020B0502040204020203" pitchFamily="34" charset="0"/>
                <a:cs typeface="Segoe UI" panose="020B0502040204020203" pitchFamily="34" charset="0"/>
              </a:rPr>
            </a:br>
            <a:r>
              <a:rPr lang="en-US" sz="1632">
                <a:latin typeface="Segoe UI" panose="020B0502040204020203" pitchFamily="34" charset="0"/>
                <a:cs typeface="Segoe UI" panose="020B0502040204020203" pitchFamily="34" charset="0"/>
              </a:rPr>
              <a:t>your business.</a:t>
            </a:r>
          </a:p>
        </p:txBody>
      </p:sp>
      <p:sp>
        <p:nvSpPr>
          <p:cNvPr id="82" name="Text Placeholder 35">
            <a:extLst>
              <a:ext uri="{FF2B5EF4-FFF2-40B4-BE49-F238E27FC236}">
                <a16:creationId xmlns:a16="http://schemas.microsoft.com/office/drawing/2014/main" id="{34EAAEEF-F189-400B-BD62-2F6B0E952EFA}"/>
              </a:ext>
            </a:extLst>
          </p:cNvPr>
          <p:cNvSpPr txBox="1">
            <a:spLocks/>
          </p:cNvSpPr>
          <p:nvPr/>
        </p:nvSpPr>
        <p:spPr>
          <a:xfrm>
            <a:off x="8373356" y="2265716"/>
            <a:ext cx="3730413" cy="81968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gradFill>
                  <a:gsLst>
                    <a:gs pos="1250">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1" i="0" u="none" strike="noStrike" kern="1200" cap="none" spc="0" normalizeH="0" baseline="0" noProof="0">
                <a:ln>
                  <a:noFill/>
                </a:ln>
                <a:solidFill>
                  <a:srgbClr val="0078D4"/>
                </a:solidFill>
                <a:effectLst/>
                <a:uLnTx/>
                <a:uFillTx/>
                <a:latin typeface="Segoe UI Light"/>
                <a:ea typeface="+mn-ea"/>
                <a:cs typeface="+mn-cs"/>
              </a:rPr>
              <a:t>Fully managed &amp; intelligent</a:t>
            </a:r>
          </a:p>
          <a:p>
            <a:pPr marL="0" marR="0" lvl="1"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Focus on your applications, not </a:t>
            </a:r>
            <a:b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b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your infrastructure</a:t>
            </a:r>
          </a:p>
        </p:txBody>
      </p:sp>
      <p:sp>
        <p:nvSpPr>
          <p:cNvPr id="83" name="Text Placeholder 36">
            <a:extLst>
              <a:ext uri="{FF2B5EF4-FFF2-40B4-BE49-F238E27FC236}">
                <a16:creationId xmlns:a16="http://schemas.microsoft.com/office/drawing/2014/main" id="{B6165ED1-C1D4-44E3-A905-5993EDD6C5E0}"/>
              </a:ext>
            </a:extLst>
          </p:cNvPr>
          <p:cNvSpPr txBox="1">
            <a:spLocks/>
          </p:cNvSpPr>
          <p:nvPr/>
        </p:nvSpPr>
        <p:spPr>
          <a:xfrm>
            <a:off x="4405845" y="2273259"/>
            <a:ext cx="3730413" cy="563523"/>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2040" b="1" kern="1200" spc="0" baseline="0">
                <a:solidFill>
                  <a:srgbClr val="0078D4"/>
                </a:solidFill>
                <a:latin typeface="+mj-lt"/>
                <a:ea typeface="+mn-ea"/>
                <a:cs typeface="+mn-cs"/>
              </a:defRPr>
            </a:lvl1pPr>
            <a:lvl2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836" kern="1200" spc="0" baseline="0">
                <a:solidFill>
                  <a:srgbClr val="0078D4"/>
                </a:solidFill>
                <a:latin typeface="+mn-lt"/>
                <a:ea typeface="+mn-ea"/>
                <a:cs typeface="+mn-cs"/>
              </a:defRPr>
            </a:lvl2pPr>
            <a:lvl3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428" kern="1200" spc="0" baseline="0">
                <a:solidFill>
                  <a:srgbClr val="0078D4"/>
                </a:solidFill>
                <a:latin typeface="+mn-lt"/>
                <a:ea typeface="+mn-ea"/>
                <a:cs typeface="+mn-cs"/>
              </a:defRPr>
            </a:lvl3pPr>
            <a:lvl4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4pPr>
            <a:lvl5pPr marL="0" marR="0" indent="0" algn="ctr" defTabSz="932742" rtl="0" eaLnBrk="1" fontAlgn="auto" latinLnBrk="0" hangingPunct="1">
              <a:lnSpc>
                <a:spcPct val="90000"/>
              </a:lnSpc>
              <a:spcBef>
                <a:spcPct val="20000"/>
              </a:spcBef>
              <a:spcAft>
                <a:spcPts val="0"/>
              </a:spcAft>
              <a:buClrTx/>
              <a:buSzPct val="90000"/>
              <a:buFont typeface="Arial" pitchFamily="34" charset="0"/>
              <a:buNone/>
              <a:tabLst/>
              <a:defRPr sz="1224" kern="1200" spc="0" baseline="0">
                <a:solidFill>
                  <a:srgbClr val="0078D4"/>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1" i="0" u="none" strike="noStrike" kern="1200" cap="none" spc="0" normalizeH="0" baseline="0" noProof="0">
                <a:ln>
                  <a:noFill/>
                </a:ln>
                <a:solidFill>
                  <a:srgbClr val="0078D4"/>
                </a:solidFill>
                <a:effectLst/>
                <a:uLnTx/>
                <a:uFillTx/>
                <a:latin typeface="Segoe UI Light"/>
                <a:ea typeface="+mn-ea"/>
                <a:cs typeface="+mn-cs"/>
              </a:rPr>
              <a:t>Cost-effective</a:t>
            </a:r>
          </a:p>
          <a:p>
            <a:pPr marL="0" marR="0" lvl="1"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1632" b="0"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Pay for performance. Period.</a:t>
            </a:r>
          </a:p>
        </p:txBody>
      </p:sp>
      <p:sp>
        <p:nvSpPr>
          <p:cNvPr id="84" name="Text Placeholder 52">
            <a:extLst>
              <a:ext uri="{FF2B5EF4-FFF2-40B4-BE49-F238E27FC236}">
                <a16:creationId xmlns:a16="http://schemas.microsoft.com/office/drawing/2014/main" id="{B2AC7D1C-BA84-42F7-A231-621BC39940C7}"/>
              </a:ext>
            </a:extLst>
          </p:cNvPr>
          <p:cNvSpPr txBox="1">
            <a:spLocks/>
          </p:cNvSpPr>
          <p:nvPr/>
        </p:nvSpPr>
        <p:spPr>
          <a:xfrm>
            <a:off x="1020786" y="3254812"/>
            <a:ext cx="3390270" cy="118449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Adapts compute resources to the workload without sacrificing performance.</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Automatically pauses and resumes.</a:t>
            </a:r>
          </a:p>
        </p:txBody>
      </p:sp>
      <p:sp>
        <p:nvSpPr>
          <p:cNvPr id="85" name="Text Placeholder 53">
            <a:extLst>
              <a:ext uri="{FF2B5EF4-FFF2-40B4-BE49-F238E27FC236}">
                <a16:creationId xmlns:a16="http://schemas.microsoft.com/office/drawing/2014/main" id="{6E464EA9-76D3-49BF-BB57-CC13C416E9FC}"/>
              </a:ext>
            </a:extLst>
          </p:cNvPr>
          <p:cNvSpPr txBox="1">
            <a:spLocks/>
          </p:cNvSpPr>
          <p:nvPr/>
        </p:nvSpPr>
        <p:spPr>
          <a:xfrm>
            <a:off x="8364793" y="3249411"/>
            <a:ext cx="3390270" cy="96475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Fully-managed and intelligent </a:t>
            </a:r>
            <a:br>
              <a:rPr kumimoji="0" lang="en-US" sz="1428" b="0" i="0" u="none" strike="noStrike" kern="1200" cap="none" spc="0" normalizeH="0" baseline="0" noProof="0">
                <a:ln>
                  <a:noFill/>
                </a:ln>
                <a:solidFill>
                  <a:srgbClr val="505050"/>
                </a:solidFill>
                <a:effectLst/>
                <a:uLnTx/>
                <a:uFillTx/>
                <a:latin typeface="Segoe UI"/>
                <a:ea typeface="+mn-ea"/>
                <a:cs typeface="+mn-cs"/>
              </a:rPr>
            </a:br>
            <a:r>
              <a:rPr kumimoji="0" lang="en-US" sz="1428" b="0" i="0" u="none" strike="noStrike" kern="1200" cap="none" spc="0" normalizeH="0" baseline="0" noProof="0">
                <a:ln>
                  <a:noFill/>
                </a:ln>
                <a:solidFill>
                  <a:srgbClr val="505050"/>
                </a:solidFill>
                <a:effectLst/>
                <a:uLnTx/>
                <a:uFillTx/>
                <a:latin typeface="Segoe UI"/>
                <a:ea typeface="+mn-ea"/>
                <a:cs typeface="+mn-cs"/>
              </a:rPr>
              <a:t>database service.</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Built-in 99.99% availability.</a:t>
            </a:r>
          </a:p>
        </p:txBody>
      </p:sp>
      <p:sp>
        <p:nvSpPr>
          <p:cNvPr id="86" name="Text Placeholder 54">
            <a:extLst>
              <a:ext uri="{FF2B5EF4-FFF2-40B4-BE49-F238E27FC236}">
                <a16:creationId xmlns:a16="http://schemas.microsoft.com/office/drawing/2014/main" id="{A5782B3D-0577-491C-A1B2-2A15B7ABBF9A}"/>
              </a:ext>
            </a:extLst>
          </p:cNvPr>
          <p:cNvSpPr txBox="1">
            <a:spLocks/>
          </p:cNvSpPr>
          <p:nvPr/>
        </p:nvSpPr>
        <p:spPr>
          <a:xfrm>
            <a:off x="4405616" y="3249412"/>
            <a:ext cx="3390270" cy="1184491"/>
          </a:xfrm>
          <a:prstGeom prst="rect">
            <a:avLst/>
          </a:prstGeom>
        </p:spPr>
        <p:txBody>
          <a:bodyPr vert="horz" wrap="square" lIns="146304" tIns="91440" rIns="146304" bIns="91440" rtlCol="0">
            <a:spAutoFit/>
          </a:bodyPr>
          <a:lstStyle>
            <a:lvl1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836" kern="1200" spc="0" baseline="0">
                <a:gradFill>
                  <a:gsLst>
                    <a:gs pos="1250">
                      <a:schemeClr val="tx1"/>
                    </a:gs>
                    <a:gs pos="100000">
                      <a:schemeClr val="tx1"/>
                    </a:gs>
                  </a:gsLst>
                  <a:lin ang="5400000" scaled="0"/>
                </a:gradFill>
                <a:latin typeface="+mj-lt"/>
                <a:ea typeface="+mn-ea"/>
                <a:cs typeface="+mn-cs"/>
              </a:defRPr>
            </a:lvl1pPr>
            <a:lvl2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428" kern="1200" spc="0" baseline="0">
                <a:gradFill>
                  <a:gsLst>
                    <a:gs pos="1250">
                      <a:schemeClr val="tx1"/>
                    </a:gs>
                    <a:gs pos="100000">
                      <a:schemeClr val="tx1"/>
                    </a:gs>
                  </a:gsLst>
                  <a:lin ang="5400000" scaled="0"/>
                </a:gradFill>
                <a:latin typeface="+mn-lt"/>
                <a:ea typeface="+mn-ea"/>
                <a:cs typeface="+mn-cs"/>
              </a:defRPr>
            </a:lvl2pPr>
            <a:lvl3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122"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90000"/>
              </a:lnSpc>
              <a:spcBef>
                <a:spcPct val="20000"/>
              </a:spcBef>
              <a:spcAft>
                <a:spcPts val="612"/>
              </a:spcAft>
              <a:buClrTx/>
              <a:buSzPct val="90000"/>
              <a:buFont typeface="Arial" pitchFamily="34" charset="0"/>
              <a:buNone/>
              <a:tabLst/>
              <a:defRPr sz="1071"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Pay only for compute resources you consume, on a per-second basis.</a:t>
            </a:r>
          </a:p>
          <a:p>
            <a:pPr marL="0" marR="0" lvl="1" indent="0" algn="l" defTabSz="932742" rtl="0" eaLnBrk="1" fontAlgn="auto" latinLnBrk="0" hangingPunct="1">
              <a:lnSpc>
                <a:spcPct val="100000"/>
              </a:lnSpc>
              <a:spcBef>
                <a:spcPct val="20000"/>
              </a:spcBef>
              <a:spcAft>
                <a:spcPts val="612"/>
              </a:spcAft>
              <a:buClrTx/>
              <a:buSzPct val="90000"/>
              <a:buFont typeface="Arial" pitchFamily="34" charset="0"/>
              <a:buNone/>
              <a:tabLst/>
              <a:defRPr/>
            </a:pPr>
            <a:r>
              <a:rPr kumimoji="0" lang="en-US" sz="1428" b="0" i="0" u="none" strike="noStrike" kern="1200" cap="none" spc="0" normalizeH="0" baseline="0" noProof="0">
                <a:ln>
                  <a:noFill/>
                </a:ln>
                <a:solidFill>
                  <a:srgbClr val="505050"/>
                </a:solidFill>
                <a:effectLst/>
                <a:uLnTx/>
                <a:uFillTx/>
                <a:latin typeface="Segoe UI"/>
                <a:ea typeface="+mn-ea"/>
                <a:cs typeface="+mn-cs"/>
              </a:rPr>
              <a:t>Further optimize costs with configurable compute thresholds.</a:t>
            </a:r>
          </a:p>
        </p:txBody>
      </p:sp>
      <p:grpSp>
        <p:nvGrpSpPr>
          <p:cNvPr id="87" name="Group 86" descr="scale, elasticity">
            <a:extLst>
              <a:ext uri="{FF2B5EF4-FFF2-40B4-BE49-F238E27FC236}">
                <a16:creationId xmlns:a16="http://schemas.microsoft.com/office/drawing/2014/main" id="{D457F020-40A5-4972-8FA4-D3C72C86C7F3}"/>
              </a:ext>
            </a:extLst>
          </p:cNvPr>
          <p:cNvGrpSpPr/>
          <p:nvPr/>
        </p:nvGrpSpPr>
        <p:grpSpPr>
          <a:xfrm>
            <a:off x="1019430" y="1494878"/>
            <a:ext cx="432709" cy="431050"/>
            <a:chOff x="690617" y="3992880"/>
            <a:chExt cx="367168" cy="365760"/>
          </a:xfrm>
        </p:grpSpPr>
        <p:sp>
          <p:nvSpPr>
            <p:cNvPr id="88" name="Freeform 330">
              <a:extLst>
                <a:ext uri="{FF2B5EF4-FFF2-40B4-BE49-F238E27FC236}">
                  <a16:creationId xmlns:a16="http://schemas.microsoft.com/office/drawing/2014/main" id="{BF93D14C-E24B-4006-B87E-2300025C6619}"/>
                </a:ext>
              </a:extLst>
            </p:cNvPr>
            <p:cNvSpPr>
              <a:spLocks noEditPoints="1"/>
            </p:cNvSpPr>
            <p:nvPr/>
          </p:nvSpPr>
          <p:spPr bwMode="auto">
            <a:xfrm>
              <a:off x="690617" y="3992880"/>
              <a:ext cx="367168" cy="365760"/>
            </a:xfrm>
            <a:custGeom>
              <a:avLst/>
              <a:gdLst>
                <a:gd name="T0" fmla="*/ 233 w 261"/>
                <a:gd name="T1" fmla="*/ 27 h 260"/>
                <a:gd name="T2" fmla="*/ 233 w 261"/>
                <a:gd name="T3" fmla="*/ 233 h 260"/>
                <a:gd name="T4" fmla="*/ 27 w 261"/>
                <a:gd name="T5" fmla="*/ 233 h 260"/>
                <a:gd name="T6" fmla="*/ 27 w 261"/>
                <a:gd name="T7" fmla="*/ 27 h 260"/>
                <a:gd name="T8" fmla="*/ 233 w 261"/>
                <a:gd name="T9" fmla="*/ 27 h 260"/>
                <a:gd name="T10" fmla="*/ 261 w 261"/>
                <a:gd name="T11" fmla="*/ 0 h 260"/>
                <a:gd name="T12" fmla="*/ 0 w 261"/>
                <a:gd name="T13" fmla="*/ 0 h 260"/>
                <a:gd name="T14" fmla="*/ 0 w 261"/>
                <a:gd name="T15" fmla="*/ 260 h 260"/>
                <a:gd name="T16" fmla="*/ 261 w 261"/>
                <a:gd name="T17" fmla="*/ 260 h 260"/>
                <a:gd name="T18" fmla="*/ 261 w 261"/>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233" y="27"/>
                  </a:moveTo>
                  <a:lnTo>
                    <a:pt x="233" y="233"/>
                  </a:lnTo>
                  <a:lnTo>
                    <a:pt x="27" y="233"/>
                  </a:lnTo>
                  <a:lnTo>
                    <a:pt x="27" y="27"/>
                  </a:lnTo>
                  <a:lnTo>
                    <a:pt x="233" y="27"/>
                  </a:lnTo>
                  <a:close/>
                  <a:moveTo>
                    <a:pt x="261" y="0"/>
                  </a:moveTo>
                  <a:lnTo>
                    <a:pt x="0" y="0"/>
                  </a:lnTo>
                  <a:lnTo>
                    <a:pt x="0" y="260"/>
                  </a:lnTo>
                  <a:lnTo>
                    <a:pt x="261" y="260"/>
                  </a:lnTo>
                  <a:lnTo>
                    <a:pt x="26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89" name="Rectangle 331">
              <a:extLst>
                <a:ext uri="{FF2B5EF4-FFF2-40B4-BE49-F238E27FC236}">
                  <a16:creationId xmlns:a16="http://schemas.microsoft.com/office/drawing/2014/main" id="{7AA7A400-0F30-419E-9799-89C9032D9B4E}"/>
                </a:ext>
              </a:extLst>
            </p:cNvPr>
            <p:cNvSpPr>
              <a:spLocks noChangeArrowheads="1"/>
            </p:cNvSpPr>
            <p:nvPr/>
          </p:nvSpPr>
          <p:spPr bwMode="auto">
            <a:xfrm>
              <a:off x="690617" y="4185607"/>
              <a:ext cx="173033" cy="17303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sp>
          <p:nvSpPr>
            <p:cNvPr id="90" name="Freeform 332">
              <a:extLst>
                <a:ext uri="{FF2B5EF4-FFF2-40B4-BE49-F238E27FC236}">
                  <a16:creationId xmlns:a16="http://schemas.microsoft.com/office/drawing/2014/main" id="{80047216-8F14-4D09-ABA3-E9C766A43757}"/>
                </a:ext>
              </a:extLst>
            </p:cNvPr>
            <p:cNvSpPr>
              <a:spLocks/>
            </p:cNvSpPr>
            <p:nvPr/>
          </p:nvSpPr>
          <p:spPr bwMode="auto">
            <a:xfrm>
              <a:off x="922734" y="3992880"/>
              <a:ext cx="135050" cy="135050"/>
            </a:xfrm>
            <a:custGeom>
              <a:avLst/>
              <a:gdLst>
                <a:gd name="T0" fmla="*/ 0 w 96"/>
                <a:gd name="T1" fmla="*/ 0 h 96"/>
                <a:gd name="T2" fmla="*/ 0 w 96"/>
                <a:gd name="T3" fmla="*/ 27 h 96"/>
                <a:gd name="T4" fmla="*/ 68 w 96"/>
                <a:gd name="T5" fmla="*/ 27 h 96"/>
                <a:gd name="T6" fmla="*/ 68 w 96"/>
                <a:gd name="T7" fmla="*/ 96 h 96"/>
                <a:gd name="T8" fmla="*/ 96 w 96"/>
                <a:gd name="T9" fmla="*/ 96 h 96"/>
                <a:gd name="T10" fmla="*/ 96 w 96"/>
                <a:gd name="T11" fmla="*/ 0 h 96"/>
                <a:gd name="T12" fmla="*/ 0 w 96"/>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0" y="0"/>
                  </a:moveTo>
                  <a:lnTo>
                    <a:pt x="0" y="27"/>
                  </a:lnTo>
                  <a:lnTo>
                    <a:pt x="68" y="27"/>
                  </a:lnTo>
                  <a:lnTo>
                    <a:pt x="68" y="96"/>
                  </a:lnTo>
                  <a:lnTo>
                    <a:pt x="96" y="96"/>
                  </a:lnTo>
                  <a:lnTo>
                    <a:pt x="96"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ctr" defTabSz="914224"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505050"/>
                </a:solidFill>
                <a:effectLst/>
                <a:uLnTx/>
                <a:uFillTx/>
              </a:endParaRPr>
            </a:p>
          </p:txBody>
        </p:sp>
      </p:grpSp>
      <p:grpSp>
        <p:nvGrpSpPr>
          <p:cNvPr id="91" name="Group 4" descr="fully managed">
            <a:extLst>
              <a:ext uri="{FF2B5EF4-FFF2-40B4-BE49-F238E27FC236}">
                <a16:creationId xmlns:a16="http://schemas.microsoft.com/office/drawing/2014/main" id="{4C00EDDE-C56F-4CFD-BAC2-8823CFBCDC7A}"/>
              </a:ext>
            </a:extLst>
          </p:cNvPr>
          <p:cNvGrpSpPr>
            <a:grpSpLocks noChangeAspect="1"/>
          </p:cNvGrpSpPr>
          <p:nvPr/>
        </p:nvGrpSpPr>
        <p:grpSpPr bwMode="auto">
          <a:xfrm>
            <a:off x="8374479" y="1501294"/>
            <a:ext cx="540539" cy="484507"/>
            <a:chOff x="390" y="763"/>
            <a:chExt cx="328" cy="294"/>
          </a:xfrm>
        </p:grpSpPr>
        <p:sp>
          <p:nvSpPr>
            <p:cNvPr id="92" name="AutoShape 3">
              <a:extLst>
                <a:ext uri="{FF2B5EF4-FFF2-40B4-BE49-F238E27FC236}">
                  <a16:creationId xmlns:a16="http://schemas.microsoft.com/office/drawing/2014/main" id="{C7945F8B-B46D-4A25-920E-9FE2506CA77F}"/>
                </a:ext>
              </a:extLst>
            </p:cNvPr>
            <p:cNvSpPr>
              <a:spLocks noChangeAspect="1" noChangeArrowheads="1" noTextEdit="1"/>
            </p:cNvSpPr>
            <p:nvPr/>
          </p:nvSpPr>
          <p:spPr bwMode="auto">
            <a:xfrm>
              <a:off x="390" y="763"/>
              <a:ext cx="328"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3" name="Freeform 5">
              <a:extLst>
                <a:ext uri="{FF2B5EF4-FFF2-40B4-BE49-F238E27FC236}">
                  <a16:creationId xmlns:a16="http://schemas.microsoft.com/office/drawing/2014/main" id="{F8C26C91-C5FE-4D88-A253-CF411E9FA962}"/>
                </a:ext>
              </a:extLst>
            </p:cNvPr>
            <p:cNvSpPr>
              <a:spLocks/>
            </p:cNvSpPr>
            <p:nvPr/>
          </p:nvSpPr>
          <p:spPr bwMode="auto">
            <a:xfrm>
              <a:off x="511" y="829"/>
              <a:ext cx="87" cy="49"/>
            </a:xfrm>
            <a:custGeom>
              <a:avLst/>
              <a:gdLst>
                <a:gd name="T0" fmla="*/ 101 w 101"/>
                <a:gd name="T1" fmla="*/ 0 h 57"/>
                <a:gd name="T2" fmla="*/ 0 w 101"/>
                <a:gd name="T3" fmla="*/ 0 h 57"/>
                <a:gd name="T4" fmla="*/ 0 w 101"/>
                <a:gd name="T5" fmla="*/ 32 h 57"/>
                <a:gd name="T6" fmla="*/ 51 w 101"/>
                <a:gd name="T7" fmla="*/ 57 h 57"/>
                <a:gd name="T8" fmla="*/ 101 w 101"/>
                <a:gd name="T9" fmla="*/ 32 h 57"/>
                <a:gd name="T10" fmla="*/ 101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1" y="0"/>
                  </a:moveTo>
                  <a:cubicBezTo>
                    <a:pt x="0" y="0"/>
                    <a:pt x="0" y="0"/>
                    <a:pt x="0" y="0"/>
                  </a:cubicBezTo>
                  <a:cubicBezTo>
                    <a:pt x="0" y="32"/>
                    <a:pt x="0" y="32"/>
                    <a:pt x="0" y="32"/>
                  </a:cubicBezTo>
                  <a:cubicBezTo>
                    <a:pt x="0" y="46"/>
                    <a:pt x="23" y="57"/>
                    <a:pt x="51" y="57"/>
                  </a:cubicBezTo>
                  <a:cubicBezTo>
                    <a:pt x="78" y="57"/>
                    <a:pt x="101" y="46"/>
                    <a:pt x="101" y="32"/>
                  </a:cubicBezTo>
                  <a:cubicBezTo>
                    <a:pt x="101" y="32"/>
                    <a:pt x="101" y="0"/>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4" name="Freeform 6">
              <a:extLst>
                <a:ext uri="{FF2B5EF4-FFF2-40B4-BE49-F238E27FC236}">
                  <a16:creationId xmlns:a16="http://schemas.microsoft.com/office/drawing/2014/main" id="{2CC12EB3-C069-4A5A-8570-28C08A03C168}"/>
                </a:ext>
              </a:extLst>
            </p:cNvPr>
            <p:cNvSpPr>
              <a:spLocks/>
            </p:cNvSpPr>
            <p:nvPr/>
          </p:nvSpPr>
          <p:spPr bwMode="auto">
            <a:xfrm>
              <a:off x="511" y="824"/>
              <a:ext cx="87" cy="46"/>
            </a:xfrm>
            <a:custGeom>
              <a:avLst/>
              <a:gdLst>
                <a:gd name="T0" fmla="*/ 101 w 101"/>
                <a:gd name="T1" fmla="*/ 0 h 53"/>
                <a:gd name="T2" fmla="*/ 101 w 101"/>
                <a:gd name="T3" fmla="*/ 28 h 53"/>
                <a:gd name="T4" fmla="*/ 51 w 101"/>
                <a:gd name="T5" fmla="*/ 53 h 53"/>
                <a:gd name="T6" fmla="*/ 0 w 101"/>
                <a:gd name="T7" fmla="*/ 28 h 53"/>
                <a:gd name="T8" fmla="*/ 0 w 101"/>
                <a:gd name="T9" fmla="*/ 0 h 53"/>
                <a:gd name="T10" fmla="*/ 101 w 101"/>
                <a:gd name="T11" fmla="*/ 0 h 53"/>
              </a:gdLst>
              <a:ahLst/>
              <a:cxnLst>
                <a:cxn ang="0">
                  <a:pos x="T0" y="T1"/>
                </a:cxn>
                <a:cxn ang="0">
                  <a:pos x="T2" y="T3"/>
                </a:cxn>
                <a:cxn ang="0">
                  <a:pos x="T4" y="T5"/>
                </a:cxn>
                <a:cxn ang="0">
                  <a:pos x="T6" y="T7"/>
                </a:cxn>
                <a:cxn ang="0">
                  <a:pos x="T8" y="T9"/>
                </a:cxn>
                <a:cxn ang="0">
                  <a:pos x="T10" y="T11"/>
                </a:cxn>
              </a:cxnLst>
              <a:rect l="0" t="0" r="r" b="b"/>
              <a:pathLst>
                <a:path w="101" h="53">
                  <a:moveTo>
                    <a:pt x="101" y="0"/>
                  </a:moveTo>
                  <a:cubicBezTo>
                    <a:pt x="101" y="28"/>
                    <a:pt x="101" y="28"/>
                    <a:pt x="101" y="28"/>
                  </a:cubicBezTo>
                  <a:cubicBezTo>
                    <a:pt x="101" y="42"/>
                    <a:pt x="78" y="53"/>
                    <a:pt x="51" y="53"/>
                  </a:cubicBezTo>
                  <a:cubicBezTo>
                    <a:pt x="23" y="53"/>
                    <a:pt x="0" y="42"/>
                    <a:pt x="0" y="28"/>
                  </a:cubicBezTo>
                  <a:cubicBezTo>
                    <a:pt x="0" y="0"/>
                    <a:pt x="0" y="0"/>
                    <a:pt x="0" y="0"/>
                  </a:cubicBezTo>
                  <a:lnTo>
                    <a:pt x="101"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5" name="Freeform 7">
              <a:extLst>
                <a:ext uri="{FF2B5EF4-FFF2-40B4-BE49-F238E27FC236}">
                  <a16:creationId xmlns:a16="http://schemas.microsoft.com/office/drawing/2014/main" id="{59630482-278F-4DEC-8D77-A4B695E17661}"/>
                </a:ext>
              </a:extLst>
            </p:cNvPr>
            <p:cNvSpPr>
              <a:spLocks/>
            </p:cNvSpPr>
            <p:nvPr/>
          </p:nvSpPr>
          <p:spPr bwMode="auto">
            <a:xfrm>
              <a:off x="511" y="800"/>
              <a:ext cx="87" cy="48"/>
            </a:xfrm>
            <a:custGeom>
              <a:avLst/>
              <a:gdLst>
                <a:gd name="T0" fmla="*/ 101 w 101"/>
                <a:gd name="T1" fmla="*/ 0 h 57"/>
                <a:gd name="T2" fmla="*/ 0 w 101"/>
                <a:gd name="T3" fmla="*/ 0 h 57"/>
                <a:gd name="T4" fmla="*/ 0 w 101"/>
                <a:gd name="T5" fmla="*/ 32 h 57"/>
                <a:gd name="T6" fmla="*/ 51 w 101"/>
                <a:gd name="T7" fmla="*/ 57 h 57"/>
                <a:gd name="T8" fmla="*/ 101 w 101"/>
                <a:gd name="T9" fmla="*/ 32 h 57"/>
                <a:gd name="T10" fmla="*/ 101 w 101"/>
                <a:gd name="T11" fmla="*/ 0 h 57"/>
              </a:gdLst>
              <a:ahLst/>
              <a:cxnLst>
                <a:cxn ang="0">
                  <a:pos x="T0" y="T1"/>
                </a:cxn>
                <a:cxn ang="0">
                  <a:pos x="T2" y="T3"/>
                </a:cxn>
                <a:cxn ang="0">
                  <a:pos x="T4" y="T5"/>
                </a:cxn>
                <a:cxn ang="0">
                  <a:pos x="T6" y="T7"/>
                </a:cxn>
                <a:cxn ang="0">
                  <a:pos x="T8" y="T9"/>
                </a:cxn>
                <a:cxn ang="0">
                  <a:pos x="T10" y="T11"/>
                </a:cxn>
              </a:cxnLst>
              <a:rect l="0" t="0" r="r" b="b"/>
              <a:pathLst>
                <a:path w="101" h="57">
                  <a:moveTo>
                    <a:pt x="101" y="0"/>
                  </a:moveTo>
                  <a:cubicBezTo>
                    <a:pt x="0" y="0"/>
                    <a:pt x="0" y="0"/>
                    <a:pt x="0" y="0"/>
                  </a:cubicBezTo>
                  <a:cubicBezTo>
                    <a:pt x="0" y="32"/>
                    <a:pt x="0" y="32"/>
                    <a:pt x="0" y="32"/>
                  </a:cubicBezTo>
                  <a:cubicBezTo>
                    <a:pt x="0" y="46"/>
                    <a:pt x="23" y="57"/>
                    <a:pt x="51" y="57"/>
                  </a:cubicBezTo>
                  <a:cubicBezTo>
                    <a:pt x="78" y="57"/>
                    <a:pt x="101" y="46"/>
                    <a:pt x="101" y="32"/>
                  </a:cubicBezTo>
                  <a:cubicBezTo>
                    <a:pt x="101" y="32"/>
                    <a:pt x="101" y="1"/>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6" name="Freeform 8">
              <a:extLst>
                <a:ext uri="{FF2B5EF4-FFF2-40B4-BE49-F238E27FC236}">
                  <a16:creationId xmlns:a16="http://schemas.microsoft.com/office/drawing/2014/main" id="{895F68DE-D576-4287-B07B-D425A012C039}"/>
                </a:ext>
              </a:extLst>
            </p:cNvPr>
            <p:cNvSpPr>
              <a:spLocks/>
            </p:cNvSpPr>
            <p:nvPr/>
          </p:nvSpPr>
          <p:spPr bwMode="auto">
            <a:xfrm>
              <a:off x="511" y="783"/>
              <a:ext cx="87" cy="44"/>
            </a:xfrm>
            <a:custGeom>
              <a:avLst/>
              <a:gdLst>
                <a:gd name="T0" fmla="*/ 101 w 101"/>
                <a:gd name="T1" fmla="*/ 0 h 51"/>
                <a:gd name="T2" fmla="*/ 0 w 101"/>
                <a:gd name="T3" fmla="*/ 0 h 51"/>
                <a:gd name="T4" fmla="*/ 0 w 101"/>
                <a:gd name="T5" fmla="*/ 26 h 51"/>
                <a:gd name="T6" fmla="*/ 51 w 101"/>
                <a:gd name="T7" fmla="*/ 51 h 51"/>
                <a:gd name="T8" fmla="*/ 101 w 101"/>
                <a:gd name="T9" fmla="*/ 26 h 51"/>
                <a:gd name="T10" fmla="*/ 101 w 101"/>
                <a:gd name="T11" fmla="*/ 0 h 51"/>
              </a:gdLst>
              <a:ahLst/>
              <a:cxnLst>
                <a:cxn ang="0">
                  <a:pos x="T0" y="T1"/>
                </a:cxn>
                <a:cxn ang="0">
                  <a:pos x="T2" y="T3"/>
                </a:cxn>
                <a:cxn ang="0">
                  <a:pos x="T4" y="T5"/>
                </a:cxn>
                <a:cxn ang="0">
                  <a:pos x="T6" y="T7"/>
                </a:cxn>
                <a:cxn ang="0">
                  <a:pos x="T8" y="T9"/>
                </a:cxn>
                <a:cxn ang="0">
                  <a:pos x="T10" y="T11"/>
                </a:cxn>
              </a:cxnLst>
              <a:rect l="0" t="0" r="r" b="b"/>
              <a:pathLst>
                <a:path w="101" h="51">
                  <a:moveTo>
                    <a:pt x="101" y="0"/>
                  </a:moveTo>
                  <a:cubicBezTo>
                    <a:pt x="0" y="0"/>
                    <a:pt x="0" y="0"/>
                    <a:pt x="0" y="0"/>
                  </a:cubicBezTo>
                  <a:cubicBezTo>
                    <a:pt x="0" y="26"/>
                    <a:pt x="0" y="26"/>
                    <a:pt x="0" y="26"/>
                  </a:cubicBezTo>
                  <a:cubicBezTo>
                    <a:pt x="0" y="40"/>
                    <a:pt x="23" y="51"/>
                    <a:pt x="51" y="51"/>
                  </a:cubicBezTo>
                  <a:cubicBezTo>
                    <a:pt x="78" y="51"/>
                    <a:pt x="101" y="40"/>
                    <a:pt x="101" y="26"/>
                  </a:cubicBezTo>
                  <a:cubicBezTo>
                    <a:pt x="101" y="26"/>
                    <a:pt x="101" y="0"/>
                    <a:pt x="10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7" name="Oval 9">
              <a:extLst>
                <a:ext uri="{FF2B5EF4-FFF2-40B4-BE49-F238E27FC236}">
                  <a16:creationId xmlns:a16="http://schemas.microsoft.com/office/drawing/2014/main" id="{DCA31C13-E695-4DEA-A047-2C19DA614612}"/>
                </a:ext>
              </a:extLst>
            </p:cNvPr>
            <p:cNvSpPr>
              <a:spLocks noChangeArrowheads="1"/>
            </p:cNvSpPr>
            <p:nvPr/>
          </p:nvSpPr>
          <p:spPr bwMode="auto">
            <a:xfrm>
              <a:off x="511" y="763"/>
              <a:ext cx="87" cy="4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8" name="Freeform 10">
              <a:extLst>
                <a:ext uri="{FF2B5EF4-FFF2-40B4-BE49-F238E27FC236}">
                  <a16:creationId xmlns:a16="http://schemas.microsoft.com/office/drawing/2014/main" id="{A8EC0DA8-268C-4E54-BB79-1E7D2319CB12}"/>
                </a:ext>
              </a:extLst>
            </p:cNvPr>
            <p:cNvSpPr>
              <a:spLocks noEditPoints="1"/>
            </p:cNvSpPr>
            <p:nvPr/>
          </p:nvSpPr>
          <p:spPr bwMode="auto">
            <a:xfrm>
              <a:off x="390" y="988"/>
              <a:ext cx="69" cy="69"/>
            </a:xfrm>
            <a:custGeom>
              <a:avLst/>
              <a:gdLst>
                <a:gd name="T0" fmla="*/ 81 w 81"/>
                <a:gd name="T1" fmla="*/ 45 h 81"/>
                <a:gd name="T2" fmla="*/ 81 w 81"/>
                <a:gd name="T3" fmla="*/ 36 h 81"/>
                <a:gd name="T4" fmla="*/ 72 w 81"/>
                <a:gd name="T5" fmla="*/ 36 h 81"/>
                <a:gd name="T6" fmla="*/ 66 w 81"/>
                <a:gd name="T7" fmla="*/ 21 h 81"/>
                <a:gd name="T8" fmla="*/ 72 w 81"/>
                <a:gd name="T9" fmla="*/ 15 h 81"/>
                <a:gd name="T10" fmla="*/ 66 w 81"/>
                <a:gd name="T11" fmla="*/ 9 h 81"/>
                <a:gd name="T12" fmla="*/ 60 w 81"/>
                <a:gd name="T13" fmla="*/ 15 h 81"/>
                <a:gd name="T14" fmla="*/ 45 w 81"/>
                <a:gd name="T15" fmla="*/ 9 h 81"/>
                <a:gd name="T16" fmla="*/ 45 w 81"/>
                <a:gd name="T17" fmla="*/ 0 h 81"/>
                <a:gd name="T18" fmla="*/ 36 w 81"/>
                <a:gd name="T19" fmla="*/ 0 h 81"/>
                <a:gd name="T20" fmla="*/ 36 w 81"/>
                <a:gd name="T21" fmla="*/ 9 h 81"/>
                <a:gd name="T22" fmla="*/ 21 w 81"/>
                <a:gd name="T23" fmla="*/ 15 h 81"/>
                <a:gd name="T24" fmla="*/ 15 w 81"/>
                <a:gd name="T25" fmla="*/ 9 h 81"/>
                <a:gd name="T26" fmla="*/ 9 w 81"/>
                <a:gd name="T27" fmla="*/ 15 h 81"/>
                <a:gd name="T28" fmla="*/ 15 w 81"/>
                <a:gd name="T29" fmla="*/ 21 h 81"/>
                <a:gd name="T30" fmla="*/ 9 w 81"/>
                <a:gd name="T31" fmla="*/ 36 h 81"/>
                <a:gd name="T32" fmla="*/ 0 w 81"/>
                <a:gd name="T33" fmla="*/ 36 h 81"/>
                <a:gd name="T34" fmla="*/ 0 w 81"/>
                <a:gd name="T35" fmla="*/ 45 h 81"/>
                <a:gd name="T36" fmla="*/ 9 w 81"/>
                <a:gd name="T37" fmla="*/ 45 h 81"/>
                <a:gd name="T38" fmla="*/ 15 w 81"/>
                <a:gd name="T39" fmla="*/ 60 h 81"/>
                <a:gd name="T40" fmla="*/ 9 w 81"/>
                <a:gd name="T41" fmla="*/ 66 h 81"/>
                <a:gd name="T42" fmla="*/ 15 w 81"/>
                <a:gd name="T43" fmla="*/ 72 h 81"/>
                <a:gd name="T44" fmla="*/ 21 w 81"/>
                <a:gd name="T45" fmla="*/ 66 h 81"/>
                <a:gd name="T46" fmla="*/ 36 w 81"/>
                <a:gd name="T47" fmla="*/ 72 h 81"/>
                <a:gd name="T48" fmla="*/ 36 w 81"/>
                <a:gd name="T49" fmla="*/ 81 h 81"/>
                <a:gd name="T50" fmla="*/ 45 w 81"/>
                <a:gd name="T51" fmla="*/ 81 h 81"/>
                <a:gd name="T52" fmla="*/ 45 w 81"/>
                <a:gd name="T53" fmla="*/ 72 h 81"/>
                <a:gd name="T54" fmla="*/ 60 w 81"/>
                <a:gd name="T55" fmla="*/ 66 h 81"/>
                <a:gd name="T56" fmla="*/ 66 w 81"/>
                <a:gd name="T57" fmla="*/ 72 h 81"/>
                <a:gd name="T58" fmla="*/ 72 w 81"/>
                <a:gd name="T59" fmla="*/ 66 h 81"/>
                <a:gd name="T60" fmla="*/ 66 w 81"/>
                <a:gd name="T61" fmla="*/ 60 h 81"/>
                <a:gd name="T62" fmla="*/ 72 w 81"/>
                <a:gd name="T63" fmla="*/ 45 h 81"/>
                <a:gd name="T64" fmla="*/ 81 w 81"/>
                <a:gd name="T65" fmla="*/ 45 h 81"/>
                <a:gd name="T66" fmla="*/ 40 w 81"/>
                <a:gd name="T67" fmla="*/ 56 h 81"/>
                <a:gd name="T68" fmla="*/ 25 w 81"/>
                <a:gd name="T69" fmla="*/ 41 h 81"/>
                <a:gd name="T70" fmla="*/ 40 w 81"/>
                <a:gd name="T71" fmla="*/ 25 h 81"/>
                <a:gd name="T72" fmla="*/ 56 w 81"/>
                <a:gd name="T73" fmla="*/ 41 h 81"/>
                <a:gd name="T74" fmla="*/ 40 w 81"/>
                <a:gd name="T75"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1">
                  <a:moveTo>
                    <a:pt x="81" y="45"/>
                  </a:moveTo>
                  <a:cubicBezTo>
                    <a:pt x="81" y="36"/>
                    <a:pt x="81" y="36"/>
                    <a:pt x="81" y="36"/>
                  </a:cubicBezTo>
                  <a:cubicBezTo>
                    <a:pt x="72" y="36"/>
                    <a:pt x="72" y="36"/>
                    <a:pt x="72" y="36"/>
                  </a:cubicBezTo>
                  <a:cubicBezTo>
                    <a:pt x="71" y="31"/>
                    <a:pt x="69" y="26"/>
                    <a:pt x="66" y="21"/>
                  </a:cubicBezTo>
                  <a:cubicBezTo>
                    <a:pt x="72" y="15"/>
                    <a:pt x="72" y="15"/>
                    <a:pt x="72" y="15"/>
                  </a:cubicBezTo>
                  <a:cubicBezTo>
                    <a:pt x="66" y="9"/>
                    <a:pt x="66" y="9"/>
                    <a:pt x="66" y="9"/>
                  </a:cubicBezTo>
                  <a:cubicBezTo>
                    <a:pt x="60" y="15"/>
                    <a:pt x="60" y="15"/>
                    <a:pt x="60" y="15"/>
                  </a:cubicBezTo>
                  <a:cubicBezTo>
                    <a:pt x="56" y="12"/>
                    <a:pt x="50" y="10"/>
                    <a:pt x="45" y="9"/>
                  </a:cubicBezTo>
                  <a:cubicBezTo>
                    <a:pt x="45" y="0"/>
                    <a:pt x="45" y="0"/>
                    <a:pt x="45" y="0"/>
                  </a:cubicBezTo>
                  <a:cubicBezTo>
                    <a:pt x="36" y="0"/>
                    <a:pt x="36" y="0"/>
                    <a:pt x="36" y="0"/>
                  </a:cubicBezTo>
                  <a:cubicBezTo>
                    <a:pt x="36" y="9"/>
                    <a:pt x="36" y="9"/>
                    <a:pt x="36" y="9"/>
                  </a:cubicBezTo>
                  <a:cubicBezTo>
                    <a:pt x="31" y="10"/>
                    <a:pt x="25" y="12"/>
                    <a:pt x="21" y="15"/>
                  </a:cubicBezTo>
                  <a:cubicBezTo>
                    <a:pt x="15" y="9"/>
                    <a:pt x="15" y="9"/>
                    <a:pt x="15" y="9"/>
                  </a:cubicBezTo>
                  <a:cubicBezTo>
                    <a:pt x="9" y="15"/>
                    <a:pt x="9" y="15"/>
                    <a:pt x="9" y="15"/>
                  </a:cubicBezTo>
                  <a:cubicBezTo>
                    <a:pt x="15" y="21"/>
                    <a:pt x="15" y="21"/>
                    <a:pt x="15" y="21"/>
                  </a:cubicBezTo>
                  <a:cubicBezTo>
                    <a:pt x="12" y="26"/>
                    <a:pt x="10" y="31"/>
                    <a:pt x="9" y="36"/>
                  </a:cubicBezTo>
                  <a:cubicBezTo>
                    <a:pt x="0" y="36"/>
                    <a:pt x="0" y="36"/>
                    <a:pt x="0" y="36"/>
                  </a:cubicBezTo>
                  <a:cubicBezTo>
                    <a:pt x="0" y="45"/>
                    <a:pt x="0" y="45"/>
                    <a:pt x="0" y="45"/>
                  </a:cubicBezTo>
                  <a:cubicBezTo>
                    <a:pt x="9" y="45"/>
                    <a:pt x="9" y="45"/>
                    <a:pt x="9" y="45"/>
                  </a:cubicBezTo>
                  <a:cubicBezTo>
                    <a:pt x="10" y="50"/>
                    <a:pt x="12" y="56"/>
                    <a:pt x="15" y="60"/>
                  </a:cubicBezTo>
                  <a:cubicBezTo>
                    <a:pt x="9" y="66"/>
                    <a:pt x="9" y="66"/>
                    <a:pt x="9" y="66"/>
                  </a:cubicBezTo>
                  <a:cubicBezTo>
                    <a:pt x="15" y="72"/>
                    <a:pt x="15" y="72"/>
                    <a:pt x="15" y="72"/>
                  </a:cubicBezTo>
                  <a:cubicBezTo>
                    <a:pt x="21" y="66"/>
                    <a:pt x="21" y="66"/>
                    <a:pt x="21" y="66"/>
                  </a:cubicBezTo>
                  <a:cubicBezTo>
                    <a:pt x="25" y="69"/>
                    <a:pt x="31" y="72"/>
                    <a:pt x="36" y="72"/>
                  </a:cubicBezTo>
                  <a:cubicBezTo>
                    <a:pt x="36" y="81"/>
                    <a:pt x="36" y="81"/>
                    <a:pt x="36" y="81"/>
                  </a:cubicBezTo>
                  <a:cubicBezTo>
                    <a:pt x="45" y="81"/>
                    <a:pt x="45" y="81"/>
                    <a:pt x="45" y="81"/>
                  </a:cubicBezTo>
                  <a:cubicBezTo>
                    <a:pt x="45" y="72"/>
                    <a:pt x="45" y="72"/>
                    <a:pt x="45" y="72"/>
                  </a:cubicBezTo>
                  <a:cubicBezTo>
                    <a:pt x="50" y="72"/>
                    <a:pt x="56" y="69"/>
                    <a:pt x="60" y="66"/>
                  </a:cubicBezTo>
                  <a:cubicBezTo>
                    <a:pt x="66" y="72"/>
                    <a:pt x="66" y="72"/>
                    <a:pt x="66" y="72"/>
                  </a:cubicBezTo>
                  <a:cubicBezTo>
                    <a:pt x="72" y="66"/>
                    <a:pt x="72" y="66"/>
                    <a:pt x="72" y="66"/>
                  </a:cubicBezTo>
                  <a:cubicBezTo>
                    <a:pt x="66" y="60"/>
                    <a:pt x="66" y="60"/>
                    <a:pt x="66" y="60"/>
                  </a:cubicBezTo>
                  <a:cubicBezTo>
                    <a:pt x="69" y="56"/>
                    <a:pt x="71" y="50"/>
                    <a:pt x="72" y="45"/>
                  </a:cubicBezTo>
                  <a:lnTo>
                    <a:pt x="81" y="45"/>
                  </a:lnTo>
                  <a:close/>
                  <a:moveTo>
                    <a:pt x="40" y="56"/>
                  </a:moveTo>
                  <a:cubicBezTo>
                    <a:pt x="32" y="56"/>
                    <a:pt x="25" y="49"/>
                    <a:pt x="25" y="41"/>
                  </a:cubicBezTo>
                  <a:cubicBezTo>
                    <a:pt x="25" y="32"/>
                    <a:pt x="32" y="25"/>
                    <a:pt x="40" y="25"/>
                  </a:cubicBezTo>
                  <a:cubicBezTo>
                    <a:pt x="49" y="25"/>
                    <a:pt x="56" y="32"/>
                    <a:pt x="56" y="41"/>
                  </a:cubicBezTo>
                  <a:cubicBezTo>
                    <a:pt x="56" y="49"/>
                    <a:pt x="49" y="56"/>
                    <a:pt x="40" y="5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99" name="Freeform 11">
              <a:extLst>
                <a:ext uri="{FF2B5EF4-FFF2-40B4-BE49-F238E27FC236}">
                  <a16:creationId xmlns:a16="http://schemas.microsoft.com/office/drawing/2014/main" id="{BE1B40E4-ED69-450A-9C43-86B612A299E9}"/>
                </a:ext>
              </a:extLst>
            </p:cNvPr>
            <p:cNvSpPr>
              <a:spLocks/>
            </p:cNvSpPr>
            <p:nvPr/>
          </p:nvSpPr>
          <p:spPr bwMode="auto">
            <a:xfrm>
              <a:off x="475" y="989"/>
              <a:ext cx="54" cy="69"/>
            </a:xfrm>
            <a:custGeom>
              <a:avLst/>
              <a:gdLst>
                <a:gd name="T0" fmla="*/ 54 w 54"/>
                <a:gd name="T1" fmla="*/ 68 h 69"/>
                <a:gd name="T2" fmla="*/ 0 w 54"/>
                <a:gd name="T3" fmla="*/ 69 h 69"/>
                <a:gd name="T4" fmla="*/ 0 w 54"/>
                <a:gd name="T5" fmla="*/ 17 h 69"/>
                <a:gd name="T6" fmla="*/ 10 w 54"/>
                <a:gd name="T7" fmla="*/ 11 h 69"/>
                <a:gd name="T8" fmla="*/ 17 w 54"/>
                <a:gd name="T9" fmla="*/ 0 h 69"/>
                <a:gd name="T10" fmla="*/ 54 w 54"/>
                <a:gd name="T11" fmla="*/ 0 h 69"/>
                <a:gd name="T12" fmla="*/ 54 w 54"/>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54" h="69">
                  <a:moveTo>
                    <a:pt x="54" y="68"/>
                  </a:moveTo>
                  <a:lnTo>
                    <a:pt x="0" y="69"/>
                  </a:lnTo>
                  <a:lnTo>
                    <a:pt x="0" y="17"/>
                  </a:lnTo>
                  <a:lnTo>
                    <a:pt x="10" y="11"/>
                  </a:lnTo>
                  <a:lnTo>
                    <a:pt x="17" y="0"/>
                  </a:lnTo>
                  <a:lnTo>
                    <a:pt x="54" y="0"/>
                  </a:lnTo>
                  <a:lnTo>
                    <a:pt x="54" y="6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0" name="Freeform 12">
              <a:extLst>
                <a:ext uri="{FF2B5EF4-FFF2-40B4-BE49-F238E27FC236}">
                  <a16:creationId xmlns:a16="http://schemas.microsoft.com/office/drawing/2014/main" id="{24AE55A9-891E-43AA-B382-4B2A28B58CBE}"/>
                </a:ext>
              </a:extLst>
            </p:cNvPr>
            <p:cNvSpPr>
              <a:spLocks/>
            </p:cNvSpPr>
            <p:nvPr/>
          </p:nvSpPr>
          <p:spPr bwMode="auto">
            <a:xfrm>
              <a:off x="475" y="989"/>
              <a:ext cx="17" cy="17"/>
            </a:xfrm>
            <a:custGeom>
              <a:avLst/>
              <a:gdLst>
                <a:gd name="T0" fmla="*/ 17 w 17"/>
                <a:gd name="T1" fmla="*/ 0 h 17"/>
                <a:gd name="T2" fmla="*/ 17 w 17"/>
                <a:gd name="T3" fmla="*/ 17 h 17"/>
                <a:gd name="T4" fmla="*/ 0 w 17"/>
                <a:gd name="T5" fmla="*/ 17 h 17"/>
                <a:gd name="T6" fmla="*/ 17 w 17"/>
                <a:gd name="T7" fmla="*/ 0 h 17"/>
              </a:gdLst>
              <a:ahLst/>
              <a:cxnLst>
                <a:cxn ang="0">
                  <a:pos x="T0" y="T1"/>
                </a:cxn>
                <a:cxn ang="0">
                  <a:pos x="T2" y="T3"/>
                </a:cxn>
                <a:cxn ang="0">
                  <a:pos x="T4" y="T5"/>
                </a:cxn>
                <a:cxn ang="0">
                  <a:pos x="T6" y="T7"/>
                </a:cxn>
              </a:cxnLst>
              <a:rect l="0" t="0" r="r" b="b"/>
              <a:pathLst>
                <a:path w="17" h="17">
                  <a:moveTo>
                    <a:pt x="17" y="0"/>
                  </a:moveTo>
                  <a:lnTo>
                    <a:pt x="17" y="17"/>
                  </a:lnTo>
                  <a:lnTo>
                    <a:pt x="0" y="17"/>
                  </a:lnTo>
                  <a:lnTo>
                    <a:pt x="1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1" name="Rectangle 13">
              <a:extLst>
                <a:ext uri="{FF2B5EF4-FFF2-40B4-BE49-F238E27FC236}">
                  <a16:creationId xmlns:a16="http://schemas.microsoft.com/office/drawing/2014/main" id="{54877B98-AEB5-4AA9-B61D-5D25DB2808F6}"/>
                </a:ext>
              </a:extLst>
            </p:cNvPr>
            <p:cNvSpPr>
              <a:spLocks noChangeArrowheads="1"/>
            </p:cNvSpPr>
            <p:nvPr/>
          </p:nvSpPr>
          <p:spPr bwMode="auto">
            <a:xfrm>
              <a:off x="563" y="1003"/>
              <a:ext cx="70"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2" name="Freeform 14">
              <a:extLst>
                <a:ext uri="{FF2B5EF4-FFF2-40B4-BE49-F238E27FC236}">
                  <a16:creationId xmlns:a16="http://schemas.microsoft.com/office/drawing/2014/main" id="{231B9692-BB82-4C95-B68A-01973136C0FF}"/>
                </a:ext>
              </a:extLst>
            </p:cNvPr>
            <p:cNvSpPr>
              <a:spLocks/>
            </p:cNvSpPr>
            <p:nvPr/>
          </p:nvSpPr>
          <p:spPr bwMode="auto">
            <a:xfrm>
              <a:off x="563" y="989"/>
              <a:ext cx="70" cy="14"/>
            </a:xfrm>
            <a:custGeom>
              <a:avLst/>
              <a:gdLst>
                <a:gd name="T0" fmla="*/ 62 w 70"/>
                <a:gd name="T1" fmla="*/ 7 h 14"/>
                <a:gd name="T2" fmla="*/ 62 w 70"/>
                <a:gd name="T3" fmla="*/ 0 h 14"/>
                <a:gd name="T4" fmla="*/ 51 w 70"/>
                <a:gd name="T5" fmla="*/ 0 h 14"/>
                <a:gd name="T6" fmla="*/ 51 w 70"/>
                <a:gd name="T7" fmla="*/ 7 h 14"/>
                <a:gd name="T8" fmla="*/ 18 w 70"/>
                <a:gd name="T9" fmla="*/ 7 h 14"/>
                <a:gd name="T10" fmla="*/ 18 w 70"/>
                <a:gd name="T11" fmla="*/ 0 h 14"/>
                <a:gd name="T12" fmla="*/ 7 w 70"/>
                <a:gd name="T13" fmla="*/ 0 h 14"/>
                <a:gd name="T14" fmla="*/ 7 w 70"/>
                <a:gd name="T15" fmla="*/ 7 h 14"/>
                <a:gd name="T16" fmla="*/ 0 w 70"/>
                <a:gd name="T17" fmla="*/ 7 h 14"/>
                <a:gd name="T18" fmla="*/ 0 w 70"/>
                <a:gd name="T19" fmla="*/ 14 h 14"/>
                <a:gd name="T20" fmla="*/ 70 w 70"/>
                <a:gd name="T21" fmla="*/ 14 h 14"/>
                <a:gd name="T22" fmla="*/ 70 w 70"/>
                <a:gd name="T23" fmla="*/ 7 h 14"/>
                <a:gd name="T24" fmla="*/ 62 w 70"/>
                <a:gd name="T2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4">
                  <a:moveTo>
                    <a:pt x="62" y="7"/>
                  </a:moveTo>
                  <a:lnTo>
                    <a:pt x="62" y="0"/>
                  </a:lnTo>
                  <a:lnTo>
                    <a:pt x="51" y="0"/>
                  </a:lnTo>
                  <a:lnTo>
                    <a:pt x="51" y="7"/>
                  </a:lnTo>
                  <a:lnTo>
                    <a:pt x="18" y="7"/>
                  </a:lnTo>
                  <a:lnTo>
                    <a:pt x="18" y="0"/>
                  </a:lnTo>
                  <a:lnTo>
                    <a:pt x="7" y="0"/>
                  </a:lnTo>
                  <a:lnTo>
                    <a:pt x="7" y="7"/>
                  </a:lnTo>
                  <a:lnTo>
                    <a:pt x="0" y="7"/>
                  </a:lnTo>
                  <a:lnTo>
                    <a:pt x="0" y="14"/>
                  </a:lnTo>
                  <a:lnTo>
                    <a:pt x="70" y="14"/>
                  </a:lnTo>
                  <a:lnTo>
                    <a:pt x="70" y="7"/>
                  </a:lnTo>
                  <a:lnTo>
                    <a:pt x="62" y="7"/>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3" name="Rectangle 15">
              <a:extLst>
                <a:ext uri="{FF2B5EF4-FFF2-40B4-BE49-F238E27FC236}">
                  <a16:creationId xmlns:a16="http://schemas.microsoft.com/office/drawing/2014/main" id="{A4B3DBAB-CE21-4D2D-BA94-1994C4298971}"/>
                </a:ext>
              </a:extLst>
            </p:cNvPr>
            <p:cNvSpPr>
              <a:spLocks noChangeArrowheads="1"/>
            </p:cNvSpPr>
            <p:nvPr/>
          </p:nvSpPr>
          <p:spPr bwMode="auto">
            <a:xfrm>
              <a:off x="649" y="1050"/>
              <a:ext cx="69" cy="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4" name="Rectangle 16">
              <a:extLst>
                <a:ext uri="{FF2B5EF4-FFF2-40B4-BE49-F238E27FC236}">
                  <a16:creationId xmlns:a16="http://schemas.microsoft.com/office/drawing/2014/main" id="{BFEA7BF1-7253-40F1-930A-6528F1AF1FE9}"/>
                </a:ext>
              </a:extLst>
            </p:cNvPr>
            <p:cNvSpPr>
              <a:spLocks noChangeArrowheads="1"/>
            </p:cNvSpPr>
            <p:nvPr/>
          </p:nvSpPr>
          <p:spPr bwMode="auto">
            <a:xfrm>
              <a:off x="679" y="1043"/>
              <a:ext cx="9" cy="11"/>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5" name="Rectangle 17">
              <a:extLst>
                <a:ext uri="{FF2B5EF4-FFF2-40B4-BE49-F238E27FC236}">
                  <a16:creationId xmlns:a16="http://schemas.microsoft.com/office/drawing/2014/main" id="{56C7B4B4-494F-47B7-B298-5F089B64888A}"/>
                </a:ext>
              </a:extLst>
            </p:cNvPr>
            <p:cNvSpPr>
              <a:spLocks noChangeArrowheads="1"/>
            </p:cNvSpPr>
            <p:nvPr/>
          </p:nvSpPr>
          <p:spPr bwMode="auto">
            <a:xfrm>
              <a:off x="570" y="1014"/>
              <a:ext cx="15" cy="1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6" name="Rectangle 18">
              <a:extLst>
                <a:ext uri="{FF2B5EF4-FFF2-40B4-BE49-F238E27FC236}">
                  <a16:creationId xmlns:a16="http://schemas.microsoft.com/office/drawing/2014/main" id="{3BB59891-7364-4402-ACEB-5C8E309F28CD}"/>
                </a:ext>
              </a:extLst>
            </p:cNvPr>
            <p:cNvSpPr>
              <a:spLocks noChangeArrowheads="1"/>
            </p:cNvSpPr>
            <p:nvPr/>
          </p:nvSpPr>
          <p:spPr bwMode="auto">
            <a:xfrm>
              <a:off x="610" y="1014"/>
              <a:ext cx="15" cy="1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7" name="Freeform 19">
              <a:extLst>
                <a:ext uri="{FF2B5EF4-FFF2-40B4-BE49-F238E27FC236}">
                  <a16:creationId xmlns:a16="http://schemas.microsoft.com/office/drawing/2014/main" id="{A38F8CB3-7D1F-427D-AD91-542B3493B592}"/>
                </a:ext>
              </a:extLst>
            </p:cNvPr>
            <p:cNvSpPr>
              <a:spLocks/>
            </p:cNvSpPr>
            <p:nvPr/>
          </p:nvSpPr>
          <p:spPr bwMode="auto">
            <a:xfrm>
              <a:off x="591" y="1014"/>
              <a:ext cx="14" cy="15"/>
            </a:xfrm>
            <a:custGeom>
              <a:avLst/>
              <a:gdLst>
                <a:gd name="T0" fmla="*/ 14 w 14"/>
                <a:gd name="T1" fmla="*/ 0 h 15"/>
                <a:gd name="T2" fmla="*/ 0 w 14"/>
                <a:gd name="T3" fmla="*/ 0 h 15"/>
                <a:gd name="T4" fmla="*/ 0 w 14"/>
                <a:gd name="T5" fmla="*/ 15 h 15"/>
                <a:gd name="T6" fmla="*/ 14 w 14"/>
                <a:gd name="T7" fmla="*/ 15 h 15"/>
                <a:gd name="T8" fmla="*/ 14 w 14"/>
                <a:gd name="T9" fmla="*/ 0 h 15"/>
                <a:gd name="T10" fmla="*/ 14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14" y="0"/>
                  </a:moveTo>
                  <a:lnTo>
                    <a:pt x="0" y="0"/>
                  </a:lnTo>
                  <a:lnTo>
                    <a:pt x="0" y="15"/>
                  </a:lnTo>
                  <a:lnTo>
                    <a:pt x="14" y="15"/>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8" name="Rectangle 20">
              <a:extLst>
                <a:ext uri="{FF2B5EF4-FFF2-40B4-BE49-F238E27FC236}">
                  <a16:creationId xmlns:a16="http://schemas.microsoft.com/office/drawing/2014/main" id="{FBA7F969-803B-4CE4-94BD-49684AFDC513}"/>
                </a:ext>
              </a:extLst>
            </p:cNvPr>
            <p:cNvSpPr>
              <a:spLocks noChangeArrowheads="1"/>
            </p:cNvSpPr>
            <p:nvPr/>
          </p:nvSpPr>
          <p:spPr bwMode="auto">
            <a:xfrm>
              <a:off x="570" y="1036"/>
              <a:ext cx="15"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09" name="Rectangle 21">
              <a:extLst>
                <a:ext uri="{FF2B5EF4-FFF2-40B4-BE49-F238E27FC236}">
                  <a16:creationId xmlns:a16="http://schemas.microsoft.com/office/drawing/2014/main" id="{BE5CD272-B562-402D-AAFC-F399D8BDD063}"/>
                </a:ext>
              </a:extLst>
            </p:cNvPr>
            <p:cNvSpPr>
              <a:spLocks noChangeArrowheads="1"/>
            </p:cNvSpPr>
            <p:nvPr/>
          </p:nvSpPr>
          <p:spPr bwMode="auto">
            <a:xfrm>
              <a:off x="610" y="1036"/>
              <a:ext cx="15" cy="14"/>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0" name="Freeform 22">
              <a:extLst>
                <a:ext uri="{FF2B5EF4-FFF2-40B4-BE49-F238E27FC236}">
                  <a16:creationId xmlns:a16="http://schemas.microsoft.com/office/drawing/2014/main" id="{E3A2DDC2-21DF-4F99-84AE-2B8397237EE8}"/>
                </a:ext>
              </a:extLst>
            </p:cNvPr>
            <p:cNvSpPr>
              <a:spLocks/>
            </p:cNvSpPr>
            <p:nvPr/>
          </p:nvSpPr>
          <p:spPr bwMode="auto">
            <a:xfrm>
              <a:off x="591" y="1036"/>
              <a:ext cx="14" cy="14"/>
            </a:xfrm>
            <a:custGeom>
              <a:avLst/>
              <a:gdLst>
                <a:gd name="T0" fmla="*/ 14 w 14"/>
                <a:gd name="T1" fmla="*/ 0 h 14"/>
                <a:gd name="T2" fmla="*/ 0 w 14"/>
                <a:gd name="T3" fmla="*/ 0 h 14"/>
                <a:gd name="T4" fmla="*/ 0 w 14"/>
                <a:gd name="T5" fmla="*/ 14 h 14"/>
                <a:gd name="T6" fmla="*/ 14 w 14"/>
                <a:gd name="T7" fmla="*/ 14 h 14"/>
                <a:gd name="T8" fmla="*/ 14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0" y="0"/>
                  </a:lnTo>
                  <a:lnTo>
                    <a:pt x="0" y="14"/>
                  </a:lnTo>
                  <a:lnTo>
                    <a:pt x="14" y="14"/>
                  </a:lnTo>
                  <a:lnTo>
                    <a:pt x="14" y="0"/>
                  </a:lnTo>
                  <a:lnTo>
                    <a:pt x="1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1" name="Rectangle 23">
              <a:extLst>
                <a:ext uri="{FF2B5EF4-FFF2-40B4-BE49-F238E27FC236}">
                  <a16:creationId xmlns:a16="http://schemas.microsoft.com/office/drawing/2014/main" id="{4F893E03-A686-447A-857B-F4B07C21C1DD}"/>
                </a:ext>
              </a:extLst>
            </p:cNvPr>
            <p:cNvSpPr>
              <a:spLocks noChangeArrowheads="1"/>
            </p:cNvSpPr>
            <p:nvPr/>
          </p:nvSpPr>
          <p:spPr bwMode="auto">
            <a:xfrm>
              <a:off x="649" y="989"/>
              <a:ext cx="69" cy="5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2" name="Rectangle 24">
              <a:extLst>
                <a:ext uri="{FF2B5EF4-FFF2-40B4-BE49-F238E27FC236}">
                  <a16:creationId xmlns:a16="http://schemas.microsoft.com/office/drawing/2014/main" id="{BBF17E30-402B-4BE5-8081-7B80D2129B2B}"/>
                </a:ext>
              </a:extLst>
            </p:cNvPr>
            <p:cNvSpPr>
              <a:spLocks noChangeArrowheads="1"/>
            </p:cNvSpPr>
            <p:nvPr/>
          </p:nvSpPr>
          <p:spPr bwMode="auto">
            <a:xfrm>
              <a:off x="656" y="996"/>
              <a:ext cx="54" cy="4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3" name="Freeform 25">
              <a:extLst>
                <a:ext uri="{FF2B5EF4-FFF2-40B4-BE49-F238E27FC236}">
                  <a16:creationId xmlns:a16="http://schemas.microsoft.com/office/drawing/2014/main" id="{E3882432-BC19-42D7-9FBF-1FD6E379F9FA}"/>
                </a:ext>
              </a:extLst>
            </p:cNvPr>
            <p:cNvSpPr>
              <a:spLocks noEditPoints="1"/>
            </p:cNvSpPr>
            <p:nvPr/>
          </p:nvSpPr>
          <p:spPr bwMode="auto">
            <a:xfrm>
              <a:off x="649" y="989"/>
              <a:ext cx="69" cy="54"/>
            </a:xfrm>
            <a:custGeom>
              <a:avLst/>
              <a:gdLst>
                <a:gd name="T0" fmla="*/ 0 w 69"/>
                <a:gd name="T1" fmla="*/ 0 h 54"/>
                <a:gd name="T2" fmla="*/ 0 w 69"/>
                <a:gd name="T3" fmla="*/ 54 h 54"/>
                <a:gd name="T4" fmla="*/ 69 w 69"/>
                <a:gd name="T5" fmla="*/ 54 h 54"/>
                <a:gd name="T6" fmla="*/ 69 w 69"/>
                <a:gd name="T7" fmla="*/ 0 h 54"/>
                <a:gd name="T8" fmla="*/ 0 w 69"/>
                <a:gd name="T9" fmla="*/ 0 h 54"/>
                <a:gd name="T10" fmla="*/ 61 w 69"/>
                <a:gd name="T11" fmla="*/ 48 h 54"/>
                <a:gd name="T12" fmla="*/ 7 w 69"/>
                <a:gd name="T13" fmla="*/ 48 h 54"/>
                <a:gd name="T14" fmla="*/ 7 w 69"/>
                <a:gd name="T15" fmla="*/ 7 h 54"/>
                <a:gd name="T16" fmla="*/ 61 w 69"/>
                <a:gd name="T17" fmla="*/ 7 h 54"/>
                <a:gd name="T18" fmla="*/ 61 w 69"/>
                <a:gd name="T1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54">
                  <a:moveTo>
                    <a:pt x="0" y="0"/>
                  </a:moveTo>
                  <a:lnTo>
                    <a:pt x="0" y="54"/>
                  </a:lnTo>
                  <a:lnTo>
                    <a:pt x="69" y="54"/>
                  </a:lnTo>
                  <a:lnTo>
                    <a:pt x="69" y="0"/>
                  </a:lnTo>
                  <a:lnTo>
                    <a:pt x="0" y="0"/>
                  </a:lnTo>
                  <a:close/>
                  <a:moveTo>
                    <a:pt x="61" y="48"/>
                  </a:moveTo>
                  <a:lnTo>
                    <a:pt x="7" y="48"/>
                  </a:lnTo>
                  <a:lnTo>
                    <a:pt x="7" y="7"/>
                  </a:lnTo>
                  <a:lnTo>
                    <a:pt x="61" y="7"/>
                  </a:lnTo>
                  <a:lnTo>
                    <a:pt x="61" y="48"/>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4" name="Freeform 26">
              <a:extLst>
                <a:ext uri="{FF2B5EF4-FFF2-40B4-BE49-F238E27FC236}">
                  <a16:creationId xmlns:a16="http://schemas.microsoft.com/office/drawing/2014/main" id="{D69881B7-EA00-43D1-8F47-15007C2CA14E}"/>
                </a:ext>
              </a:extLst>
            </p:cNvPr>
            <p:cNvSpPr>
              <a:spLocks/>
            </p:cNvSpPr>
            <p:nvPr/>
          </p:nvSpPr>
          <p:spPr bwMode="auto">
            <a:xfrm>
              <a:off x="422" y="885"/>
              <a:ext cx="266" cy="88"/>
            </a:xfrm>
            <a:custGeom>
              <a:avLst/>
              <a:gdLst>
                <a:gd name="T0" fmla="*/ 137 w 266"/>
                <a:gd name="T1" fmla="*/ 35 h 88"/>
                <a:gd name="T2" fmla="*/ 137 w 266"/>
                <a:gd name="T3" fmla="*/ 0 h 88"/>
                <a:gd name="T4" fmla="*/ 128 w 266"/>
                <a:gd name="T5" fmla="*/ 0 h 88"/>
                <a:gd name="T6" fmla="*/ 128 w 266"/>
                <a:gd name="T7" fmla="*/ 35 h 88"/>
                <a:gd name="T8" fmla="*/ 0 w 266"/>
                <a:gd name="T9" fmla="*/ 35 h 88"/>
                <a:gd name="T10" fmla="*/ 0 w 266"/>
                <a:gd name="T11" fmla="*/ 88 h 88"/>
                <a:gd name="T12" fmla="*/ 10 w 266"/>
                <a:gd name="T13" fmla="*/ 88 h 88"/>
                <a:gd name="T14" fmla="*/ 10 w 266"/>
                <a:gd name="T15" fmla="*/ 43 h 88"/>
                <a:gd name="T16" fmla="*/ 257 w 266"/>
                <a:gd name="T17" fmla="*/ 43 h 88"/>
                <a:gd name="T18" fmla="*/ 257 w 266"/>
                <a:gd name="T19" fmla="*/ 88 h 88"/>
                <a:gd name="T20" fmla="*/ 266 w 266"/>
                <a:gd name="T21" fmla="*/ 88 h 88"/>
                <a:gd name="T22" fmla="*/ 266 w 266"/>
                <a:gd name="T23" fmla="*/ 35 h 88"/>
                <a:gd name="T24" fmla="*/ 137 w 266"/>
                <a:gd name="T25"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88">
                  <a:moveTo>
                    <a:pt x="137" y="35"/>
                  </a:moveTo>
                  <a:lnTo>
                    <a:pt x="137" y="0"/>
                  </a:lnTo>
                  <a:lnTo>
                    <a:pt x="128" y="0"/>
                  </a:lnTo>
                  <a:lnTo>
                    <a:pt x="128" y="35"/>
                  </a:lnTo>
                  <a:lnTo>
                    <a:pt x="0" y="35"/>
                  </a:lnTo>
                  <a:lnTo>
                    <a:pt x="0" y="88"/>
                  </a:lnTo>
                  <a:lnTo>
                    <a:pt x="10" y="88"/>
                  </a:lnTo>
                  <a:lnTo>
                    <a:pt x="10" y="43"/>
                  </a:lnTo>
                  <a:lnTo>
                    <a:pt x="257" y="43"/>
                  </a:lnTo>
                  <a:lnTo>
                    <a:pt x="257" y="88"/>
                  </a:lnTo>
                  <a:lnTo>
                    <a:pt x="266" y="88"/>
                  </a:lnTo>
                  <a:lnTo>
                    <a:pt x="266" y="35"/>
                  </a:lnTo>
                  <a:lnTo>
                    <a:pt x="137" y="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115" name="Graphic 185" descr="data, profit, cost savings">
            <a:extLst>
              <a:ext uri="{FF2B5EF4-FFF2-40B4-BE49-F238E27FC236}">
                <a16:creationId xmlns:a16="http://schemas.microsoft.com/office/drawing/2014/main" id="{283F12B4-FBF0-4BD4-A3ED-D7917575CA6E}"/>
              </a:ext>
            </a:extLst>
          </p:cNvPr>
          <p:cNvGrpSpPr>
            <a:grpSpLocks noChangeAspect="1"/>
          </p:cNvGrpSpPr>
          <p:nvPr/>
        </p:nvGrpSpPr>
        <p:grpSpPr>
          <a:xfrm>
            <a:off x="4402393" y="1495345"/>
            <a:ext cx="433572" cy="433569"/>
            <a:chOff x="2631995" y="3078480"/>
            <a:chExt cx="374920" cy="374918"/>
          </a:xfrm>
        </p:grpSpPr>
        <p:sp>
          <p:nvSpPr>
            <p:cNvPr id="116" name="Freeform: Shape 115">
              <a:extLst>
                <a:ext uri="{FF2B5EF4-FFF2-40B4-BE49-F238E27FC236}">
                  <a16:creationId xmlns:a16="http://schemas.microsoft.com/office/drawing/2014/main" id="{7709FE89-5541-4618-9F66-97D190671B19}"/>
                </a:ext>
              </a:extLst>
            </p:cNvPr>
            <p:cNvSpPr/>
            <p:nvPr/>
          </p:nvSpPr>
          <p:spPr>
            <a:xfrm>
              <a:off x="2947497" y="3371850"/>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7" name="Freeform: Shape 116">
              <a:extLst>
                <a:ext uri="{FF2B5EF4-FFF2-40B4-BE49-F238E27FC236}">
                  <a16:creationId xmlns:a16="http://schemas.microsoft.com/office/drawing/2014/main" id="{1157F113-1915-4905-AAF7-B0EF81058B6C}"/>
                </a:ext>
              </a:extLst>
            </p:cNvPr>
            <p:cNvSpPr/>
            <p:nvPr/>
          </p:nvSpPr>
          <p:spPr>
            <a:xfrm>
              <a:off x="2868955" y="3333395"/>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8" name="Freeform: Shape 117">
              <a:extLst>
                <a:ext uri="{FF2B5EF4-FFF2-40B4-BE49-F238E27FC236}">
                  <a16:creationId xmlns:a16="http://schemas.microsoft.com/office/drawing/2014/main" id="{22AF7008-DB46-4E15-89AF-92305FB3663F}"/>
                </a:ext>
              </a:extLst>
            </p:cNvPr>
            <p:cNvSpPr/>
            <p:nvPr/>
          </p:nvSpPr>
          <p:spPr>
            <a:xfrm>
              <a:off x="2713119" y="3157093"/>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9" name="Freeform: Shape 118">
              <a:extLst>
                <a:ext uri="{FF2B5EF4-FFF2-40B4-BE49-F238E27FC236}">
                  <a16:creationId xmlns:a16="http://schemas.microsoft.com/office/drawing/2014/main" id="{1393A5A3-A129-42E7-AB43-1325DD27DDF4}"/>
                </a:ext>
              </a:extLst>
            </p:cNvPr>
            <p:cNvSpPr/>
            <p:nvPr/>
          </p:nvSpPr>
          <p:spPr>
            <a:xfrm>
              <a:off x="2791720" y="3254854"/>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0" name="Freeform: Shape 119">
              <a:extLst>
                <a:ext uri="{FF2B5EF4-FFF2-40B4-BE49-F238E27FC236}">
                  <a16:creationId xmlns:a16="http://schemas.microsoft.com/office/drawing/2014/main" id="{B8A391C2-BF18-4216-93C4-32C7B59E81A3}"/>
                </a:ext>
              </a:extLst>
            </p:cNvPr>
            <p:cNvSpPr/>
            <p:nvPr/>
          </p:nvSpPr>
          <p:spPr>
            <a:xfrm>
              <a:off x="2634513" y="3079730"/>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0078D4"/>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21" name="Freeform: Shape 120">
              <a:extLst>
                <a:ext uri="{FF2B5EF4-FFF2-40B4-BE49-F238E27FC236}">
                  <a16:creationId xmlns:a16="http://schemas.microsoft.com/office/drawing/2014/main" id="{7AC27FA7-5C49-4867-98B3-16824F0BF1A8}"/>
                </a:ext>
              </a:extLst>
            </p:cNvPr>
            <p:cNvSpPr/>
            <p:nvPr/>
          </p:nvSpPr>
          <p:spPr>
            <a:xfrm>
              <a:off x="2890399" y="3079730"/>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rgbClr val="50E6FF"/>
            </a:solidFill>
            <a:ln w="3830"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122" name="Rectangle 121">
            <a:extLst>
              <a:ext uri="{FF2B5EF4-FFF2-40B4-BE49-F238E27FC236}">
                <a16:creationId xmlns:a16="http://schemas.microsoft.com/office/drawing/2014/main" id="{ACDBF215-2101-472D-B04B-A62C0F4CABA8}"/>
              </a:ext>
            </a:extLst>
          </p:cNvPr>
          <p:cNvSpPr/>
          <p:nvPr/>
        </p:nvSpPr>
        <p:spPr>
          <a:xfrm>
            <a:off x="1027039" y="5435645"/>
            <a:ext cx="4544617" cy="606488"/>
          </a:xfrm>
          <a:prstGeom prst="rect">
            <a:avLst/>
          </a:prstGeom>
        </p:spPr>
        <p:txBody>
          <a:bodyPr wrap="square">
            <a:spAutoFit/>
          </a:bodyPr>
          <a:lstStyle/>
          <a:p>
            <a:pPr defTabSz="932597">
              <a:defRPr/>
            </a:pPr>
            <a:r>
              <a:rPr lang="en-US" sz="1632" b="1">
                <a:solidFill>
                  <a:srgbClr val="002050"/>
                </a:solidFill>
                <a:latin typeface="Segoe UI Light"/>
              </a:rPr>
              <a:t>Best for </a:t>
            </a:r>
            <a:r>
              <a:rPr lang="en-US" sz="1632">
                <a:solidFill>
                  <a:srgbClr val="002050"/>
                </a:solidFill>
                <a:latin typeface="Segoe UI Light"/>
              </a:rPr>
              <a:t>unpredictable and intermittent workloads on </a:t>
            </a:r>
            <a:r>
              <a:rPr lang="en-US" sz="1632" b="1">
                <a:solidFill>
                  <a:srgbClr val="002050"/>
                </a:solidFill>
                <a:latin typeface="Segoe UI Light"/>
              </a:rPr>
              <a:t>single databases, such as:</a:t>
            </a:r>
          </a:p>
        </p:txBody>
      </p:sp>
      <p:grpSp>
        <p:nvGrpSpPr>
          <p:cNvPr id="3" name="Group 2">
            <a:extLst>
              <a:ext uri="{FF2B5EF4-FFF2-40B4-BE49-F238E27FC236}">
                <a16:creationId xmlns:a16="http://schemas.microsoft.com/office/drawing/2014/main" id="{ABF575BB-EC5B-4DF4-BD55-C3DB5150B2B6}"/>
              </a:ext>
            </a:extLst>
          </p:cNvPr>
          <p:cNvGrpSpPr/>
          <p:nvPr/>
        </p:nvGrpSpPr>
        <p:grpSpPr>
          <a:xfrm>
            <a:off x="5735989" y="5397274"/>
            <a:ext cx="908825" cy="836654"/>
            <a:chOff x="5735989" y="5370114"/>
            <a:chExt cx="908825" cy="836654"/>
          </a:xfrm>
        </p:grpSpPr>
        <p:grpSp>
          <p:nvGrpSpPr>
            <p:cNvPr id="123" name="Group 122">
              <a:extLst>
                <a:ext uri="{FF2B5EF4-FFF2-40B4-BE49-F238E27FC236}">
                  <a16:creationId xmlns:a16="http://schemas.microsoft.com/office/drawing/2014/main" id="{DA608B19-6265-4122-AD2A-AD6895FF6905}"/>
                </a:ext>
              </a:extLst>
            </p:cNvPr>
            <p:cNvGrpSpPr/>
            <p:nvPr/>
          </p:nvGrpSpPr>
          <p:grpSpPr>
            <a:xfrm>
              <a:off x="5867267" y="5370114"/>
              <a:ext cx="653499" cy="653499"/>
              <a:chOff x="7298836" y="5485888"/>
              <a:chExt cx="704850" cy="704850"/>
            </a:xfrm>
          </p:grpSpPr>
          <p:sp>
            <p:nvSpPr>
              <p:cNvPr id="124" name="Rectangle 123">
                <a:extLst>
                  <a:ext uri="{FF2B5EF4-FFF2-40B4-BE49-F238E27FC236}">
                    <a16:creationId xmlns:a16="http://schemas.microsoft.com/office/drawing/2014/main" id="{0C7953E6-096F-4D93-B30B-566329255106}"/>
                  </a:ext>
                </a:extLst>
              </p:cNvPr>
              <p:cNvSpPr/>
              <p:nvPr/>
            </p:nvSpPr>
            <p:spPr bwMode="auto">
              <a:xfrm>
                <a:off x="7298836" y="5485888"/>
                <a:ext cx="704850" cy="7048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16" descr="trial, testing, development">
                <a:extLst>
                  <a:ext uri="{FF2B5EF4-FFF2-40B4-BE49-F238E27FC236}">
                    <a16:creationId xmlns:a16="http://schemas.microsoft.com/office/drawing/2014/main" id="{CD7DE1BA-F7A9-424D-9CF1-93AFF7CE99FD}"/>
                  </a:ext>
                </a:extLst>
              </p:cNvPr>
              <p:cNvGrpSpPr/>
              <p:nvPr/>
            </p:nvGrpSpPr>
            <p:grpSpPr>
              <a:xfrm>
                <a:off x="7440033" y="5671261"/>
                <a:ext cx="416288" cy="329645"/>
                <a:chOff x="11039341" y="4833217"/>
                <a:chExt cx="416288" cy="329645"/>
              </a:xfrm>
            </p:grpSpPr>
            <p:sp>
              <p:nvSpPr>
                <p:cNvPr id="126" name="Freeform: Shape 125">
                  <a:extLst>
                    <a:ext uri="{FF2B5EF4-FFF2-40B4-BE49-F238E27FC236}">
                      <a16:creationId xmlns:a16="http://schemas.microsoft.com/office/drawing/2014/main" id="{1906707F-B641-4440-A4EF-8F607F72C611}"/>
                    </a:ext>
                  </a:extLst>
                </p:cNvPr>
                <p:cNvSpPr/>
                <p:nvPr/>
              </p:nvSpPr>
              <p:spPr>
                <a:xfrm>
                  <a:off x="11039341" y="4841974"/>
                  <a:ext cx="416288" cy="320888"/>
                </a:xfrm>
                <a:custGeom>
                  <a:avLst/>
                  <a:gdLst>
                    <a:gd name="connsiteX0" fmla="*/ 1475 w 416287"/>
                    <a:gd name="connsiteY0" fmla="*/ 322017 h 320888"/>
                    <a:gd name="connsiteX1" fmla="*/ 417763 w 416287"/>
                    <a:gd name="connsiteY1" fmla="*/ 322017 h 320888"/>
                    <a:gd name="connsiteX2" fmla="*/ 417763 w 416287"/>
                    <a:gd name="connsiteY2" fmla="*/ 1475 h 320888"/>
                    <a:gd name="connsiteX3" fmla="*/ 1475 w 416287"/>
                    <a:gd name="connsiteY3" fmla="*/ 1475 h 320888"/>
                    <a:gd name="connsiteX4" fmla="*/ 1475 w 416287"/>
                    <a:gd name="connsiteY4" fmla="*/ 322017 h 32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320888">
                      <a:moveTo>
                        <a:pt x="1475" y="322017"/>
                      </a:moveTo>
                      <a:lnTo>
                        <a:pt x="417763" y="322017"/>
                      </a:lnTo>
                      <a:lnTo>
                        <a:pt x="417763" y="1475"/>
                      </a:lnTo>
                      <a:lnTo>
                        <a:pt x="1475" y="1475"/>
                      </a:lnTo>
                      <a:lnTo>
                        <a:pt x="1475" y="322017"/>
                      </a:lnTo>
                      <a:close/>
                    </a:path>
                  </a:pathLst>
                </a:custGeom>
                <a:solidFill>
                  <a:srgbClr val="0078D4"/>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7" name="Freeform: Shape 126">
                  <a:extLst>
                    <a:ext uri="{FF2B5EF4-FFF2-40B4-BE49-F238E27FC236}">
                      <a16:creationId xmlns:a16="http://schemas.microsoft.com/office/drawing/2014/main" id="{2FAF3250-1D39-4F11-902D-9075D284C571}"/>
                    </a:ext>
                  </a:extLst>
                </p:cNvPr>
                <p:cNvSpPr/>
                <p:nvPr/>
              </p:nvSpPr>
              <p:spPr>
                <a:xfrm>
                  <a:off x="11039341" y="4833217"/>
                  <a:ext cx="416288" cy="43363"/>
                </a:xfrm>
                <a:custGeom>
                  <a:avLst/>
                  <a:gdLst>
                    <a:gd name="connsiteX0" fmla="*/ 1475 w 416287"/>
                    <a:gd name="connsiteY0" fmla="*/ 44857 h 43363"/>
                    <a:gd name="connsiteX1" fmla="*/ 417617 w 416287"/>
                    <a:gd name="connsiteY1" fmla="*/ 44857 h 43363"/>
                    <a:gd name="connsiteX2" fmla="*/ 417617 w 416287"/>
                    <a:gd name="connsiteY2" fmla="*/ 1475 h 43363"/>
                    <a:gd name="connsiteX3" fmla="*/ 1475 w 416287"/>
                    <a:gd name="connsiteY3" fmla="*/ 1475 h 43363"/>
                    <a:gd name="connsiteX4" fmla="*/ 1475 w 416287"/>
                    <a:gd name="connsiteY4" fmla="*/ 44857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87" h="43363">
                      <a:moveTo>
                        <a:pt x="1475" y="44857"/>
                      </a:moveTo>
                      <a:lnTo>
                        <a:pt x="417617" y="44857"/>
                      </a:lnTo>
                      <a:lnTo>
                        <a:pt x="417617" y="1475"/>
                      </a:lnTo>
                      <a:lnTo>
                        <a:pt x="1475" y="1475"/>
                      </a:lnTo>
                      <a:lnTo>
                        <a:pt x="1475" y="44857"/>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8" name="Freeform: Shape 127">
                  <a:extLst>
                    <a:ext uri="{FF2B5EF4-FFF2-40B4-BE49-F238E27FC236}">
                      <a16:creationId xmlns:a16="http://schemas.microsoft.com/office/drawing/2014/main" id="{63CA2CA6-0A4A-4AAA-BE35-A5388FE6D08E}"/>
                    </a:ext>
                  </a:extLst>
                </p:cNvPr>
                <p:cNvSpPr/>
                <p:nvPr/>
              </p:nvSpPr>
              <p:spPr>
                <a:xfrm>
                  <a:off x="11093604"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3" y="22655"/>
                        <a:pt x="22655" y="17914"/>
                        <a:pt x="22655" y="12065"/>
                      </a:cubicBezTo>
                      <a:cubicBezTo>
                        <a:pt x="22655" y="6217"/>
                        <a:pt x="17913"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29" name="Freeform: Shape 128">
                  <a:extLst>
                    <a:ext uri="{FF2B5EF4-FFF2-40B4-BE49-F238E27FC236}">
                      <a16:creationId xmlns:a16="http://schemas.microsoft.com/office/drawing/2014/main" id="{4D815084-E001-412C-A90D-092E0EEE321F}"/>
                    </a:ext>
                  </a:extLst>
                </p:cNvPr>
                <p:cNvSpPr/>
                <p:nvPr/>
              </p:nvSpPr>
              <p:spPr>
                <a:xfrm>
                  <a:off x="11060739"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6" y="1475"/>
                        <a:pt x="1475" y="6217"/>
                        <a:pt x="1475" y="12065"/>
                      </a:cubicBezTo>
                      <a:cubicBezTo>
                        <a:pt x="1475" y="17914"/>
                        <a:pt x="6216"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0" name="Freeform: Shape 129">
                  <a:extLst>
                    <a:ext uri="{FF2B5EF4-FFF2-40B4-BE49-F238E27FC236}">
                      <a16:creationId xmlns:a16="http://schemas.microsoft.com/office/drawing/2014/main" id="{72A3FDA2-EBBD-4F56-B9F5-BB9152414D3A}"/>
                    </a:ext>
                  </a:extLst>
                </p:cNvPr>
                <p:cNvSpPr/>
                <p:nvPr/>
              </p:nvSpPr>
              <p:spPr>
                <a:xfrm>
                  <a:off x="11127198" y="4845193"/>
                  <a:ext cx="21682" cy="21682"/>
                </a:xfrm>
                <a:custGeom>
                  <a:avLst/>
                  <a:gdLst>
                    <a:gd name="connsiteX0" fmla="*/ 12065 w 21681"/>
                    <a:gd name="connsiteY0" fmla="*/ 22655 h 21681"/>
                    <a:gd name="connsiteX1" fmla="*/ 22655 w 21681"/>
                    <a:gd name="connsiteY1" fmla="*/ 12065 h 21681"/>
                    <a:gd name="connsiteX2" fmla="*/ 12065 w 21681"/>
                    <a:gd name="connsiteY2" fmla="*/ 1475 h 21681"/>
                    <a:gd name="connsiteX3" fmla="*/ 1475 w 21681"/>
                    <a:gd name="connsiteY3" fmla="*/ 12065 h 21681"/>
                    <a:gd name="connsiteX4" fmla="*/ 12065 w 21681"/>
                    <a:gd name="connsiteY4" fmla="*/ 22655 h 21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81" h="21681">
                      <a:moveTo>
                        <a:pt x="12065" y="22655"/>
                      </a:moveTo>
                      <a:cubicBezTo>
                        <a:pt x="17914" y="22655"/>
                        <a:pt x="22655" y="17914"/>
                        <a:pt x="22655" y="12065"/>
                      </a:cubicBezTo>
                      <a:cubicBezTo>
                        <a:pt x="22655" y="6217"/>
                        <a:pt x="17914" y="1475"/>
                        <a:pt x="12065" y="1475"/>
                      </a:cubicBezTo>
                      <a:cubicBezTo>
                        <a:pt x="6217" y="1475"/>
                        <a:pt x="1475" y="6217"/>
                        <a:pt x="1475" y="12065"/>
                      </a:cubicBezTo>
                      <a:cubicBezTo>
                        <a:pt x="1475" y="17914"/>
                        <a:pt x="6217" y="22655"/>
                        <a:pt x="12065" y="22655"/>
                      </a:cubicBezTo>
                      <a:close/>
                    </a:path>
                  </a:pathLst>
                </a:custGeom>
                <a:solidFill>
                  <a:srgbClr val="FFFF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1" name="Freeform: Shape 130">
                  <a:extLst>
                    <a:ext uri="{FF2B5EF4-FFF2-40B4-BE49-F238E27FC236}">
                      <a16:creationId xmlns:a16="http://schemas.microsoft.com/office/drawing/2014/main" id="{89B2CF2D-66F6-4685-A06F-C4632DF7058A}"/>
                    </a:ext>
                  </a:extLst>
                </p:cNvPr>
                <p:cNvSpPr/>
                <p:nvPr/>
              </p:nvSpPr>
              <p:spPr>
                <a:xfrm>
                  <a:off x="11224990" y="4997100"/>
                  <a:ext cx="43363" cy="43363"/>
                </a:xfrm>
                <a:custGeom>
                  <a:avLst/>
                  <a:gdLst>
                    <a:gd name="connsiteX0" fmla="*/ 45806 w 43363"/>
                    <a:gd name="connsiteY0" fmla="*/ 1475 h 43363"/>
                    <a:gd name="connsiteX1" fmla="*/ 1475 w 43363"/>
                    <a:gd name="connsiteY1" fmla="*/ 1475 h 43363"/>
                    <a:gd name="connsiteX2" fmla="*/ 1475 w 43363"/>
                    <a:gd name="connsiteY2" fmla="*/ 45806 h 43363"/>
                    <a:gd name="connsiteX3" fmla="*/ 45806 w 43363"/>
                    <a:gd name="connsiteY3" fmla="*/ 45806 h 43363"/>
                    <a:gd name="connsiteX4" fmla="*/ 45806 w 43363"/>
                    <a:gd name="connsiteY4" fmla="*/ 1475 h 4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63" h="43363">
                      <a:moveTo>
                        <a:pt x="45806" y="1475"/>
                      </a:moveTo>
                      <a:lnTo>
                        <a:pt x="1475" y="1475"/>
                      </a:lnTo>
                      <a:lnTo>
                        <a:pt x="1475" y="45806"/>
                      </a:lnTo>
                      <a:lnTo>
                        <a:pt x="45806" y="45806"/>
                      </a:lnTo>
                      <a:lnTo>
                        <a:pt x="45806" y="1475"/>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2" name="Freeform: Shape 131">
                  <a:extLst>
                    <a:ext uri="{FF2B5EF4-FFF2-40B4-BE49-F238E27FC236}">
                      <a16:creationId xmlns:a16="http://schemas.microsoft.com/office/drawing/2014/main" id="{363B5AC4-9100-420B-923B-91F0BA4E40A7}"/>
                    </a:ext>
                  </a:extLst>
                </p:cNvPr>
                <p:cNvSpPr/>
                <p:nvPr/>
              </p:nvSpPr>
              <p:spPr>
                <a:xfrm>
                  <a:off x="11297441" y="4953212"/>
                  <a:ext cx="82390" cy="134426"/>
                </a:xfrm>
                <a:custGeom>
                  <a:avLst/>
                  <a:gdLst>
                    <a:gd name="connsiteX0" fmla="*/ 17689 w 82390"/>
                    <a:gd name="connsiteY0" fmla="*/ 1475 h 134426"/>
                    <a:gd name="connsiteX1" fmla="*/ 2060 w 82390"/>
                    <a:gd name="connsiteY1" fmla="*/ 17104 h 134426"/>
                    <a:gd name="connsiteX2" fmla="*/ 52671 w 82390"/>
                    <a:gd name="connsiteY2" fmla="*/ 67716 h 134426"/>
                    <a:gd name="connsiteX3" fmla="*/ 1475 w 82390"/>
                    <a:gd name="connsiteY3" fmla="*/ 118912 h 134426"/>
                    <a:gd name="connsiteX4" fmla="*/ 17104 w 82390"/>
                    <a:gd name="connsiteY4" fmla="*/ 134541 h 134426"/>
                    <a:gd name="connsiteX5" fmla="*/ 83930 w 82390"/>
                    <a:gd name="connsiteY5" fmla="*/ 67716 h 134426"/>
                    <a:gd name="connsiteX6" fmla="*/ 17689 w 82390"/>
                    <a:gd name="connsiteY6" fmla="*/ 1475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17689" y="1475"/>
                      </a:moveTo>
                      <a:lnTo>
                        <a:pt x="2060" y="17104"/>
                      </a:lnTo>
                      <a:lnTo>
                        <a:pt x="52671" y="67716"/>
                      </a:lnTo>
                      <a:lnTo>
                        <a:pt x="1475" y="118912"/>
                      </a:lnTo>
                      <a:lnTo>
                        <a:pt x="17104" y="134541"/>
                      </a:lnTo>
                      <a:lnTo>
                        <a:pt x="83930" y="67716"/>
                      </a:lnTo>
                      <a:lnTo>
                        <a:pt x="17689" y="1475"/>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3" name="Freeform: Shape 132">
                  <a:extLst>
                    <a:ext uri="{FF2B5EF4-FFF2-40B4-BE49-F238E27FC236}">
                      <a16:creationId xmlns:a16="http://schemas.microsoft.com/office/drawing/2014/main" id="{38CA66CE-35A9-474C-9CD6-586051649696}"/>
                    </a:ext>
                  </a:extLst>
                </p:cNvPr>
                <p:cNvSpPr/>
                <p:nvPr/>
              </p:nvSpPr>
              <p:spPr>
                <a:xfrm>
                  <a:off x="11112957" y="4953212"/>
                  <a:ext cx="82390" cy="134426"/>
                </a:xfrm>
                <a:custGeom>
                  <a:avLst/>
                  <a:gdLst>
                    <a:gd name="connsiteX0" fmla="*/ 67716 w 82390"/>
                    <a:gd name="connsiteY0" fmla="*/ 134541 h 134426"/>
                    <a:gd name="connsiteX1" fmla="*/ 83418 w 82390"/>
                    <a:gd name="connsiteY1" fmla="*/ 118912 h 134426"/>
                    <a:gd name="connsiteX2" fmla="*/ 32806 w 82390"/>
                    <a:gd name="connsiteY2" fmla="*/ 68300 h 134426"/>
                    <a:gd name="connsiteX3" fmla="*/ 84002 w 82390"/>
                    <a:gd name="connsiteY3" fmla="*/ 17104 h 134426"/>
                    <a:gd name="connsiteX4" fmla="*/ 68373 w 82390"/>
                    <a:gd name="connsiteY4" fmla="*/ 1475 h 134426"/>
                    <a:gd name="connsiteX5" fmla="*/ 1475 w 82390"/>
                    <a:gd name="connsiteY5" fmla="*/ 68300 h 134426"/>
                    <a:gd name="connsiteX6" fmla="*/ 67716 w 82390"/>
                    <a:gd name="connsiteY6" fmla="*/ 134541 h 13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0" h="134426">
                      <a:moveTo>
                        <a:pt x="67716" y="134541"/>
                      </a:moveTo>
                      <a:lnTo>
                        <a:pt x="83418" y="118912"/>
                      </a:lnTo>
                      <a:lnTo>
                        <a:pt x="32806" y="68300"/>
                      </a:lnTo>
                      <a:lnTo>
                        <a:pt x="84002" y="17104"/>
                      </a:lnTo>
                      <a:lnTo>
                        <a:pt x="68373" y="1475"/>
                      </a:lnTo>
                      <a:lnTo>
                        <a:pt x="1475" y="68300"/>
                      </a:lnTo>
                      <a:lnTo>
                        <a:pt x="67716" y="134541"/>
                      </a:lnTo>
                      <a:close/>
                    </a:path>
                  </a:pathLst>
                </a:custGeom>
                <a:solidFill>
                  <a:srgbClr val="50E6FF"/>
                </a:solidFill>
                <a:ln w="4321"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grpSp>
        </p:grpSp>
        <p:sp>
          <p:nvSpPr>
            <p:cNvPr id="134" name="Rectangle 133">
              <a:extLst>
                <a:ext uri="{FF2B5EF4-FFF2-40B4-BE49-F238E27FC236}">
                  <a16:creationId xmlns:a16="http://schemas.microsoft.com/office/drawing/2014/main" id="{B66733A1-FDEF-4312-81B0-77DCF42050F3}"/>
                </a:ext>
              </a:extLst>
            </p:cNvPr>
            <p:cNvSpPr/>
            <p:nvPr/>
          </p:nvSpPr>
          <p:spPr>
            <a:xfrm>
              <a:off x="5735989" y="5939950"/>
              <a:ext cx="908825" cy="266818"/>
            </a:xfrm>
            <a:prstGeom prst="rect">
              <a:avLst/>
            </a:prstGeom>
          </p:spPr>
          <p:txBody>
            <a:bodyPr wrap="none">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505050"/>
                  </a:solidFill>
                  <a:effectLst/>
                  <a:uLnTx/>
                  <a:uFillTx/>
                </a:rPr>
                <a:t>Dev/test</a:t>
              </a:r>
            </a:p>
          </p:txBody>
        </p:sp>
      </p:grpSp>
      <p:grpSp>
        <p:nvGrpSpPr>
          <p:cNvPr id="5" name="Group 4">
            <a:extLst>
              <a:ext uri="{FF2B5EF4-FFF2-40B4-BE49-F238E27FC236}">
                <a16:creationId xmlns:a16="http://schemas.microsoft.com/office/drawing/2014/main" id="{8A21914F-FD6E-4637-9A61-BACDD767AD94}"/>
              </a:ext>
            </a:extLst>
          </p:cNvPr>
          <p:cNvGrpSpPr/>
          <p:nvPr/>
        </p:nvGrpSpPr>
        <p:grpSpPr>
          <a:xfrm>
            <a:off x="8630108" y="5348875"/>
            <a:ext cx="1144024" cy="904830"/>
            <a:chOff x="8630108" y="5376313"/>
            <a:chExt cx="1144024" cy="904830"/>
          </a:xfrm>
        </p:grpSpPr>
        <p:grpSp>
          <p:nvGrpSpPr>
            <p:cNvPr id="135" name="Group 134">
              <a:extLst>
                <a:ext uri="{FF2B5EF4-FFF2-40B4-BE49-F238E27FC236}">
                  <a16:creationId xmlns:a16="http://schemas.microsoft.com/office/drawing/2014/main" id="{300587C1-56F7-4E61-91AE-5480031C2395}"/>
                </a:ext>
              </a:extLst>
            </p:cNvPr>
            <p:cNvGrpSpPr/>
            <p:nvPr/>
          </p:nvGrpSpPr>
          <p:grpSpPr>
            <a:xfrm>
              <a:off x="8857338" y="5376313"/>
              <a:ext cx="653499" cy="653499"/>
              <a:chOff x="8928193" y="5485888"/>
              <a:chExt cx="704850" cy="704850"/>
            </a:xfrm>
          </p:grpSpPr>
          <p:sp>
            <p:nvSpPr>
              <p:cNvPr id="136" name="Rectangle 135">
                <a:extLst>
                  <a:ext uri="{FF2B5EF4-FFF2-40B4-BE49-F238E27FC236}">
                    <a16:creationId xmlns:a16="http://schemas.microsoft.com/office/drawing/2014/main" id="{75FAECCA-7090-42C6-9566-F7D482C272F2}"/>
                  </a:ext>
                </a:extLst>
              </p:cNvPr>
              <p:cNvSpPr/>
              <p:nvPr/>
            </p:nvSpPr>
            <p:spPr bwMode="auto">
              <a:xfrm>
                <a:off x="8928193" y="5485888"/>
                <a:ext cx="704850" cy="70485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aphic 282" descr="e-commerce, cloud, lock">
                <a:extLst>
                  <a:ext uri="{FF2B5EF4-FFF2-40B4-BE49-F238E27FC236}">
                    <a16:creationId xmlns:a16="http://schemas.microsoft.com/office/drawing/2014/main" id="{D23EF651-791C-4EE1-BC8F-A4D216A63563}"/>
                  </a:ext>
                </a:extLst>
              </p:cNvPr>
              <p:cNvGrpSpPr>
                <a:grpSpLocks noChangeAspect="1"/>
              </p:cNvGrpSpPr>
              <p:nvPr/>
            </p:nvGrpSpPr>
            <p:grpSpPr>
              <a:xfrm>
                <a:off x="9056590" y="5614285"/>
                <a:ext cx="448056" cy="448056"/>
                <a:chOff x="6341055" y="5683181"/>
                <a:chExt cx="471774" cy="471774"/>
              </a:xfrm>
            </p:grpSpPr>
            <p:sp>
              <p:nvSpPr>
                <p:cNvPr id="138" name="Freeform: Shape 137">
                  <a:extLst>
                    <a:ext uri="{FF2B5EF4-FFF2-40B4-BE49-F238E27FC236}">
                      <a16:creationId xmlns:a16="http://schemas.microsoft.com/office/drawing/2014/main" id="{96CAE2CD-8DEC-4CF9-8073-40D665751D64}"/>
                    </a:ext>
                  </a:extLst>
                </p:cNvPr>
                <p:cNvSpPr/>
                <p:nvPr/>
              </p:nvSpPr>
              <p:spPr>
                <a:xfrm>
                  <a:off x="6463763" y="5681908"/>
                  <a:ext cx="223728" cy="189682"/>
                </a:xfrm>
                <a:custGeom>
                  <a:avLst/>
                  <a:gdLst>
                    <a:gd name="connsiteX0" fmla="*/ 223291 w 223727"/>
                    <a:gd name="connsiteY0" fmla="*/ 101568 h 189682"/>
                    <a:gd name="connsiteX1" fmla="*/ 112813 w 223727"/>
                    <a:gd name="connsiteY1" fmla="*/ 1843 h 189682"/>
                    <a:gd name="connsiteX2" fmla="*/ 1843 w 223727"/>
                    <a:gd name="connsiteY2" fmla="*/ 111459 h 189682"/>
                    <a:gd name="connsiteX3" fmla="*/ 1843 w 223727"/>
                    <a:gd name="connsiteY3" fmla="*/ 191893 h 189682"/>
                    <a:gd name="connsiteX4" fmla="*/ 51181 w 223727"/>
                    <a:gd name="connsiteY4" fmla="*/ 192056 h 189682"/>
                    <a:gd name="connsiteX5" fmla="*/ 51181 w 223727"/>
                    <a:gd name="connsiteY5" fmla="*/ 111131 h 189682"/>
                    <a:gd name="connsiteX6" fmla="*/ 51099 w 223727"/>
                    <a:gd name="connsiteY6" fmla="*/ 111050 h 189682"/>
                    <a:gd name="connsiteX7" fmla="*/ 112567 w 223727"/>
                    <a:gd name="connsiteY7" fmla="*/ 51460 h 189682"/>
                    <a:gd name="connsiteX8" fmla="*/ 174035 w 223727"/>
                    <a:gd name="connsiteY8" fmla="*/ 111050 h 189682"/>
                    <a:gd name="connsiteX9" fmla="*/ 174035 w 223727"/>
                    <a:gd name="connsiteY9" fmla="*/ 191974 h 189682"/>
                    <a:gd name="connsiteX10" fmla="*/ 223045 w 223727"/>
                    <a:gd name="connsiteY10" fmla="*/ 191974 h 189682"/>
                    <a:gd name="connsiteX11" fmla="*/ 223045 w 223727"/>
                    <a:gd name="connsiteY11" fmla="*/ 111214 h 189682"/>
                    <a:gd name="connsiteX12" fmla="*/ 223291 w 223727"/>
                    <a:gd name="connsiteY12" fmla="*/ 101568 h 18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727" h="189682">
                      <a:moveTo>
                        <a:pt x="223291" y="101568"/>
                      </a:moveTo>
                      <a:cubicBezTo>
                        <a:pt x="217800" y="45575"/>
                        <a:pt x="170429" y="1843"/>
                        <a:pt x="112813" y="1843"/>
                      </a:cubicBezTo>
                      <a:cubicBezTo>
                        <a:pt x="51918" y="1843"/>
                        <a:pt x="2417" y="50806"/>
                        <a:pt x="1843" y="111459"/>
                      </a:cubicBezTo>
                      <a:lnTo>
                        <a:pt x="1843" y="191893"/>
                      </a:lnTo>
                      <a:lnTo>
                        <a:pt x="51181" y="192056"/>
                      </a:lnTo>
                      <a:lnTo>
                        <a:pt x="51181" y="111131"/>
                      </a:lnTo>
                      <a:lnTo>
                        <a:pt x="51099" y="111050"/>
                      </a:lnTo>
                      <a:cubicBezTo>
                        <a:pt x="52082" y="78026"/>
                        <a:pt x="79210" y="51460"/>
                        <a:pt x="112567" y="51460"/>
                      </a:cubicBezTo>
                      <a:cubicBezTo>
                        <a:pt x="145923" y="51460"/>
                        <a:pt x="173051" y="77944"/>
                        <a:pt x="174035" y="111050"/>
                      </a:cubicBezTo>
                      <a:lnTo>
                        <a:pt x="174035" y="191974"/>
                      </a:lnTo>
                      <a:lnTo>
                        <a:pt x="223045" y="191974"/>
                      </a:lnTo>
                      <a:lnTo>
                        <a:pt x="223045" y="111214"/>
                      </a:lnTo>
                      <a:cubicBezTo>
                        <a:pt x="223209" y="107371"/>
                        <a:pt x="223455" y="103366"/>
                        <a:pt x="223291" y="101568"/>
                      </a:cubicBezTo>
                      <a:close/>
                    </a:path>
                  </a:pathLst>
                </a:custGeom>
                <a:solidFill>
                  <a:srgbClr val="50E6FF"/>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39" name="Freeform: Shape 138">
                  <a:extLst>
                    <a:ext uri="{FF2B5EF4-FFF2-40B4-BE49-F238E27FC236}">
                      <a16:creationId xmlns:a16="http://schemas.microsoft.com/office/drawing/2014/main" id="{380EED48-D2B8-4DC2-B76B-832430976854}"/>
                    </a:ext>
                  </a:extLst>
                </p:cNvPr>
                <p:cNvSpPr/>
                <p:nvPr/>
              </p:nvSpPr>
              <p:spPr>
                <a:xfrm>
                  <a:off x="6415078" y="5853561"/>
                  <a:ext cx="321001" cy="296683"/>
                </a:xfrm>
                <a:custGeom>
                  <a:avLst/>
                  <a:gdLst>
                    <a:gd name="connsiteX0" fmla="*/ 321148 w 321000"/>
                    <a:gd name="connsiteY0" fmla="*/ 296195 h 296682"/>
                    <a:gd name="connsiteX1" fmla="*/ 1843 w 321000"/>
                    <a:gd name="connsiteY1" fmla="*/ 296195 h 296682"/>
                    <a:gd name="connsiteX2" fmla="*/ 1843 w 321000"/>
                    <a:gd name="connsiteY2" fmla="*/ 1843 h 296682"/>
                    <a:gd name="connsiteX3" fmla="*/ 321148 w 321000"/>
                    <a:gd name="connsiteY3" fmla="*/ 1843 h 296682"/>
                    <a:gd name="connsiteX4" fmla="*/ 321148 w 321000"/>
                    <a:gd name="connsiteY4" fmla="*/ 296195 h 296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0" h="296682">
                      <a:moveTo>
                        <a:pt x="321148" y="296195"/>
                      </a:moveTo>
                      <a:lnTo>
                        <a:pt x="1843" y="296195"/>
                      </a:lnTo>
                      <a:lnTo>
                        <a:pt x="1843" y="1843"/>
                      </a:lnTo>
                      <a:lnTo>
                        <a:pt x="321148" y="1843"/>
                      </a:lnTo>
                      <a:lnTo>
                        <a:pt x="321148" y="296195"/>
                      </a:lnTo>
                      <a:close/>
                    </a:path>
                  </a:pathLst>
                </a:custGeom>
                <a:solidFill>
                  <a:srgbClr val="0078D4"/>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sp>
              <p:nvSpPr>
                <p:cNvPr id="140" name="Freeform: Shape 139">
                  <a:extLst>
                    <a:ext uri="{FF2B5EF4-FFF2-40B4-BE49-F238E27FC236}">
                      <a16:creationId xmlns:a16="http://schemas.microsoft.com/office/drawing/2014/main" id="{53468FFE-EFCB-47D6-B4D8-8F3B60ED606E}"/>
                    </a:ext>
                  </a:extLst>
                </p:cNvPr>
                <p:cNvSpPr/>
                <p:nvPr/>
              </p:nvSpPr>
              <p:spPr>
                <a:xfrm>
                  <a:off x="6461958" y="5924445"/>
                  <a:ext cx="223728" cy="126455"/>
                </a:xfrm>
                <a:custGeom>
                  <a:avLst/>
                  <a:gdLst>
                    <a:gd name="connsiteX0" fmla="*/ 200507 w 223727"/>
                    <a:gd name="connsiteY0" fmla="*/ 81051 h 126454"/>
                    <a:gd name="connsiteX1" fmla="*/ 199605 w 223727"/>
                    <a:gd name="connsiteY1" fmla="*/ 81051 h 126454"/>
                    <a:gd name="connsiteX2" fmla="*/ 200425 w 223727"/>
                    <a:gd name="connsiteY2" fmla="*/ 73203 h 126454"/>
                    <a:gd name="connsiteX3" fmla="*/ 160676 w 223727"/>
                    <a:gd name="connsiteY3" fmla="*/ 33559 h 126454"/>
                    <a:gd name="connsiteX4" fmla="*/ 139367 w 223727"/>
                    <a:gd name="connsiteY4" fmla="*/ 39689 h 126454"/>
                    <a:gd name="connsiteX5" fmla="*/ 81177 w 223727"/>
                    <a:gd name="connsiteY5" fmla="*/ 1843 h 126454"/>
                    <a:gd name="connsiteX6" fmla="*/ 17579 w 223727"/>
                    <a:gd name="connsiteY6" fmla="*/ 65274 h 126454"/>
                    <a:gd name="connsiteX7" fmla="*/ 19791 w 223727"/>
                    <a:gd name="connsiteY7" fmla="*/ 81786 h 126454"/>
                    <a:gd name="connsiteX8" fmla="*/ 1843 w 223727"/>
                    <a:gd name="connsiteY8" fmla="*/ 104837 h 126454"/>
                    <a:gd name="connsiteX9" fmla="*/ 25692 w 223727"/>
                    <a:gd name="connsiteY9" fmla="*/ 128624 h 126454"/>
                    <a:gd name="connsiteX10" fmla="*/ 78145 w 223727"/>
                    <a:gd name="connsiteY10" fmla="*/ 128624 h 126454"/>
                    <a:gd name="connsiteX11" fmla="*/ 81095 w 223727"/>
                    <a:gd name="connsiteY11" fmla="*/ 128706 h 126454"/>
                    <a:gd name="connsiteX12" fmla="*/ 84046 w 223727"/>
                    <a:gd name="connsiteY12" fmla="*/ 128624 h 126454"/>
                    <a:gd name="connsiteX13" fmla="*/ 200425 w 223727"/>
                    <a:gd name="connsiteY13" fmla="*/ 128624 h 126454"/>
                    <a:gd name="connsiteX14" fmla="*/ 224274 w 223727"/>
                    <a:gd name="connsiteY14" fmla="*/ 104837 h 126454"/>
                    <a:gd name="connsiteX15" fmla="*/ 200507 w 223727"/>
                    <a:gd name="connsiteY15" fmla="*/ 81051 h 12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3727" h="126454">
                      <a:moveTo>
                        <a:pt x="200507" y="81051"/>
                      </a:moveTo>
                      <a:lnTo>
                        <a:pt x="199605" y="81051"/>
                      </a:lnTo>
                      <a:cubicBezTo>
                        <a:pt x="200097" y="78517"/>
                        <a:pt x="200425" y="75900"/>
                        <a:pt x="200425" y="73203"/>
                      </a:cubicBezTo>
                      <a:cubicBezTo>
                        <a:pt x="200425" y="51296"/>
                        <a:pt x="182641" y="33559"/>
                        <a:pt x="160676" y="33559"/>
                      </a:cubicBezTo>
                      <a:cubicBezTo>
                        <a:pt x="152808" y="33559"/>
                        <a:pt x="145514" y="35847"/>
                        <a:pt x="139367" y="39689"/>
                      </a:cubicBezTo>
                      <a:cubicBezTo>
                        <a:pt x="129532" y="17373"/>
                        <a:pt x="107158" y="1843"/>
                        <a:pt x="81177" y="1843"/>
                      </a:cubicBezTo>
                      <a:cubicBezTo>
                        <a:pt x="46099" y="1843"/>
                        <a:pt x="17579" y="30207"/>
                        <a:pt x="17579" y="65274"/>
                      </a:cubicBezTo>
                      <a:cubicBezTo>
                        <a:pt x="17579" y="70996"/>
                        <a:pt x="18316" y="76555"/>
                        <a:pt x="19791" y="81786"/>
                      </a:cubicBezTo>
                      <a:cubicBezTo>
                        <a:pt x="9464" y="84402"/>
                        <a:pt x="1843" y="93720"/>
                        <a:pt x="1843" y="104837"/>
                      </a:cubicBezTo>
                      <a:cubicBezTo>
                        <a:pt x="1843" y="117998"/>
                        <a:pt x="12497" y="128624"/>
                        <a:pt x="25692" y="128624"/>
                      </a:cubicBezTo>
                      <a:lnTo>
                        <a:pt x="78145" y="128624"/>
                      </a:lnTo>
                      <a:cubicBezTo>
                        <a:pt x="79128" y="128706"/>
                        <a:pt x="80112" y="128706"/>
                        <a:pt x="81095" y="128706"/>
                      </a:cubicBezTo>
                      <a:cubicBezTo>
                        <a:pt x="82079" y="128706"/>
                        <a:pt x="83062" y="128706"/>
                        <a:pt x="84046" y="128624"/>
                      </a:cubicBezTo>
                      <a:lnTo>
                        <a:pt x="200425" y="128624"/>
                      </a:lnTo>
                      <a:cubicBezTo>
                        <a:pt x="213620" y="128624"/>
                        <a:pt x="224274" y="117998"/>
                        <a:pt x="224274" y="104837"/>
                      </a:cubicBezTo>
                      <a:cubicBezTo>
                        <a:pt x="224357" y="91677"/>
                        <a:pt x="213620" y="81051"/>
                        <a:pt x="200507" y="81051"/>
                      </a:cubicBezTo>
                      <a:close/>
                    </a:path>
                  </a:pathLst>
                </a:custGeom>
                <a:solidFill>
                  <a:srgbClr val="FFFFFF"/>
                </a:solidFill>
                <a:ln w="4812" cap="flat">
                  <a:noFill/>
                  <a:prstDash val="solid"/>
                  <a:miter/>
                </a:ln>
              </p:spPr>
              <p:txBody>
                <a:bodyPr rtlCol="0" anchor="ct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000000"/>
                    </a:solidFill>
                    <a:effectLst/>
                    <a:uLnTx/>
                    <a:uFillTx/>
                  </a:endParaRPr>
                </a:p>
              </p:txBody>
            </p:sp>
          </p:grpSp>
        </p:grpSp>
        <p:sp>
          <p:nvSpPr>
            <p:cNvPr id="141" name="Rectangle 140">
              <a:extLst>
                <a:ext uri="{FF2B5EF4-FFF2-40B4-BE49-F238E27FC236}">
                  <a16:creationId xmlns:a16="http://schemas.microsoft.com/office/drawing/2014/main" id="{2857A800-F8D2-4BAD-875D-7A136668CF39}"/>
                </a:ext>
              </a:extLst>
            </p:cNvPr>
            <p:cNvSpPr/>
            <p:nvPr/>
          </p:nvSpPr>
          <p:spPr>
            <a:xfrm>
              <a:off x="8630108" y="6014325"/>
              <a:ext cx="1144024" cy="266818"/>
            </a:xfrm>
            <a:prstGeom prst="rect">
              <a:avLst/>
            </a:prstGeom>
          </p:spPr>
          <p:txBody>
            <a:bodyPr wrap="none">
              <a:noAutofit/>
            </a:bodyPr>
            <a:lstStyle/>
            <a:p>
              <a:pPr algn="ctr" defTabSz="932597">
                <a:defRPr/>
              </a:pPr>
              <a:r>
                <a:rPr lang="en-US" sz="1122" kern="0" dirty="0">
                  <a:solidFill>
                    <a:srgbClr val="505050"/>
                  </a:solidFill>
                  <a:cs typeface="Segoe UI" panose="020B0502040204020203" pitchFamily="34" charset="0"/>
                </a:rPr>
                <a:t>E-commerce</a:t>
              </a:r>
            </a:p>
          </p:txBody>
        </p:sp>
      </p:grpSp>
      <p:cxnSp>
        <p:nvCxnSpPr>
          <p:cNvPr id="142" name="Straight Connector 141">
            <a:extLst>
              <a:ext uri="{FF2B5EF4-FFF2-40B4-BE49-F238E27FC236}">
                <a16:creationId xmlns:a16="http://schemas.microsoft.com/office/drawing/2014/main" id="{C36C51C8-CC7C-49EF-811B-022D3B33BBA4}"/>
              </a:ext>
            </a:extLst>
          </p:cNvPr>
          <p:cNvCxnSpPr>
            <a:cxnSpLocks/>
          </p:cNvCxnSpPr>
          <p:nvPr/>
        </p:nvCxnSpPr>
        <p:spPr>
          <a:xfrm>
            <a:off x="4173793" y="1534254"/>
            <a:ext cx="0" cy="2672564"/>
          </a:xfrm>
          <a:prstGeom prst="line">
            <a:avLst/>
          </a:prstGeom>
          <a:noFill/>
          <a:ln w="6350" cap="flat" cmpd="sng" algn="ctr">
            <a:solidFill>
              <a:srgbClr val="002050"/>
            </a:solidFill>
            <a:prstDash val="solid"/>
            <a:headEnd type="none"/>
            <a:tailEnd type="none"/>
          </a:ln>
          <a:effectLst/>
        </p:spPr>
      </p:cxnSp>
      <p:grpSp>
        <p:nvGrpSpPr>
          <p:cNvPr id="4" name="Group 3">
            <a:extLst>
              <a:ext uri="{FF2B5EF4-FFF2-40B4-BE49-F238E27FC236}">
                <a16:creationId xmlns:a16="http://schemas.microsoft.com/office/drawing/2014/main" id="{4995B934-49E2-43A4-9403-A5B8103EBCBB}"/>
              </a:ext>
            </a:extLst>
          </p:cNvPr>
          <p:cNvGrpSpPr/>
          <p:nvPr/>
        </p:nvGrpSpPr>
        <p:grpSpPr>
          <a:xfrm>
            <a:off x="7039166" y="5368653"/>
            <a:ext cx="1433179" cy="893897"/>
            <a:chOff x="7039166" y="5350059"/>
            <a:chExt cx="1433179" cy="893897"/>
          </a:xfrm>
        </p:grpSpPr>
        <p:sp>
          <p:nvSpPr>
            <p:cNvPr id="143" name="Rectangle 142">
              <a:extLst>
                <a:ext uri="{FF2B5EF4-FFF2-40B4-BE49-F238E27FC236}">
                  <a16:creationId xmlns:a16="http://schemas.microsoft.com/office/drawing/2014/main" id="{30C9A96D-40B6-4769-BD26-1A5624D0C928}"/>
                </a:ext>
              </a:extLst>
            </p:cNvPr>
            <p:cNvSpPr/>
            <p:nvPr/>
          </p:nvSpPr>
          <p:spPr>
            <a:xfrm>
              <a:off x="7039166" y="5977138"/>
              <a:ext cx="1433179" cy="266818"/>
            </a:xfrm>
            <a:prstGeom prst="rect">
              <a:avLst/>
            </a:prstGeom>
          </p:spPr>
          <p:txBody>
            <a:bodyPr wrap="none">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505050"/>
                  </a:solidFill>
                  <a:effectLst/>
                  <a:uLnTx/>
                  <a:uFillTx/>
                </a:rPr>
                <a:t>Line of Business</a:t>
              </a:r>
            </a:p>
          </p:txBody>
        </p:sp>
        <p:grpSp>
          <p:nvGrpSpPr>
            <p:cNvPr id="144" name="Group 143">
              <a:extLst>
                <a:ext uri="{FF2B5EF4-FFF2-40B4-BE49-F238E27FC236}">
                  <a16:creationId xmlns:a16="http://schemas.microsoft.com/office/drawing/2014/main" id="{B210184B-9A3B-411F-AF59-351F4197EBC9}"/>
                </a:ext>
              </a:extLst>
            </p:cNvPr>
            <p:cNvGrpSpPr/>
            <p:nvPr/>
          </p:nvGrpSpPr>
          <p:grpSpPr>
            <a:xfrm>
              <a:off x="7414303" y="5350059"/>
              <a:ext cx="653499" cy="653499"/>
              <a:chOff x="9841330" y="5574423"/>
              <a:chExt cx="640743" cy="640743"/>
            </a:xfrm>
          </p:grpSpPr>
          <p:sp>
            <p:nvSpPr>
              <p:cNvPr id="145" name="Rectangle 144">
                <a:extLst>
                  <a:ext uri="{FF2B5EF4-FFF2-40B4-BE49-F238E27FC236}">
                    <a16:creationId xmlns:a16="http://schemas.microsoft.com/office/drawing/2014/main" id="{0F30ED80-FF71-40D6-AF29-C0589836C44A}"/>
                  </a:ext>
                </a:extLst>
              </p:cNvPr>
              <p:cNvSpPr/>
              <p:nvPr/>
            </p:nvSpPr>
            <p:spPr bwMode="auto">
              <a:xfrm>
                <a:off x="9841330" y="5574423"/>
                <a:ext cx="640743" cy="64074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defTabSz="951028"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6" name="Group 4">
                <a:extLst>
                  <a:ext uri="{FF2B5EF4-FFF2-40B4-BE49-F238E27FC236}">
                    <a16:creationId xmlns:a16="http://schemas.microsoft.com/office/drawing/2014/main" id="{AB75F4D1-0E6E-46D1-9BC9-B5CB59429D56}"/>
                  </a:ext>
                </a:extLst>
              </p:cNvPr>
              <p:cNvGrpSpPr>
                <a:grpSpLocks noChangeAspect="1"/>
              </p:cNvGrpSpPr>
              <p:nvPr/>
            </p:nvGrpSpPr>
            <p:grpSpPr bwMode="auto">
              <a:xfrm>
                <a:off x="9935367" y="5658338"/>
                <a:ext cx="434940" cy="434940"/>
                <a:chOff x="6240" y="3330"/>
                <a:chExt cx="302" cy="302"/>
              </a:xfrm>
            </p:grpSpPr>
            <p:sp>
              <p:nvSpPr>
                <p:cNvPr id="147" name="AutoShape 3">
                  <a:extLst>
                    <a:ext uri="{FF2B5EF4-FFF2-40B4-BE49-F238E27FC236}">
                      <a16:creationId xmlns:a16="http://schemas.microsoft.com/office/drawing/2014/main" id="{E0BCC269-A0B1-475C-B8CB-CED62F0664A2}"/>
                    </a:ext>
                  </a:extLst>
                </p:cNvPr>
                <p:cNvSpPr>
                  <a:spLocks noChangeAspect="1" noChangeArrowheads="1" noTextEdit="1"/>
                </p:cNvSpPr>
                <p:nvPr/>
              </p:nvSpPr>
              <p:spPr bwMode="auto">
                <a:xfrm>
                  <a:off x="6240" y="3330"/>
                  <a:ext cx="302"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48" name="Freeform 5">
                  <a:extLst>
                    <a:ext uri="{FF2B5EF4-FFF2-40B4-BE49-F238E27FC236}">
                      <a16:creationId xmlns:a16="http://schemas.microsoft.com/office/drawing/2014/main" id="{0B68936A-D053-4D24-99D6-A70924B457A4}"/>
                    </a:ext>
                  </a:extLst>
                </p:cNvPr>
                <p:cNvSpPr>
                  <a:spLocks noEditPoints="1"/>
                </p:cNvSpPr>
                <p:nvPr/>
              </p:nvSpPr>
              <p:spPr bwMode="auto">
                <a:xfrm>
                  <a:off x="6277" y="3401"/>
                  <a:ext cx="119" cy="209"/>
                </a:xfrm>
                <a:custGeom>
                  <a:avLst/>
                  <a:gdLst>
                    <a:gd name="T0" fmla="*/ 54 w 163"/>
                    <a:gd name="T1" fmla="*/ 54 h 285"/>
                    <a:gd name="T2" fmla="*/ 54 w 163"/>
                    <a:gd name="T3" fmla="*/ 54 h 285"/>
                    <a:gd name="T4" fmla="*/ 27 w 163"/>
                    <a:gd name="T5" fmla="*/ 54 h 285"/>
                    <a:gd name="T6" fmla="*/ 27 w 163"/>
                    <a:gd name="T7" fmla="*/ 27 h 285"/>
                    <a:gd name="T8" fmla="*/ 54 w 163"/>
                    <a:gd name="T9" fmla="*/ 27 h 285"/>
                    <a:gd name="T10" fmla="*/ 54 w 163"/>
                    <a:gd name="T11" fmla="*/ 54 h 285"/>
                    <a:gd name="T12" fmla="*/ 54 w 163"/>
                    <a:gd name="T13" fmla="*/ 108 h 285"/>
                    <a:gd name="T14" fmla="*/ 54 w 163"/>
                    <a:gd name="T15" fmla="*/ 108 h 285"/>
                    <a:gd name="T16" fmla="*/ 27 w 163"/>
                    <a:gd name="T17" fmla="*/ 108 h 285"/>
                    <a:gd name="T18" fmla="*/ 27 w 163"/>
                    <a:gd name="T19" fmla="*/ 81 h 285"/>
                    <a:gd name="T20" fmla="*/ 54 w 163"/>
                    <a:gd name="T21" fmla="*/ 81 h 285"/>
                    <a:gd name="T22" fmla="*/ 54 w 163"/>
                    <a:gd name="T23" fmla="*/ 108 h 285"/>
                    <a:gd name="T24" fmla="*/ 54 w 163"/>
                    <a:gd name="T25" fmla="*/ 163 h 285"/>
                    <a:gd name="T26" fmla="*/ 54 w 163"/>
                    <a:gd name="T27" fmla="*/ 163 h 285"/>
                    <a:gd name="T28" fmla="*/ 27 w 163"/>
                    <a:gd name="T29" fmla="*/ 163 h 285"/>
                    <a:gd name="T30" fmla="*/ 27 w 163"/>
                    <a:gd name="T31" fmla="*/ 135 h 285"/>
                    <a:gd name="T32" fmla="*/ 54 w 163"/>
                    <a:gd name="T33" fmla="*/ 135 h 285"/>
                    <a:gd name="T34" fmla="*/ 54 w 163"/>
                    <a:gd name="T35" fmla="*/ 163 h 285"/>
                    <a:gd name="T36" fmla="*/ 54 w 163"/>
                    <a:gd name="T37" fmla="*/ 217 h 285"/>
                    <a:gd name="T38" fmla="*/ 54 w 163"/>
                    <a:gd name="T39" fmla="*/ 217 h 285"/>
                    <a:gd name="T40" fmla="*/ 27 w 163"/>
                    <a:gd name="T41" fmla="*/ 217 h 285"/>
                    <a:gd name="T42" fmla="*/ 27 w 163"/>
                    <a:gd name="T43" fmla="*/ 190 h 285"/>
                    <a:gd name="T44" fmla="*/ 54 w 163"/>
                    <a:gd name="T45" fmla="*/ 190 h 285"/>
                    <a:gd name="T46" fmla="*/ 54 w 163"/>
                    <a:gd name="T47" fmla="*/ 217 h 285"/>
                    <a:gd name="T48" fmla="*/ 54 w 163"/>
                    <a:gd name="T49" fmla="*/ 271 h 285"/>
                    <a:gd name="T50" fmla="*/ 54 w 163"/>
                    <a:gd name="T51" fmla="*/ 271 h 285"/>
                    <a:gd name="T52" fmla="*/ 27 w 163"/>
                    <a:gd name="T53" fmla="*/ 271 h 285"/>
                    <a:gd name="T54" fmla="*/ 27 w 163"/>
                    <a:gd name="T55" fmla="*/ 244 h 285"/>
                    <a:gd name="T56" fmla="*/ 54 w 163"/>
                    <a:gd name="T57" fmla="*/ 244 h 285"/>
                    <a:gd name="T58" fmla="*/ 54 w 163"/>
                    <a:gd name="T59" fmla="*/ 271 h 285"/>
                    <a:gd name="T60" fmla="*/ 81 w 163"/>
                    <a:gd name="T61" fmla="*/ 27 h 285"/>
                    <a:gd name="T62" fmla="*/ 81 w 163"/>
                    <a:gd name="T63" fmla="*/ 27 h 285"/>
                    <a:gd name="T64" fmla="*/ 163 w 163"/>
                    <a:gd name="T65" fmla="*/ 27 h 285"/>
                    <a:gd name="T66" fmla="*/ 163 w 163"/>
                    <a:gd name="T67" fmla="*/ 0 h 285"/>
                    <a:gd name="T68" fmla="*/ 0 w 163"/>
                    <a:gd name="T69" fmla="*/ 0 h 285"/>
                    <a:gd name="T70" fmla="*/ 0 w 163"/>
                    <a:gd name="T71" fmla="*/ 285 h 285"/>
                    <a:gd name="T72" fmla="*/ 81 w 163"/>
                    <a:gd name="T73" fmla="*/ 285 h 285"/>
                    <a:gd name="T74" fmla="*/ 81 w 163"/>
                    <a:gd name="T75"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285">
                      <a:moveTo>
                        <a:pt x="54" y="54"/>
                      </a:moveTo>
                      <a:lnTo>
                        <a:pt x="54" y="54"/>
                      </a:lnTo>
                      <a:lnTo>
                        <a:pt x="27" y="54"/>
                      </a:lnTo>
                      <a:lnTo>
                        <a:pt x="27" y="27"/>
                      </a:lnTo>
                      <a:lnTo>
                        <a:pt x="54" y="27"/>
                      </a:lnTo>
                      <a:lnTo>
                        <a:pt x="54" y="54"/>
                      </a:lnTo>
                      <a:close/>
                      <a:moveTo>
                        <a:pt x="54" y="108"/>
                      </a:moveTo>
                      <a:lnTo>
                        <a:pt x="54" y="108"/>
                      </a:lnTo>
                      <a:lnTo>
                        <a:pt x="27" y="108"/>
                      </a:lnTo>
                      <a:lnTo>
                        <a:pt x="27" y="81"/>
                      </a:lnTo>
                      <a:lnTo>
                        <a:pt x="54" y="81"/>
                      </a:lnTo>
                      <a:lnTo>
                        <a:pt x="54" y="108"/>
                      </a:lnTo>
                      <a:close/>
                      <a:moveTo>
                        <a:pt x="54" y="163"/>
                      </a:moveTo>
                      <a:lnTo>
                        <a:pt x="54" y="163"/>
                      </a:lnTo>
                      <a:lnTo>
                        <a:pt x="27" y="163"/>
                      </a:lnTo>
                      <a:lnTo>
                        <a:pt x="27" y="135"/>
                      </a:lnTo>
                      <a:lnTo>
                        <a:pt x="54" y="135"/>
                      </a:lnTo>
                      <a:lnTo>
                        <a:pt x="54" y="163"/>
                      </a:lnTo>
                      <a:close/>
                      <a:moveTo>
                        <a:pt x="54" y="217"/>
                      </a:moveTo>
                      <a:lnTo>
                        <a:pt x="54" y="217"/>
                      </a:lnTo>
                      <a:lnTo>
                        <a:pt x="27" y="217"/>
                      </a:lnTo>
                      <a:lnTo>
                        <a:pt x="27" y="190"/>
                      </a:lnTo>
                      <a:lnTo>
                        <a:pt x="54" y="190"/>
                      </a:lnTo>
                      <a:lnTo>
                        <a:pt x="54" y="217"/>
                      </a:lnTo>
                      <a:close/>
                      <a:moveTo>
                        <a:pt x="54" y="271"/>
                      </a:moveTo>
                      <a:lnTo>
                        <a:pt x="54" y="271"/>
                      </a:lnTo>
                      <a:lnTo>
                        <a:pt x="27" y="271"/>
                      </a:lnTo>
                      <a:lnTo>
                        <a:pt x="27" y="244"/>
                      </a:lnTo>
                      <a:lnTo>
                        <a:pt x="54" y="244"/>
                      </a:lnTo>
                      <a:lnTo>
                        <a:pt x="54" y="271"/>
                      </a:lnTo>
                      <a:close/>
                      <a:moveTo>
                        <a:pt x="81" y="27"/>
                      </a:moveTo>
                      <a:lnTo>
                        <a:pt x="81" y="27"/>
                      </a:lnTo>
                      <a:lnTo>
                        <a:pt x="163" y="27"/>
                      </a:lnTo>
                      <a:lnTo>
                        <a:pt x="163" y="0"/>
                      </a:lnTo>
                      <a:lnTo>
                        <a:pt x="0" y="0"/>
                      </a:lnTo>
                      <a:lnTo>
                        <a:pt x="0" y="285"/>
                      </a:lnTo>
                      <a:lnTo>
                        <a:pt x="81" y="285"/>
                      </a:lnTo>
                      <a:lnTo>
                        <a:pt x="81" y="27"/>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49" name="Freeform 6">
                  <a:extLst>
                    <a:ext uri="{FF2B5EF4-FFF2-40B4-BE49-F238E27FC236}">
                      <a16:creationId xmlns:a16="http://schemas.microsoft.com/office/drawing/2014/main" id="{80BB4ED3-69E1-43DA-AA1B-AB49EFA9F183}"/>
                    </a:ext>
                  </a:extLst>
                </p:cNvPr>
                <p:cNvSpPr>
                  <a:spLocks noEditPoints="1"/>
                </p:cNvSpPr>
                <p:nvPr/>
              </p:nvSpPr>
              <p:spPr bwMode="auto">
                <a:xfrm>
                  <a:off x="6356" y="3441"/>
                  <a:ext cx="99" cy="169"/>
                </a:xfrm>
                <a:custGeom>
                  <a:avLst/>
                  <a:gdLst>
                    <a:gd name="T0" fmla="*/ 82 w 136"/>
                    <a:gd name="T1" fmla="*/ 81 h 231"/>
                    <a:gd name="T2" fmla="*/ 82 w 136"/>
                    <a:gd name="T3" fmla="*/ 81 h 231"/>
                    <a:gd name="T4" fmla="*/ 109 w 136"/>
                    <a:gd name="T5" fmla="*/ 81 h 231"/>
                    <a:gd name="T6" fmla="*/ 109 w 136"/>
                    <a:gd name="T7" fmla="*/ 109 h 231"/>
                    <a:gd name="T8" fmla="*/ 82 w 136"/>
                    <a:gd name="T9" fmla="*/ 109 h 231"/>
                    <a:gd name="T10" fmla="*/ 82 w 136"/>
                    <a:gd name="T11" fmla="*/ 81 h 231"/>
                    <a:gd name="T12" fmla="*/ 55 w 136"/>
                    <a:gd name="T13" fmla="*/ 54 h 231"/>
                    <a:gd name="T14" fmla="*/ 55 w 136"/>
                    <a:gd name="T15" fmla="*/ 54 h 231"/>
                    <a:gd name="T16" fmla="*/ 28 w 136"/>
                    <a:gd name="T17" fmla="*/ 54 h 231"/>
                    <a:gd name="T18" fmla="*/ 28 w 136"/>
                    <a:gd name="T19" fmla="*/ 27 h 231"/>
                    <a:gd name="T20" fmla="*/ 55 w 136"/>
                    <a:gd name="T21" fmla="*/ 27 h 231"/>
                    <a:gd name="T22" fmla="*/ 55 w 136"/>
                    <a:gd name="T23" fmla="*/ 54 h 231"/>
                    <a:gd name="T24" fmla="*/ 55 w 136"/>
                    <a:gd name="T25" fmla="*/ 109 h 231"/>
                    <a:gd name="T26" fmla="*/ 55 w 136"/>
                    <a:gd name="T27" fmla="*/ 109 h 231"/>
                    <a:gd name="T28" fmla="*/ 28 w 136"/>
                    <a:gd name="T29" fmla="*/ 109 h 231"/>
                    <a:gd name="T30" fmla="*/ 28 w 136"/>
                    <a:gd name="T31" fmla="*/ 81 h 231"/>
                    <a:gd name="T32" fmla="*/ 55 w 136"/>
                    <a:gd name="T33" fmla="*/ 81 h 231"/>
                    <a:gd name="T34" fmla="*/ 55 w 136"/>
                    <a:gd name="T35" fmla="*/ 109 h 231"/>
                    <a:gd name="T36" fmla="*/ 82 w 136"/>
                    <a:gd name="T37" fmla="*/ 27 h 231"/>
                    <a:gd name="T38" fmla="*/ 82 w 136"/>
                    <a:gd name="T39" fmla="*/ 27 h 231"/>
                    <a:gd name="T40" fmla="*/ 109 w 136"/>
                    <a:gd name="T41" fmla="*/ 27 h 231"/>
                    <a:gd name="T42" fmla="*/ 109 w 136"/>
                    <a:gd name="T43" fmla="*/ 54 h 231"/>
                    <a:gd name="T44" fmla="*/ 82 w 136"/>
                    <a:gd name="T45" fmla="*/ 54 h 231"/>
                    <a:gd name="T46" fmla="*/ 82 w 136"/>
                    <a:gd name="T47" fmla="*/ 27 h 231"/>
                    <a:gd name="T48" fmla="*/ 136 w 136"/>
                    <a:gd name="T49" fmla="*/ 231 h 231"/>
                    <a:gd name="T50" fmla="*/ 136 w 136"/>
                    <a:gd name="T51" fmla="*/ 231 h 231"/>
                    <a:gd name="T52" fmla="*/ 136 w 136"/>
                    <a:gd name="T53" fmla="*/ 0 h 231"/>
                    <a:gd name="T54" fmla="*/ 0 w 136"/>
                    <a:gd name="T55" fmla="*/ 0 h 231"/>
                    <a:gd name="T56" fmla="*/ 0 w 136"/>
                    <a:gd name="T57" fmla="*/ 231 h 231"/>
                    <a:gd name="T58" fmla="*/ 28 w 136"/>
                    <a:gd name="T59" fmla="*/ 231 h 231"/>
                    <a:gd name="T60" fmla="*/ 28 w 136"/>
                    <a:gd name="T61" fmla="*/ 136 h 231"/>
                    <a:gd name="T62" fmla="*/ 109 w 136"/>
                    <a:gd name="T63" fmla="*/ 136 h 231"/>
                    <a:gd name="T64" fmla="*/ 109 w 136"/>
                    <a:gd name="T65" fmla="*/ 231 h 231"/>
                    <a:gd name="T66" fmla="*/ 136 w 136"/>
                    <a:gd name="T67"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231">
                      <a:moveTo>
                        <a:pt x="82" y="81"/>
                      </a:moveTo>
                      <a:lnTo>
                        <a:pt x="82" y="81"/>
                      </a:lnTo>
                      <a:lnTo>
                        <a:pt x="109" y="81"/>
                      </a:lnTo>
                      <a:lnTo>
                        <a:pt x="109" y="109"/>
                      </a:lnTo>
                      <a:lnTo>
                        <a:pt x="82" y="109"/>
                      </a:lnTo>
                      <a:lnTo>
                        <a:pt x="82" y="81"/>
                      </a:lnTo>
                      <a:close/>
                      <a:moveTo>
                        <a:pt x="55" y="54"/>
                      </a:moveTo>
                      <a:lnTo>
                        <a:pt x="55" y="54"/>
                      </a:lnTo>
                      <a:lnTo>
                        <a:pt x="28" y="54"/>
                      </a:lnTo>
                      <a:lnTo>
                        <a:pt x="28" y="27"/>
                      </a:lnTo>
                      <a:lnTo>
                        <a:pt x="55" y="27"/>
                      </a:lnTo>
                      <a:lnTo>
                        <a:pt x="55" y="54"/>
                      </a:lnTo>
                      <a:close/>
                      <a:moveTo>
                        <a:pt x="55" y="109"/>
                      </a:moveTo>
                      <a:lnTo>
                        <a:pt x="55" y="109"/>
                      </a:lnTo>
                      <a:lnTo>
                        <a:pt x="28" y="109"/>
                      </a:lnTo>
                      <a:lnTo>
                        <a:pt x="28" y="81"/>
                      </a:lnTo>
                      <a:lnTo>
                        <a:pt x="55" y="81"/>
                      </a:lnTo>
                      <a:lnTo>
                        <a:pt x="55" y="109"/>
                      </a:lnTo>
                      <a:close/>
                      <a:moveTo>
                        <a:pt x="82" y="27"/>
                      </a:moveTo>
                      <a:lnTo>
                        <a:pt x="82" y="27"/>
                      </a:lnTo>
                      <a:lnTo>
                        <a:pt x="109" y="27"/>
                      </a:lnTo>
                      <a:lnTo>
                        <a:pt x="109" y="54"/>
                      </a:lnTo>
                      <a:lnTo>
                        <a:pt x="82" y="54"/>
                      </a:lnTo>
                      <a:lnTo>
                        <a:pt x="82" y="27"/>
                      </a:lnTo>
                      <a:close/>
                      <a:moveTo>
                        <a:pt x="136" y="231"/>
                      </a:moveTo>
                      <a:lnTo>
                        <a:pt x="136" y="231"/>
                      </a:lnTo>
                      <a:lnTo>
                        <a:pt x="136" y="0"/>
                      </a:lnTo>
                      <a:lnTo>
                        <a:pt x="0" y="0"/>
                      </a:lnTo>
                      <a:lnTo>
                        <a:pt x="0" y="231"/>
                      </a:lnTo>
                      <a:lnTo>
                        <a:pt x="28" y="231"/>
                      </a:lnTo>
                      <a:lnTo>
                        <a:pt x="28" y="136"/>
                      </a:lnTo>
                      <a:lnTo>
                        <a:pt x="109" y="136"/>
                      </a:lnTo>
                      <a:lnTo>
                        <a:pt x="109" y="231"/>
                      </a:lnTo>
                      <a:lnTo>
                        <a:pt x="136" y="231"/>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0" name="Freeform 7">
                  <a:extLst>
                    <a:ext uri="{FF2B5EF4-FFF2-40B4-BE49-F238E27FC236}">
                      <a16:creationId xmlns:a16="http://schemas.microsoft.com/office/drawing/2014/main" id="{A918BF2B-9043-4A1C-9838-FDA40C2A1CA1}"/>
                    </a:ext>
                  </a:extLst>
                </p:cNvPr>
                <p:cNvSpPr>
                  <a:spLocks/>
                </p:cNvSpPr>
                <p:nvPr/>
              </p:nvSpPr>
              <p:spPr bwMode="auto">
                <a:xfrm>
                  <a:off x="6396" y="3560"/>
                  <a:ext cx="20" cy="50"/>
                </a:xfrm>
                <a:custGeom>
                  <a:avLst/>
                  <a:gdLst>
                    <a:gd name="T0" fmla="*/ 27 w 27"/>
                    <a:gd name="T1" fmla="*/ 0 h 68"/>
                    <a:gd name="T2" fmla="*/ 27 w 27"/>
                    <a:gd name="T3" fmla="*/ 0 h 68"/>
                    <a:gd name="T4" fmla="*/ 0 w 27"/>
                    <a:gd name="T5" fmla="*/ 0 h 68"/>
                    <a:gd name="T6" fmla="*/ 0 w 27"/>
                    <a:gd name="T7" fmla="*/ 68 h 68"/>
                    <a:gd name="T8" fmla="*/ 27 w 27"/>
                    <a:gd name="T9" fmla="*/ 68 h 68"/>
                    <a:gd name="T10" fmla="*/ 27 w 27"/>
                    <a:gd name="T11" fmla="*/ 0 h 68"/>
                  </a:gdLst>
                  <a:ahLst/>
                  <a:cxnLst>
                    <a:cxn ang="0">
                      <a:pos x="T0" y="T1"/>
                    </a:cxn>
                    <a:cxn ang="0">
                      <a:pos x="T2" y="T3"/>
                    </a:cxn>
                    <a:cxn ang="0">
                      <a:pos x="T4" y="T5"/>
                    </a:cxn>
                    <a:cxn ang="0">
                      <a:pos x="T6" y="T7"/>
                    </a:cxn>
                    <a:cxn ang="0">
                      <a:pos x="T8" y="T9"/>
                    </a:cxn>
                    <a:cxn ang="0">
                      <a:pos x="T10" y="T11"/>
                    </a:cxn>
                  </a:cxnLst>
                  <a:rect l="0" t="0" r="r" b="b"/>
                  <a:pathLst>
                    <a:path w="27" h="68">
                      <a:moveTo>
                        <a:pt x="27" y="0"/>
                      </a:moveTo>
                      <a:lnTo>
                        <a:pt x="27" y="0"/>
                      </a:lnTo>
                      <a:lnTo>
                        <a:pt x="0" y="0"/>
                      </a:lnTo>
                      <a:lnTo>
                        <a:pt x="0" y="68"/>
                      </a:lnTo>
                      <a:lnTo>
                        <a:pt x="27" y="68"/>
                      </a:lnTo>
                      <a:lnTo>
                        <a:pt x="27" y="0"/>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1" name="Freeform 8">
                  <a:extLst>
                    <a:ext uri="{FF2B5EF4-FFF2-40B4-BE49-F238E27FC236}">
                      <a16:creationId xmlns:a16="http://schemas.microsoft.com/office/drawing/2014/main" id="{14D8E7F1-8827-477F-AFAF-7E8976EB1C58}"/>
                    </a:ext>
                  </a:extLst>
                </p:cNvPr>
                <p:cNvSpPr>
                  <a:spLocks/>
                </p:cNvSpPr>
                <p:nvPr/>
              </p:nvSpPr>
              <p:spPr bwMode="auto">
                <a:xfrm>
                  <a:off x="6455" y="3355"/>
                  <a:ext cx="60" cy="255"/>
                </a:xfrm>
                <a:custGeom>
                  <a:avLst/>
                  <a:gdLst>
                    <a:gd name="T0" fmla="*/ 82 w 82"/>
                    <a:gd name="T1" fmla="*/ 348 h 348"/>
                    <a:gd name="T2" fmla="*/ 82 w 82"/>
                    <a:gd name="T3" fmla="*/ 348 h 348"/>
                    <a:gd name="T4" fmla="*/ 82 w 82"/>
                    <a:gd name="T5" fmla="*/ 82 h 348"/>
                    <a:gd name="T6" fmla="*/ 0 w 82"/>
                    <a:gd name="T7" fmla="*/ 0 h 348"/>
                    <a:gd name="T8" fmla="*/ 0 w 82"/>
                    <a:gd name="T9" fmla="*/ 90 h 348"/>
                    <a:gd name="T10" fmla="*/ 27 w 82"/>
                    <a:gd name="T11" fmla="*/ 90 h 348"/>
                    <a:gd name="T12" fmla="*/ 27 w 82"/>
                    <a:gd name="T13" fmla="*/ 348 h 348"/>
                    <a:gd name="T14" fmla="*/ 82 w 82"/>
                    <a:gd name="T15" fmla="*/ 348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348">
                      <a:moveTo>
                        <a:pt x="82" y="348"/>
                      </a:moveTo>
                      <a:lnTo>
                        <a:pt x="82" y="348"/>
                      </a:lnTo>
                      <a:lnTo>
                        <a:pt x="82" y="82"/>
                      </a:lnTo>
                      <a:lnTo>
                        <a:pt x="0" y="0"/>
                      </a:lnTo>
                      <a:lnTo>
                        <a:pt x="0" y="90"/>
                      </a:lnTo>
                      <a:lnTo>
                        <a:pt x="27" y="90"/>
                      </a:lnTo>
                      <a:lnTo>
                        <a:pt x="27" y="348"/>
                      </a:lnTo>
                      <a:lnTo>
                        <a:pt x="82" y="348"/>
                      </a:lnTo>
                      <a:close/>
                    </a:path>
                  </a:pathLst>
                </a:custGeom>
                <a:solidFill>
                  <a:srgbClr val="0078D4"/>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2" name="Freeform 9">
                  <a:extLst>
                    <a:ext uri="{FF2B5EF4-FFF2-40B4-BE49-F238E27FC236}">
                      <a16:creationId xmlns:a16="http://schemas.microsoft.com/office/drawing/2014/main" id="{076B87BE-740F-46F7-B1ED-6919019BC44D}"/>
                    </a:ext>
                  </a:extLst>
                </p:cNvPr>
                <p:cNvSpPr>
                  <a:spLocks/>
                </p:cNvSpPr>
                <p:nvPr/>
              </p:nvSpPr>
              <p:spPr bwMode="auto">
                <a:xfrm>
                  <a:off x="6296" y="3460"/>
                  <a:ext cx="20" cy="20"/>
                </a:xfrm>
                <a:custGeom>
                  <a:avLst/>
                  <a:gdLst>
                    <a:gd name="T0" fmla="*/ 0 w 27"/>
                    <a:gd name="T1" fmla="*/ 27 h 27"/>
                    <a:gd name="T2" fmla="*/ 0 w 27"/>
                    <a:gd name="T3" fmla="*/ 27 h 27"/>
                    <a:gd name="T4" fmla="*/ 27 w 27"/>
                    <a:gd name="T5" fmla="*/ 27 h 27"/>
                    <a:gd name="T6" fmla="*/ 27 w 27"/>
                    <a:gd name="T7" fmla="*/ 0 h 27"/>
                    <a:gd name="T8" fmla="*/ 0 w 27"/>
                    <a:gd name="T9" fmla="*/ 0 h 27"/>
                    <a:gd name="T10" fmla="*/ 0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0" y="27"/>
                      </a:moveTo>
                      <a:lnTo>
                        <a:pt x="0" y="27"/>
                      </a:lnTo>
                      <a:lnTo>
                        <a:pt x="27" y="27"/>
                      </a:lnTo>
                      <a:lnTo>
                        <a:pt x="27" y="0"/>
                      </a:lnTo>
                      <a:lnTo>
                        <a:pt x="0" y="0"/>
                      </a:lnTo>
                      <a:lnTo>
                        <a:pt x="0" y="27"/>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3" name="Freeform 10">
                  <a:extLst>
                    <a:ext uri="{FF2B5EF4-FFF2-40B4-BE49-F238E27FC236}">
                      <a16:creationId xmlns:a16="http://schemas.microsoft.com/office/drawing/2014/main" id="{CA0F4D32-5E34-48DA-9B9D-D83B0D4606D8}"/>
                    </a:ext>
                  </a:extLst>
                </p:cNvPr>
                <p:cNvSpPr>
                  <a:spLocks/>
                </p:cNvSpPr>
                <p:nvPr/>
              </p:nvSpPr>
              <p:spPr bwMode="auto">
                <a:xfrm>
                  <a:off x="6376" y="3500"/>
                  <a:ext cx="20" cy="20"/>
                </a:xfrm>
                <a:custGeom>
                  <a:avLst/>
                  <a:gdLst>
                    <a:gd name="T0" fmla="*/ 0 w 27"/>
                    <a:gd name="T1" fmla="*/ 28 h 28"/>
                    <a:gd name="T2" fmla="*/ 0 w 27"/>
                    <a:gd name="T3" fmla="*/ 28 h 28"/>
                    <a:gd name="T4" fmla="*/ 27 w 27"/>
                    <a:gd name="T5" fmla="*/ 28 h 28"/>
                    <a:gd name="T6" fmla="*/ 27 w 27"/>
                    <a:gd name="T7" fmla="*/ 0 h 28"/>
                    <a:gd name="T8" fmla="*/ 0 w 27"/>
                    <a:gd name="T9" fmla="*/ 0 h 28"/>
                    <a:gd name="T10" fmla="*/ 0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8"/>
                      </a:moveTo>
                      <a:lnTo>
                        <a:pt x="0" y="28"/>
                      </a:lnTo>
                      <a:lnTo>
                        <a:pt x="27" y="28"/>
                      </a:lnTo>
                      <a:lnTo>
                        <a:pt x="27" y="0"/>
                      </a:lnTo>
                      <a:lnTo>
                        <a:pt x="0" y="0"/>
                      </a:lnTo>
                      <a:lnTo>
                        <a:pt x="0" y="28"/>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4" name="Freeform 11">
                  <a:extLst>
                    <a:ext uri="{FF2B5EF4-FFF2-40B4-BE49-F238E27FC236}">
                      <a16:creationId xmlns:a16="http://schemas.microsoft.com/office/drawing/2014/main" id="{3964DAB5-17C9-4A94-A12A-659C7A6FE71A}"/>
                    </a:ext>
                  </a:extLst>
                </p:cNvPr>
                <p:cNvSpPr>
                  <a:spLocks/>
                </p:cNvSpPr>
                <p:nvPr/>
              </p:nvSpPr>
              <p:spPr bwMode="auto">
                <a:xfrm>
                  <a:off x="6416" y="3460"/>
                  <a:ext cx="20" cy="20"/>
                </a:xfrm>
                <a:custGeom>
                  <a:avLst/>
                  <a:gdLst>
                    <a:gd name="T0" fmla="*/ 27 w 27"/>
                    <a:gd name="T1" fmla="*/ 0 h 27"/>
                    <a:gd name="T2" fmla="*/ 27 w 27"/>
                    <a:gd name="T3" fmla="*/ 0 h 27"/>
                    <a:gd name="T4" fmla="*/ 0 w 27"/>
                    <a:gd name="T5" fmla="*/ 0 h 27"/>
                    <a:gd name="T6" fmla="*/ 0 w 27"/>
                    <a:gd name="T7" fmla="*/ 27 h 27"/>
                    <a:gd name="T8" fmla="*/ 27 w 27"/>
                    <a:gd name="T9" fmla="*/ 27 h 27"/>
                    <a:gd name="T10" fmla="*/ 27 w 27"/>
                    <a:gd name="T11" fmla="*/ 0 h 27"/>
                  </a:gdLst>
                  <a:ahLst/>
                  <a:cxnLst>
                    <a:cxn ang="0">
                      <a:pos x="T0" y="T1"/>
                    </a:cxn>
                    <a:cxn ang="0">
                      <a:pos x="T2" y="T3"/>
                    </a:cxn>
                    <a:cxn ang="0">
                      <a:pos x="T4" y="T5"/>
                    </a:cxn>
                    <a:cxn ang="0">
                      <a:pos x="T6" y="T7"/>
                    </a:cxn>
                    <a:cxn ang="0">
                      <a:pos x="T8" y="T9"/>
                    </a:cxn>
                    <a:cxn ang="0">
                      <a:pos x="T10" y="T11"/>
                    </a:cxn>
                  </a:cxnLst>
                  <a:rect l="0" t="0" r="r" b="b"/>
                  <a:pathLst>
                    <a:path w="27" h="27">
                      <a:moveTo>
                        <a:pt x="27" y="0"/>
                      </a:moveTo>
                      <a:lnTo>
                        <a:pt x="27" y="0"/>
                      </a:lnTo>
                      <a:lnTo>
                        <a:pt x="0" y="0"/>
                      </a:lnTo>
                      <a:lnTo>
                        <a:pt x="0" y="27"/>
                      </a:lnTo>
                      <a:lnTo>
                        <a:pt x="27" y="27"/>
                      </a:lnTo>
                      <a:lnTo>
                        <a:pt x="27" y="0"/>
                      </a:lnTo>
                      <a:close/>
                    </a:path>
                  </a:pathLst>
                </a:custGeom>
                <a:solidFill>
                  <a:srgbClr val="50E6FF"/>
                </a:solidFill>
                <a:ln w="0">
                  <a:no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grpSp>
      <p:cxnSp>
        <p:nvCxnSpPr>
          <p:cNvPr id="155" name="Straight Connector 154">
            <a:extLst>
              <a:ext uri="{FF2B5EF4-FFF2-40B4-BE49-F238E27FC236}">
                <a16:creationId xmlns:a16="http://schemas.microsoft.com/office/drawing/2014/main" id="{B1A7A6F9-B73E-4E45-B883-98ED00305FAF}"/>
              </a:ext>
            </a:extLst>
          </p:cNvPr>
          <p:cNvCxnSpPr>
            <a:cxnSpLocks/>
          </p:cNvCxnSpPr>
          <p:nvPr/>
        </p:nvCxnSpPr>
        <p:spPr>
          <a:xfrm>
            <a:off x="8013159" y="1534254"/>
            <a:ext cx="0" cy="2672564"/>
          </a:xfrm>
          <a:prstGeom prst="line">
            <a:avLst/>
          </a:prstGeom>
          <a:noFill/>
          <a:ln w="6350" cap="flat" cmpd="sng" algn="ctr">
            <a:solidFill>
              <a:srgbClr val="002050"/>
            </a:solidFill>
            <a:prstDash val="solid"/>
            <a:headEnd type="none"/>
            <a:tailEnd type="none"/>
          </a:ln>
          <a:effectLst/>
        </p:spPr>
      </p:cxnSp>
      <p:cxnSp>
        <p:nvCxnSpPr>
          <p:cNvPr id="156" name="Straight Connector 155">
            <a:extLst>
              <a:ext uri="{FF2B5EF4-FFF2-40B4-BE49-F238E27FC236}">
                <a16:creationId xmlns:a16="http://schemas.microsoft.com/office/drawing/2014/main" id="{E8F39CC5-7401-4DDE-AEE0-8EF1114EE8A5}"/>
              </a:ext>
            </a:extLst>
          </p:cNvPr>
          <p:cNvCxnSpPr>
            <a:cxnSpLocks/>
          </p:cNvCxnSpPr>
          <p:nvPr/>
        </p:nvCxnSpPr>
        <p:spPr>
          <a:xfrm flipH="1" flipV="1">
            <a:off x="482615" y="4932149"/>
            <a:ext cx="11509717" cy="590"/>
          </a:xfrm>
          <a:prstGeom prst="line">
            <a:avLst/>
          </a:prstGeom>
          <a:noFill/>
          <a:ln w="6350" cap="flat" cmpd="sng" algn="ctr">
            <a:solidFill>
              <a:srgbClr val="002050"/>
            </a:solidFill>
            <a:prstDash val="solid"/>
            <a:headEnd type="none"/>
            <a:tailEnd type="none"/>
          </a:ln>
          <a:effectLst/>
        </p:spPr>
      </p:cxnSp>
    </p:spTree>
    <p:extLst>
      <p:ext uri="{BB962C8B-B14F-4D97-AF65-F5344CB8AC3E}">
        <p14:creationId xmlns:p14="http://schemas.microsoft.com/office/powerpoint/2010/main" val="1561879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rovisioned compute and serverless meet different need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Optimize compute provisioning and billing for your workload</a:t>
            </a:r>
          </a:p>
          <a:p>
            <a:endParaRPr lang="en-US"/>
          </a:p>
        </p:txBody>
      </p:sp>
      <p:grpSp>
        <p:nvGrpSpPr>
          <p:cNvPr id="23" name="Group 22">
            <a:extLst>
              <a:ext uri="{FF2B5EF4-FFF2-40B4-BE49-F238E27FC236}">
                <a16:creationId xmlns:a16="http://schemas.microsoft.com/office/drawing/2014/main" id="{0DFE7833-72FD-4803-9E99-35F14784A02F}"/>
              </a:ext>
            </a:extLst>
          </p:cNvPr>
          <p:cNvGrpSpPr/>
          <p:nvPr/>
        </p:nvGrpSpPr>
        <p:grpSpPr>
          <a:xfrm>
            <a:off x="752160" y="1587987"/>
            <a:ext cx="4986304" cy="4450708"/>
            <a:chOff x="6647881" y="1544537"/>
            <a:chExt cx="4986304" cy="4450708"/>
          </a:xfrm>
        </p:grpSpPr>
        <p:sp>
          <p:nvSpPr>
            <p:cNvPr id="11" name="Text Placeholder 4">
              <a:extLst>
                <a:ext uri="{FF2B5EF4-FFF2-40B4-BE49-F238E27FC236}">
                  <a16:creationId xmlns:a16="http://schemas.microsoft.com/office/drawing/2014/main" id="{EF7E51C9-97A0-4CB6-9B96-851447BE2000}"/>
                </a:ext>
              </a:extLst>
            </p:cNvPr>
            <p:cNvSpPr txBox="1">
              <a:spLocks/>
            </p:cNvSpPr>
            <p:nvPr/>
          </p:nvSpPr>
          <p:spPr>
            <a:xfrm>
              <a:off x="7082812" y="4112502"/>
              <a:ext cx="4224846" cy="1553169"/>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a:cs typeface="Segoe UI" panose="020B0502040204020203" pitchFamily="34" charset="0"/>
                </a:rPr>
                <a:t>Workloads with regular and substantial compute utilization.</a:t>
              </a:r>
            </a:p>
            <a:p>
              <a:pPr defTabSz="932563">
                <a:spcAft>
                  <a:spcPts val="1299"/>
                </a:spcAft>
                <a:defRPr/>
              </a:pPr>
              <a:r>
                <a:rPr lang="en-US" sz="1632">
                  <a:cs typeface="Segoe UI" panose="020B0502040204020203" pitchFamily="34" charset="0"/>
                </a:rPr>
                <a:t>Multiple databases with </a:t>
              </a:r>
              <a:r>
                <a:rPr lang="en-US" sz="1632" err="1">
                  <a:cs typeface="Segoe UI" panose="020B0502040204020203" pitchFamily="34" charset="0"/>
                </a:rPr>
                <a:t>bursty</a:t>
              </a:r>
              <a:r>
                <a:rPr lang="en-US" sz="1632">
                  <a:cs typeface="Segoe UI" panose="020B0502040204020203" pitchFamily="34" charset="0"/>
                </a:rPr>
                <a:t> usage </a:t>
              </a:r>
              <a:br>
                <a:rPr lang="en-US" sz="1632">
                  <a:cs typeface="Segoe UI" panose="020B0502040204020203" pitchFamily="34" charset="0"/>
                </a:rPr>
              </a:br>
              <a:r>
                <a:rPr lang="en-US" sz="1632">
                  <a:cs typeface="Segoe UI" panose="020B0502040204020203" pitchFamily="34" charset="0"/>
                </a:rPr>
                <a:t>patterns that can be consolidated into a </a:t>
              </a:r>
              <a:br>
                <a:rPr lang="en-US" sz="1632">
                  <a:cs typeface="Segoe UI" panose="020B0502040204020203" pitchFamily="34" charset="0"/>
                </a:rPr>
              </a:br>
              <a:r>
                <a:rPr lang="en-US" sz="1632">
                  <a:cs typeface="Segoe UI" panose="020B0502040204020203" pitchFamily="34" charset="0"/>
                </a:rPr>
                <a:t>single server and use </a:t>
              </a:r>
              <a:r>
                <a:rPr lang="en-US" sz="1632" i="1">
                  <a:cs typeface="Segoe UI" panose="020B0502040204020203" pitchFamily="34" charset="0"/>
                </a:rPr>
                <a:t>elastic pools </a:t>
              </a:r>
              <a:r>
                <a:rPr lang="en-US" sz="1632">
                  <a:cs typeface="Segoe UI" panose="020B0502040204020203" pitchFamily="34" charset="0"/>
                </a:rPr>
                <a:t>for </a:t>
              </a:r>
              <a:br>
                <a:rPr lang="en-US" sz="1632">
                  <a:cs typeface="Segoe UI" panose="020B0502040204020203" pitchFamily="34" charset="0"/>
                </a:rPr>
              </a:br>
              <a:r>
                <a:rPr lang="en-US" sz="1632">
                  <a:cs typeface="Segoe UI" panose="020B0502040204020203" pitchFamily="34" charset="0"/>
                </a:rPr>
                <a:t>better price optimization.</a:t>
              </a:r>
            </a:p>
          </p:txBody>
        </p:sp>
        <p:sp>
          <p:nvSpPr>
            <p:cNvPr id="12" name="Text Placeholder 4">
              <a:extLst>
                <a:ext uri="{FF2B5EF4-FFF2-40B4-BE49-F238E27FC236}">
                  <a16:creationId xmlns:a16="http://schemas.microsoft.com/office/drawing/2014/main" id="{CE3117BB-2D4A-4742-AFB1-E57C2D4357B4}"/>
                </a:ext>
              </a:extLst>
            </p:cNvPr>
            <p:cNvSpPr txBox="1">
              <a:spLocks/>
            </p:cNvSpPr>
            <p:nvPr/>
          </p:nvSpPr>
          <p:spPr>
            <a:xfrm>
              <a:off x="7082812" y="3702971"/>
              <a:ext cx="4499044" cy="230524"/>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b="1">
                  <a:solidFill>
                    <a:srgbClr val="0078D4"/>
                  </a:solidFill>
                  <a:latin typeface="Segoe UI Semibold"/>
                </a:rPr>
                <a:t>Common scenarios  </a:t>
              </a:r>
            </a:p>
          </p:txBody>
        </p:sp>
        <p:sp>
          <p:nvSpPr>
            <p:cNvPr id="13" name="Text Placeholder 4">
              <a:extLst>
                <a:ext uri="{FF2B5EF4-FFF2-40B4-BE49-F238E27FC236}">
                  <a16:creationId xmlns:a16="http://schemas.microsoft.com/office/drawing/2014/main" id="{BA28DA39-E18C-484E-83ED-01A92ED4457E}"/>
                </a:ext>
              </a:extLst>
            </p:cNvPr>
            <p:cNvSpPr txBox="1">
              <a:spLocks/>
            </p:cNvSpPr>
            <p:nvPr/>
          </p:nvSpPr>
          <p:spPr>
            <a:xfrm>
              <a:off x="7082812" y="2364542"/>
              <a:ext cx="3536166" cy="63107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Provision compute resources upfront.</a:t>
              </a:r>
            </a:p>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Bill on an hourly basis.</a:t>
              </a:r>
              <a:endParaRPr kumimoji="0" lang="en-US" sz="1632" b="1"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B609B650-4DF8-4A46-94AC-7AB92DD0DD0A}"/>
                </a:ext>
              </a:extLst>
            </p:cNvPr>
            <p:cNvSpPr/>
            <p:nvPr/>
          </p:nvSpPr>
          <p:spPr bwMode="auto">
            <a:xfrm>
              <a:off x="6647881" y="1544537"/>
              <a:ext cx="4986304" cy="565027"/>
            </a:xfrm>
            <a:prstGeom prst="rect">
              <a:avLst/>
            </a:prstGeom>
            <a:solidFill>
              <a:srgbClr val="0078D7"/>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a:ln>
                    <a:noFill/>
                  </a:ln>
                  <a:solidFill>
                    <a:srgbClr val="FFFFFF"/>
                  </a:solidFill>
                  <a:effectLst/>
                  <a:uLnTx/>
                  <a:uFillTx/>
                  <a:latin typeface="Segoe UI Semibold" panose="020B0502040204020203" pitchFamily="34" charset="0"/>
                  <a:ea typeface="Segoe UI" pitchFamily="34" charset="0"/>
                  <a:cs typeface="Segoe UI Semibold" panose="020B0502040204020203" pitchFamily="34" charset="0"/>
                </a:rPr>
                <a:t> </a:t>
              </a:r>
              <a:endParaRPr kumimoji="0" lang="en-US" sz="2040" b="1" i="0" u="none" strike="noStrike" kern="0" cap="none" spc="0" normalizeH="0" baseline="30000" noProof="0">
                <a:ln>
                  <a:noFill/>
                </a:ln>
                <a:solidFill>
                  <a:srgbClr val="FFFFFF"/>
                </a:solidFill>
                <a:effectLst/>
                <a:uLnTx/>
                <a:uFillTx/>
                <a:latin typeface="Segoe UI"/>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3C464D10-9567-4B14-8189-0DE2B7DAF07F}"/>
                </a:ext>
              </a:extLst>
            </p:cNvPr>
            <p:cNvSpPr/>
            <p:nvPr/>
          </p:nvSpPr>
          <p:spPr>
            <a:xfrm>
              <a:off x="6979195" y="1654403"/>
              <a:ext cx="4551373" cy="350330"/>
            </a:xfrm>
            <a:prstGeom prst="rect">
              <a:avLst/>
            </a:prstGeom>
          </p:spPr>
          <p:txBody>
            <a:bodyPr wrap="square">
              <a:spAutoFit/>
            </a:bodyPr>
            <a:lstStyle/>
            <a:p>
              <a:pPr defTabSz="932597">
                <a:defRPr/>
              </a:pPr>
              <a:r>
                <a:rPr lang="en-US" sz="1632">
                  <a:solidFill>
                    <a:srgbClr val="FFFFFF"/>
                  </a:solidFill>
                  <a:latin typeface="Segoe UI Semibold" panose="020B0502040204020203" pitchFamily="34" charset="0"/>
                  <a:cs typeface="Segoe UI Semibold" panose="020B0502040204020203" pitchFamily="34" charset="0"/>
                </a:rPr>
                <a:t>Databases with provisioned compute…</a:t>
              </a:r>
            </a:p>
          </p:txBody>
        </p:sp>
        <p:sp>
          <p:nvSpPr>
            <p:cNvPr id="16" name="Rectangle 15">
              <a:extLst>
                <a:ext uri="{FF2B5EF4-FFF2-40B4-BE49-F238E27FC236}">
                  <a16:creationId xmlns:a16="http://schemas.microsoft.com/office/drawing/2014/main" id="{D98DF606-3F54-495A-A4A7-0BB443098D6F}"/>
                </a:ext>
              </a:extLst>
            </p:cNvPr>
            <p:cNvSpPr/>
            <p:nvPr/>
          </p:nvSpPr>
          <p:spPr bwMode="auto">
            <a:xfrm>
              <a:off x="6647881" y="1544537"/>
              <a:ext cx="4986304" cy="445070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987B2E9A-BBD2-453E-A030-7EF4917AC83A}"/>
                </a:ext>
              </a:extLst>
            </p:cNvPr>
            <p:cNvGrpSpPr/>
            <p:nvPr/>
          </p:nvGrpSpPr>
          <p:grpSpPr>
            <a:xfrm>
              <a:off x="10690457" y="5313463"/>
              <a:ext cx="617201" cy="621736"/>
              <a:chOff x="1195754" y="1309635"/>
              <a:chExt cx="605154" cy="609600"/>
            </a:xfrm>
          </p:grpSpPr>
          <p:sp>
            <p:nvSpPr>
              <p:cNvPr id="18" name="Freeform 11">
                <a:extLst>
                  <a:ext uri="{FF2B5EF4-FFF2-40B4-BE49-F238E27FC236}">
                    <a16:creationId xmlns:a16="http://schemas.microsoft.com/office/drawing/2014/main" id="{23612D97-E6BA-48A9-BFCD-53ED15708185}"/>
                  </a:ext>
                </a:extLst>
              </p:cNvPr>
              <p:cNvSpPr/>
              <p:nvPr/>
            </p:nvSpPr>
            <p:spPr bwMode="auto">
              <a:xfrm>
                <a:off x="1195754" y="1309635"/>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19" name="Freeform 13">
                <a:extLst>
                  <a:ext uri="{FF2B5EF4-FFF2-40B4-BE49-F238E27FC236}">
                    <a16:creationId xmlns:a16="http://schemas.microsoft.com/office/drawing/2014/main" id="{B6C34BA0-8C02-4E1F-AA9E-5502753B5E58}"/>
                  </a:ext>
                </a:extLst>
              </p:cNvPr>
              <p:cNvSpPr/>
              <p:nvPr/>
            </p:nvSpPr>
            <p:spPr bwMode="auto">
              <a:xfrm>
                <a:off x="1256165" y="1387724"/>
                <a:ext cx="544743" cy="45719"/>
              </a:xfrm>
              <a:custGeom>
                <a:avLst/>
                <a:gdLst>
                  <a:gd name="connsiteX0" fmla="*/ 0 w 415332"/>
                  <a:gd name="connsiteY0" fmla="*/ 36890 h 43822"/>
                  <a:gd name="connsiteX1" fmla="*/ 137327 w 415332"/>
                  <a:gd name="connsiteY1" fmla="*/ 46 h 43822"/>
                  <a:gd name="connsiteX2" fmla="*/ 264606 w 415332"/>
                  <a:gd name="connsiteY2" fmla="*/ 43588 h 43822"/>
                  <a:gd name="connsiteX3" fmla="*/ 388536 w 415332"/>
                  <a:gd name="connsiteY3" fmla="*/ 16793 h 43822"/>
                  <a:gd name="connsiteX4" fmla="*/ 415332 w 415332"/>
                  <a:gd name="connsiteY4" fmla="*/ 3395 h 43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32" h="43822">
                    <a:moveTo>
                      <a:pt x="0" y="36890"/>
                    </a:moveTo>
                    <a:cubicBezTo>
                      <a:pt x="46613" y="17910"/>
                      <a:pt x="93226" y="-1070"/>
                      <a:pt x="137327" y="46"/>
                    </a:cubicBezTo>
                    <a:cubicBezTo>
                      <a:pt x="181428" y="1162"/>
                      <a:pt x="222738" y="40797"/>
                      <a:pt x="264606" y="43588"/>
                    </a:cubicBezTo>
                    <a:cubicBezTo>
                      <a:pt x="306474" y="46379"/>
                      <a:pt x="363415" y="23492"/>
                      <a:pt x="388536" y="16793"/>
                    </a:cubicBezTo>
                    <a:cubicBezTo>
                      <a:pt x="413657" y="10094"/>
                      <a:pt x="414494" y="6744"/>
                      <a:pt x="415332" y="3395"/>
                    </a:cubicBezTo>
                  </a:path>
                </a:pathLst>
              </a:custGeom>
              <a:noFill/>
              <a:ln w="25400" cap="flat" cmpd="sng" algn="ctr">
                <a:solidFill>
                  <a:srgbClr val="002050"/>
                </a:solidFill>
                <a:prstDash val="solid"/>
                <a:headEnd type="none" w="med" len="med"/>
                <a:tailEnd type="triangl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957ED5CB-6464-41BF-9339-7EFE0C076FE7}"/>
              </a:ext>
            </a:extLst>
          </p:cNvPr>
          <p:cNvGrpSpPr/>
          <p:nvPr/>
        </p:nvGrpSpPr>
        <p:grpSpPr>
          <a:xfrm>
            <a:off x="6449941" y="1600864"/>
            <a:ext cx="4989899" cy="4450708"/>
            <a:chOff x="923390" y="1544537"/>
            <a:chExt cx="4989899" cy="4450708"/>
          </a:xfrm>
        </p:grpSpPr>
        <p:sp>
          <p:nvSpPr>
            <p:cNvPr id="5" name="Rectangle 4">
              <a:extLst>
                <a:ext uri="{FF2B5EF4-FFF2-40B4-BE49-F238E27FC236}">
                  <a16:creationId xmlns:a16="http://schemas.microsoft.com/office/drawing/2014/main" id="{5E5054A8-068C-4039-9AD0-83B203203CF3}"/>
                </a:ext>
              </a:extLst>
            </p:cNvPr>
            <p:cNvSpPr/>
            <p:nvPr/>
          </p:nvSpPr>
          <p:spPr bwMode="auto">
            <a:xfrm>
              <a:off x="926985" y="1551778"/>
              <a:ext cx="4986304" cy="565027"/>
            </a:xfrm>
            <a:prstGeom prst="rect">
              <a:avLst/>
            </a:prstGeom>
            <a:solidFill>
              <a:srgbClr val="0078D4"/>
            </a:solidFill>
            <a:ln w="9525" cap="flat" cmpd="sng" algn="ctr">
              <a:noFill/>
              <a:prstDash val="solid"/>
              <a:headEnd type="none" w="med" len="med"/>
              <a:tailEnd type="none" w="med" len="med"/>
            </a:ln>
            <a:effectLst/>
          </p:spPr>
          <p:txBody>
            <a:bodyPr rot="0" spcFirstLastPara="0"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a:ln>
                    <a:noFill/>
                  </a:ln>
                  <a:solidFill>
                    <a:srgbClr val="50E6FF"/>
                  </a:solidFill>
                  <a:effectLst/>
                  <a:uLnTx/>
                  <a:uFillTx/>
                  <a:latin typeface="Segoe UI Semibold" panose="020B0502040204020203" pitchFamily="34" charset="0"/>
                  <a:ea typeface="Segoe UI" pitchFamily="34" charset="0"/>
                  <a:cs typeface="Segoe UI Semibold" panose="020B0502040204020203" pitchFamily="34" charset="0"/>
                </a:rPr>
                <a:t> </a:t>
              </a:r>
              <a:endParaRPr kumimoji="0" lang="en-US" sz="2040" b="1" i="0" u="none" strike="noStrike" kern="0" cap="none" spc="0" normalizeH="0" baseline="30000" noProof="0">
                <a:ln>
                  <a:noFill/>
                </a:ln>
                <a:solidFill>
                  <a:srgbClr val="50E6FF"/>
                </a:solidFill>
                <a:effectLst/>
                <a:uLnTx/>
                <a:uFillTx/>
                <a:latin typeface="Segoe UI"/>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9354CD68-1845-414D-9177-CF6F27DEE6C8}"/>
                </a:ext>
              </a:extLst>
            </p:cNvPr>
            <p:cNvSpPr/>
            <p:nvPr/>
          </p:nvSpPr>
          <p:spPr bwMode="auto">
            <a:xfrm>
              <a:off x="923390" y="1544537"/>
              <a:ext cx="4986304" cy="4450708"/>
            </a:xfrm>
            <a:prstGeom prst="rect">
              <a:avLst/>
            </a:prstGeom>
            <a:noFill/>
            <a:ln w="12700" cap="flat" cmpd="sng" algn="ctr">
              <a:solidFill>
                <a:srgbClr val="0078D4"/>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EB1C2D44-8D47-49D0-A313-EE015A33F673}"/>
                </a:ext>
              </a:extLst>
            </p:cNvPr>
            <p:cNvSpPr txBox="1">
              <a:spLocks/>
            </p:cNvSpPr>
            <p:nvPr/>
          </p:nvSpPr>
          <p:spPr>
            <a:xfrm>
              <a:off x="1260486" y="4104576"/>
              <a:ext cx="4399210" cy="1322647"/>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a:cs typeface="Segoe UI" panose="020B0502040204020203" pitchFamily="34" charset="0"/>
                </a:rPr>
                <a:t>Workloads with unpredictable and intermittent usage patterns or performance requirements .</a:t>
              </a:r>
            </a:p>
            <a:p>
              <a:pPr defTabSz="932563">
                <a:spcAft>
                  <a:spcPts val="1299"/>
                </a:spcAft>
                <a:defRPr/>
              </a:pPr>
              <a:r>
                <a:rPr lang="en-US" sz="1632">
                  <a:cs typeface="Segoe UI" panose="020B0502040204020203" pitchFamily="34" charset="0"/>
                </a:rPr>
                <a:t>Workloads where the requirements are unknown, and you can delegate compute sizing to the service. </a:t>
              </a:r>
            </a:p>
          </p:txBody>
        </p:sp>
        <p:sp>
          <p:nvSpPr>
            <p:cNvPr id="8" name="Text Placeholder 4">
              <a:extLst>
                <a:ext uri="{FF2B5EF4-FFF2-40B4-BE49-F238E27FC236}">
                  <a16:creationId xmlns:a16="http://schemas.microsoft.com/office/drawing/2014/main" id="{F5D37C52-D790-4006-9F4E-701747614A1F}"/>
                </a:ext>
              </a:extLst>
            </p:cNvPr>
            <p:cNvSpPr txBox="1">
              <a:spLocks/>
            </p:cNvSpPr>
            <p:nvPr/>
          </p:nvSpPr>
          <p:spPr>
            <a:xfrm>
              <a:off x="1260486" y="3706552"/>
              <a:ext cx="4399211" cy="230524"/>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Aft>
                  <a:spcPts val="1299"/>
                </a:spcAft>
                <a:defRPr/>
              </a:pPr>
              <a:r>
                <a:rPr lang="en-US" sz="1632" b="1">
                  <a:solidFill>
                    <a:srgbClr val="0078D4"/>
                  </a:solidFill>
                  <a:latin typeface="Segoe UI Semibold"/>
                </a:rPr>
                <a:t>Common scenarios  </a:t>
              </a:r>
            </a:p>
          </p:txBody>
        </p:sp>
        <p:sp>
          <p:nvSpPr>
            <p:cNvPr id="9" name="Text Placeholder 4">
              <a:extLst>
                <a:ext uri="{FF2B5EF4-FFF2-40B4-BE49-F238E27FC236}">
                  <a16:creationId xmlns:a16="http://schemas.microsoft.com/office/drawing/2014/main" id="{737B506D-E62B-44EA-A77C-B6A7A1075A01}"/>
                </a:ext>
              </a:extLst>
            </p:cNvPr>
            <p:cNvSpPr txBox="1">
              <a:spLocks/>
            </p:cNvSpPr>
            <p:nvPr/>
          </p:nvSpPr>
          <p:spPr>
            <a:xfrm>
              <a:off x="1260486" y="2362575"/>
              <a:ext cx="4399211" cy="861600"/>
            </a:xfrm>
            <a:prstGeom prst="rect">
              <a:avLst/>
            </a:prstGeom>
          </p:spPr>
          <p:txBody>
            <a:bodyPr vert="horz" wrap="square" lIns="0" tIns="0" rIns="0" bIns="0" rtlCol="0">
              <a:spAutoFit/>
            </a:bodyPr>
            <a:lstStyle>
              <a:lvl1pPr marL="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1274"/>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Scale up or down to meet workload requirements, instead of pre-provisioning.  </a:t>
              </a:r>
            </a:p>
            <a:p>
              <a:pPr marL="0" marR="0" lvl="0" indent="0" algn="l" defTabSz="932563" rtl="0" eaLnBrk="1" fontAlgn="auto" latinLnBrk="0" hangingPunct="1">
                <a:lnSpc>
                  <a:spcPct val="90000"/>
                </a:lnSpc>
                <a:spcBef>
                  <a:spcPts val="0"/>
                </a:spcBef>
                <a:spcAft>
                  <a:spcPts val="1299"/>
                </a:spcAft>
                <a:buClrTx/>
                <a:buSzPct val="90000"/>
                <a:buFont typeface="Wingdings" panose="05000000000000000000" pitchFamily="2" charset="2"/>
                <a:buNone/>
                <a:tabLst/>
                <a:defRPr/>
              </a:pPr>
              <a:r>
                <a:rPr kumimoji="0" lang="en-US" sz="1632" b="0" i="0" u="none" strike="noStrike" kern="1200" cap="none" spc="0" normalizeH="0" baseline="0" noProof="0">
                  <a:ln>
                    <a:noFill/>
                  </a:ln>
                  <a:solidFill>
                    <a:srgbClr val="000000"/>
                  </a:solidFill>
                  <a:effectLst/>
                  <a:uLnTx/>
                  <a:uFillTx/>
                  <a:latin typeface="Segoe UI"/>
                  <a:ea typeface="+mn-ea"/>
                  <a:cs typeface="+mn-cs"/>
                </a:rPr>
                <a:t>Bill on a per-second basis.</a:t>
              </a:r>
            </a:p>
          </p:txBody>
        </p:sp>
        <p:sp>
          <p:nvSpPr>
            <p:cNvPr id="10" name="Rectangle 9">
              <a:extLst>
                <a:ext uri="{FF2B5EF4-FFF2-40B4-BE49-F238E27FC236}">
                  <a16:creationId xmlns:a16="http://schemas.microsoft.com/office/drawing/2014/main" id="{ECF33CC8-CA5C-409F-8DCB-4EDBC558CD57}"/>
                </a:ext>
              </a:extLst>
            </p:cNvPr>
            <p:cNvSpPr/>
            <p:nvPr/>
          </p:nvSpPr>
          <p:spPr>
            <a:xfrm>
              <a:off x="1169189" y="1656193"/>
              <a:ext cx="2347541" cy="350330"/>
            </a:xfrm>
            <a:prstGeom prst="rect">
              <a:avLst/>
            </a:prstGeom>
          </p:spPr>
          <p:txBody>
            <a:bodyPr wrap="none">
              <a:spAutoFit/>
            </a:bodyPr>
            <a:lstStyle/>
            <a:p>
              <a:pPr defTabSz="932597">
                <a:defRPr/>
              </a:pPr>
              <a:r>
                <a:rPr lang="en-US" sz="1632" b="1" dirty="0">
                  <a:solidFill>
                    <a:prstClr val="white"/>
                  </a:solidFill>
                  <a:latin typeface="Segoe UI Semibold"/>
                </a:rPr>
                <a:t>Serverless databases…</a:t>
              </a:r>
            </a:p>
          </p:txBody>
        </p:sp>
        <p:grpSp>
          <p:nvGrpSpPr>
            <p:cNvPr id="20" name="Group 19">
              <a:extLst>
                <a:ext uri="{FF2B5EF4-FFF2-40B4-BE49-F238E27FC236}">
                  <a16:creationId xmlns:a16="http://schemas.microsoft.com/office/drawing/2014/main" id="{F61796CB-F8EC-4E8C-A600-74A83002B88C}"/>
                </a:ext>
              </a:extLst>
            </p:cNvPr>
            <p:cNvGrpSpPr/>
            <p:nvPr/>
          </p:nvGrpSpPr>
          <p:grpSpPr>
            <a:xfrm>
              <a:off x="4814267" y="5283855"/>
              <a:ext cx="617201" cy="621736"/>
              <a:chOff x="3015398" y="3511975"/>
              <a:chExt cx="605154" cy="609600"/>
            </a:xfrm>
          </p:grpSpPr>
          <p:sp>
            <p:nvSpPr>
              <p:cNvPr id="21" name="Freeform 33">
                <a:extLst>
                  <a:ext uri="{FF2B5EF4-FFF2-40B4-BE49-F238E27FC236}">
                    <a16:creationId xmlns:a16="http://schemas.microsoft.com/office/drawing/2014/main" id="{6577D0C0-EF74-4344-B022-E0522975E589}"/>
                  </a:ext>
                </a:extLst>
              </p:cNvPr>
              <p:cNvSpPr/>
              <p:nvPr/>
            </p:nvSpPr>
            <p:spPr bwMode="auto">
              <a:xfrm>
                <a:off x="3015398" y="3511975"/>
                <a:ext cx="605154" cy="609600"/>
              </a:xfrm>
              <a:custGeom>
                <a:avLst/>
                <a:gdLst>
                  <a:gd name="connsiteX0" fmla="*/ 0 w 669890"/>
                  <a:gd name="connsiteY0" fmla="*/ 0 h 609600"/>
                  <a:gd name="connsiteX1" fmla="*/ 0 w 669890"/>
                  <a:gd name="connsiteY1" fmla="*/ 609600 h 609600"/>
                  <a:gd name="connsiteX2" fmla="*/ 669890 w 669890"/>
                  <a:gd name="connsiteY2" fmla="*/ 609600 h 609600"/>
                  <a:gd name="connsiteX0" fmla="*/ 0 w 605154"/>
                  <a:gd name="connsiteY0" fmla="*/ 0 h 609600"/>
                  <a:gd name="connsiteX1" fmla="*/ 0 w 605154"/>
                  <a:gd name="connsiteY1" fmla="*/ 609600 h 609600"/>
                  <a:gd name="connsiteX2" fmla="*/ 605154 w 605154"/>
                  <a:gd name="connsiteY2" fmla="*/ 605554 h 609600"/>
                </a:gdLst>
                <a:ahLst/>
                <a:cxnLst>
                  <a:cxn ang="0">
                    <a:pos x="connsiteX0" y="connsiteY0"/>
                  </a:cxn>
                  <a:cxn ang="0">
                    <a:pos x="connsiteX1" y="connsiteY1"/>
                  </a:cxn>
                  <a:cxn ang="0">
                    <a:pos x="connsiteX2" y="connsiteY2"/>
                  </a:cxn>
                </a:cxnLst>
                <a:rect l="l" t="t" r="r" b="b"/>
                <a:pathLst>
                  <a:path w="605154" h="609600">
                    <a:moveTo>
                      <a:pt x="0" y="0"/>
                    </a:moveTo>
                    <a:lnTo>
                      <a:pt x="0" y="609600"/>
                    </a:lnTo>
                    <a:lnTo>
                      <a:pt x="605154" y="605554"/>
                    </a:lnTo>
                  </a:path>
                </a:pathLst>
              </a:custGeom>
              <a:noFill/>
              <a:ln w="254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Freeform 34">
                <a:extLst>
                  <a:ext uri="{FF2B5EF4-FFF2-40B4-BE49-F238E27FC236}">
                    <a16:creationId xmlns:a16="http://schemas.microsoft.com/office/drawing/2014/main" id="{5C534CA9-B87C-4580-A005-41AD9EAD923B}"/>
                  </a:ext>
                </a:extLst>
              </p:cNvPr>
              <p:cNvSpPr/>
              <p:nvPr/>
            </p:nvSpPr>
            <p:spPr bwMode="auto">
              <a:xfrm>
                <a:off x="3046677" y="3561500"/>
                <a:ext cx="542596" cy="527938"/>
              </a:xfrm>
              <a:custGeom>
                <a:avLst/>
                <a:gdLst>
                  <a:gd name="connsiteX0" fmla="*/ 0 w 485523"/>
                  <a:gd name="connsiteY0" fmla="*/ 525982 h 525982"/>
                  <a:gd name="connsiteX1" fmla="*/ 84967 w 485523"/>
                  <a:gd name="connsiteY1" fmla="*/ 0 h 525982"/>
                  <a:gd name="connsiteX2" fmla="*/ 149703 w 485523"/>
                  <a:gd name="connsiteY2" fmla="*/ 428878 h 525982"/>
                  <a:gd name="connsiteX3" fmla="*/ 206347 w 485523"/>
                  <a:gd name="connsiteY3" fmla="*/ 267037 h 525982"/>
                  <a:gd name="connsiteX4" fmla="*/ 262992 w 485523"/>
                  <a:gd name="connsiteY4" fmla="*/ 445062 h 525982"/>
                  <a:gd name="connsiteX5" fmla="*/ 331774 w 485523"/>
                  <a:gd name="connsiteY5" fmla="*/ 137564 h 525982"/>
                  <a:gd name="connsiteX6" fmla="*/ 400556 w 485523"/>
                  <a:gd name="connsiteY6" fmla="*/ 364141 h 525982"/>
                  <a:gd name="connsiteX7" fmla="*/ 485523 w 485523"/>
                  <a:gd name="connsiteY7" fmla="*/ 218485 h 525982"/>
                  <a:gd name="connsiteX0" fmla="*/ 0 w 468071"/>
                  <a:gd name="connsiteY0" fmla="*/ 521936 h 521936"/>
                  <a:gd name="connsiteX1" fmla="*/ 67515 w 468071"/>
                  <a:gd name="connsiteY1" fmla="*/ 0 h 521936"/>
                  <a:gd name="connsiteX2" fmla="*/ 132251 w 468071"/>
                  <a:gd name="connsiteY2" fmla="*/ 428878 h 521936"/>
                  <a:gd name="connsiteX3" fmla="*/ 188895 w 468071"/>
                  <a:gd name="connsiteY3" fmla="*/ 267037 h 521936"/>
                  <a:gd name="connsiteX4" fmla="*/ 245540 w 468071"/>
                  <a:gd name="connsiteY4" fmla="*/ 445062 h 521936"/>
                  <a:gd name="connsiteX5" fmla="*/ 314322 w 468071"/>
                  <a:gd name="connsiteY5" fmla="*/ 137564 h 521936"/>
                  <a:gd name="connsiteX6" fmla="*/ 383104 w 468071"/>
                  <a:gd name="connsiteY6" fmla="*/ 364141 h 521936"/>
                  <a:gd name="connsiteX7" fmla="*/ 468071 w 468071"/>
                  <a:gd name="connsiteY7" fmla="*/ 218485 h 521936"/>
                  <a:gd name="connsiteX0" fmla="*/ 0 w 468071"/>
                  <a:gd name="connsiteY0" fmla="*/ 521936 h 527938"/>
                  <a:gd name="connsiteX1" fmla="*/ 67515 w 468071"/>
                  <a:gd name="connsiteY1" fmla="*/ 0 h 527938"/>
                  <a:gd name="connsiteX2" fmla="*/ 145398 w 468071"/>
                  <a:gd name="connsiteY2" fmla="*/ 527938 h 527938"/>
                  <a:gd name="connsiteX3" fmla="*/ 188895 w 468071"/>
                  <a:gd name="connsiteY3" fmla="*/ 267037 h 527938"/>
                  <a:gd name="connsiteX4" fmla="*/ 245540 w 468071"/>
                  <a:gd name="connsiteY4" fmla="*/ 44506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37547"/>
                  <a:gd name="connsiteX1" fmla="*/ 67515 w 468071"/>
                  <a:gd name="connsiteY1" fmla="*/ 0 h 537547"/>
                  <a:gd name="connsiteX2" fmla="*/ 145398 w 468071"/>
                  <a:gd name="connsiteY2" fmla="*/ 527938 h 537547"/>
                  <a:gd name="connsiteX3" fmla="*/ 238195 w 468071"/>
                  <a:gd name="connsiteY3" fmla="*/ 537547 h 537547"/>
                  <a:gd name="connsiteX4" fmla="*/ 245540 w 468071"/>
                  <a:gd name="connsiteY4" fmla="*/ 445062 h 537547"/>
                  <a:gd name="connsiteX5" fmla="*/ 314322 w 468071"/>
                  <a:gd name="connsiteY5" fmla="*/ 137564 h 537547"/>
                  <a:gd name="connsiteX6" fmla="*/ 383104 w 468071"/>
                  <a:gd name="connsiteY6" fmla="*/ 364141 h 537547"/>
                  <a:gd name="connsiteX7" fmla="*/ 468071 w 468071"/>
                  <a:gd name="connsiteY7" fmla="*/ 218485 h 537547"/>
                  <a:gd name="connsiteX0" fmla="*/ 0 w 468071"/>
                  <a:gd name="connsiteY0" fmla="*/ 521936 h 527938"/>
                  <a:gd name="connsiteX1" fmla="*/ 67515 w 468071"/>
                  <a:gd name="connsiteY1" fmla="*/ 0 h 527938"/>
                  <a:gd name="connsiteX2" fmla="*/ 145398 w 468071"/>
                  <a:gd name="connsiteY2" fmla="*/ 527938 h 527938"/>
                  <a:gd name="connsiteX3" fmla="*/ 238195 w 468071"/>
                  <a:gd name="connsiteY3" fmla="*/ 522307 h 527938"/>
                  <a:gd name="connsiteX4" fmla="*/ 245540 w 468071"/>
                  <a:gd name="connsiteY4" fmla="*/ 44506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38195 w 468071"/>
                  <a:gd name="connsiteY3" fmla="*/ 52230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41482 w 468071"/>
                  <a:gd name="connsiteY3" fmla="*/ 52230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 name="connsiteX0" fmla="*/ 0 w 468071"/>
                  <a:gd name="connsiteY0" fmla="*/ 521936 h 527938"/>
                  <a:gd name="connsiteX1" fmla="*/ 67515 w 468071"/>
                  <a:gd name="connsiteY1" fmla="*/ 0 h 527938"/>
                  <a:gd name="connsiteX2" fmla="*/ 145398 w 468071"/>
                  <a:gd name="connsiteY2" fmla="*/ 527938 h 527938"/>
                  <a:gd name="connsiteX3" fmla="*/ 241482 w 468071"/>
                  <a:gd name="connsiteY3" fmla="*/ 526117 h 527938"/>
                  <a:gd name="connsiteX4" fmla="*/ 255400 w 468071"/>
                  <a:gd name="connsiteY4" fmla="*/ 433632 h 527938"/>
                  <a:gd name="connsiteX5" fmla="*/ 314322 w 468071"/>
                  <a:gd name="connsiteY5" fmla="*/ 137564 h 527938"/>
                  <a:gd name="connsiteX6" fmla="*/ 383104 w 468071"/>
                  <a:gd name="connsiteY6" fmla="*/ 364141 h 527938"/>
                  <a:gd name="connsiteX7" fmla="*/ 468071 w 468071"/>
                  <a:gd name="connsiteY7" fmla="*/ 218485 h 5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071" h="527938">
                    <a:moveTo>
                      <a:pt x="0" y="521936"/>
                    </a:moveTo>
                    <a:lnTo>
                      <a:pt x="67515" y="0"/>
                    </a:lnTo>
                    <a:lnTo>
                      <a:pt x="145398" y="527938"/>
                    </a:lnTo>
                    <a:lnTo>
                      <a:pt x="241482" y="526117"/>
                    </a:lnTo>
                    <a:lnTo>
                      <a:pt x="255400" y="433632"/>
                    </a:lnTo>
                    <a:lnTo>
                      <a:pt x="314322" y="137564"/>
                    </a:lnTo>
                    <a:lnTo>
                      <a:pt x="383104" y="364141"/>
                    </a:lnTo>
                    <a:lnTo>
                      <a:pt x="468071" y="218485"/>
                    </a:lnTo>
                  </a:path>
                </a:pathLst>
              </a:custGeom>
              <a:noFill/>
              <a:ln w="25400" cap="flat" cmpd="sng" algn="ctr">
                <a:solidFill>
                  <a:srgbClr val="002050"/>
                </a:solidFill>
                <a:prstDash val="solid"/>
                <a:headEnd type="none" w="med" len="med"/>
                <a:tailEnd type="triangl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29913616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Serverless price to performance with per-second billing </a:t>
            </a:r>
          </a:p>
        </p:txBody>
      </p:sp>
      <p:grpSp>
        <p:nvGrpSpPr>
          <p:cNvPr id="5" name="Group 4">
            <a:extLst>
              <a:ext uri="{FF2B5EF4-FFF2-40B4-BE49-F238E27FC236}">
                <a16:creationId xmlns:a16="http://schemas.microsoft.com/office/drawing/2014/main" id="{8CA8FB75-65B7-4971-A08C-9BA868E0CBF3}"/>
              </a:ext>
            </a:extLst>
          </p:cNvPr>
          <p:cNvGrpSpPr/>
          <p:nvPr/>
        </p:nvGrpSpPr>
        <p:grpSpPr>
          <a:xfrm>
            <a:off x="6755130" y="1360291"/>
            <a:ext cx="5033069" cy="4789159"/>
            <a:chOff x="6649201" y="878026"/>
            <a:chExt cx="4934829" cy="4695680"/>
          </a:xfrm>
        </p:grpSpPr>
        <p:grpSp>
          <p:nvGrpSpPr>
            <p:cNvPr id="6" name="Group 5">
              <a:extLst>
                <a:ext uri="{FF2B5EF4-FFF2-40B4-BE49-F238E27FC236}">
                  <a16:creationId xmlns:a16="http://schemas.microsoft.com/office/drawing/2014/main" id="{5B63D1FC-7386-4891-A598-8FC902C9588B}"/>
                </a:ext>
              </a:extLst>
            </p:cNvPr>
            <p:cNvGrpSpPr/>
            <p:nvPr/>
          </p:nvGrpSpPr>
          <p:grpSpPr>
            <a:xfrm>
              <a:off x="7309642" y="4418763"/>
              <a:ext cx="4183606" cy="460299"/>
              <a:chOff x="7309642" y="4418763"/>
              <a:chExt cx="4183606" cy="460299"/>
            </a:xfrm>
          </p:grpSpPr>
          <p:sp>
            <p:nvSpPr>
              <p:cNvPr id="62" name="TextBox 61">
                <a:extLst>
                  <a:ext uri="{FF2B5EF4-FFF2-40B4-BE49-F238E27FC236}">
                    <a16:creationId xmlns:a16="http://schemas.microsoft.com/office/drawing/2014/main" id="{9C28CF78-9A03-4F4E-BFD7-5F0555936EC2}"/>
                  </a:ext>
                </a:extLst>
              </p:cNvPr>
              <p:cNvSpPr txBox="1"/>
              <p:nvPr/>
            </p:nvSpPr>
            <p:spPr>
              <a:xfrm flipH="1">
                <a:off x="7309642" y="4531858"/>
                <a:ext cx="169306" cy="263539"/>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8:00</a:t>
                </a:r>
              </a:p>
            </p:txBody>
          </p:sp>
          <p:sp>
            <p:nvSpPr>
              <p:cNvPr id="63" name="TextBox 62">
                <a:extLst>
                  <a:ext uri="{FF2B5EF4-FFF2-40B4-BE49-F238E27FC236}">
                    <a16:creationId xmlns:a16="http://schemas.microsoft.com/office/drawing/2014/main" id="{5BC32AC0-43E9-47DE-9032-313A166F9D92}"/>
                  </a:ext>
                </a:extLst>
              </p:cNvPr>
              <p:cNvSpPr txBox="1"/>
              <p:nvPr/>
            </p:nvSpPr>
            <p:spPr>
              <a:xfrm flipH="1">
                <a:off x="7476905" y="4537783"/>
                <a:ext cx="169306" cy="263539"/>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9:00</a:t>
                </a:r>
              </a:p>
            </p:txBody>
          </p:sp>
          <p:sp>
            <p:nvSpPr>
              <p:cNvPr id="64" name="TextBox 63">
                <a:extLst>
                  <a:ext uri="{FF2B5EF4-FFF2-40B4-BE49-F238E27FC236}">
                    <a16:creationId xmlns:a16="http://schemas.microsoft.com/office/drawing/2014/main" id="{EB42C8E2-AAB9-44EE-89B6-9E02A7494953}"/>
                  </a:ext>
                </a:extLst>
              </p:cNvPr>
              <p:cNvSpPr txBox="1"/>
              <p:nvPr/>
            </p:nvSpPr>
            <p:spPr>
              <a:xfrm flipH="1">
                <a:off x="7644168" y="4486948"/>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0:00</a:t>
                </a:r>
              </a:p>
            </p:txBody>
          </p:sp>
          <p:sp>
            <p:nvSpPr>
              <p:cNvPr id="65" name="TextBox 64">
                <a:extLst>
                  <a:ext uri="{FF2B5EF4-FFF2-40B4-BE49-F238E27FC236}">
                    <a16:creationId xmlns:a16="http://schemas.microsoft.com/office/drawing/2014/main" id="{3C0B1E59-0167-4F0E-8E2E-55D6181C8CBD}"/>
                  </a:ext>
                </a:extLst>
              </p:cNvPr>
              <p:cNvSpPr txBox="1"/>
              <p:nvPr/>
            </p:nvSpPr>
            <p:spPr>
              <a:xfrm flipH="1">
                <a:off x="7811431" y="4502802"/>
                <a:ext cx="169306" cy="37252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1:00</a:t>
                </a:r>
              </a:p>
            </p:txBody>
          </p:sp>
          <p:sp>
            <p:nvSpPr>
              <p:cNvPr id="66" name="TextBox 65">
                <a:extLst>
                  <a:ext uri="{FF2B5EF4-FFF2-40B4-BE49-F238E27FC236}">
                    <a16:creationId xmlns:a16="http://schemas.microsoft.com/office/drawing/2014/main" id="{968B6524-AF81-4A91-A3F8-B9EED95E6425}"/>
                  </a:ext>
                </a:extLst>
              </p:cNvPr>
              <p:cNvSpPr txBox="1"/>
              <p:nvPr/>
            </p:nvSpPr>
            <p:spPr>
              <a:xfrm flipH="1">
                <a:off x="7978694" y="4500553"/>
                <a:ext cx="169306" cy="3781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2:00</a:t>
                </a:r>
              </a:p>
            </p:txBody>
          </p:sp>
          <p:sp>
            <p:nvSpPr>
              <p:cNvPr id="67" name="TextBox 66">
                <a:extLst>
                  <a:ext uri="{FF2B5EF4-FFF2-40B4-BE49-F238E27FC236}">
                    <a16:creationId xmlns:a16="http://schemas.microsoft.com/office/drawing/2014/main" id="{1042AD6E-EAB2-45C3-B4E7-E9071C0FCB8D}"/>
                  </a:ext>
                </a:extLst>
              </p:cNvPr>
              <p:cNvSpPr txBox="1"/>
              <p:nvPr/>
            </p:nvSpPr>
            <p:spPr>
              <a:xfrm flipH="1">
                <a:off x="8145957" y="4499622"/>
                <a:ext cx="169306" cy="378881"/>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3:00</a:t>
                </a:r>
              </a:p>
            </p:txBody>
          </p:sp>
          <p:sp>
            <p:nvSpPr>
              <p:cNvPr id="68" name="TextBox 67">
                <a:extLst>
                  <a:ext uri="{FF2B5EF4-FFF2-40B4-BE49-F238E27FC236}">
                    <a16:creationId xmlns:a16="http://schemas.microsoft.com/office/drawing/2014/main" id="{643CA4CC-77EE-442F-B2EE-B51C24CF3723}"/>
                  </a:ext>
                </a:extLst>
              </p:cNvPr>
              <p:cNvSpPr txBox="1"/>
              <p:nvPr/>
            </p:nvSpPr>
            <p:spPr>
              <a:xfrm flipH="1">
                <a:off x="8313220" y="4490519"/>
                <a:ext cx="169306" cy="38480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4:00</a:t>
                </a:r>
              </a:p>
            </p:txBody>
          </p:sp>
          <p:sp>
            <p:nvSpPr>
              <p:cNvPr id="69" name="TextBox 68">
                <a:extLst>
                  <a:ext uri="{FF2B5EF4-FFF2-40B4-BE49-F238E27FC236}">
                    <a16:creationId xmlns:a16="http://schemas.microsoft.com/office/drawing/2014/main" id="{55121D4D-7BBD-4AC4-B063-7C77D83FA74B}"/>
                  </a:ext>
                </a:extLst>
              </p:cNvPr>
              <p:cNvSpPr txBox="1"/>
              <p:nvPr/>
            </p:nvSpPr>
            <p:spPr>
              <a:xfrm flipH="1">
                <a:off x="8480483" y="4486948"/>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5:00</a:t>
                </a:r>
              </a:p>
            </p:txBody>
          </p:sp>
          <p:sp>
            <p:nvSpPr>
              <p:cNvPr id="70" name="TextBox 69">
                <a:extLst>
                  <a:ext uri="{FF2B5EF4-FFF2-40B4-BE49-F238E27FC236}">
                    <a16:creationId xmlns:a16="http://schemas.microsoft.com/office/drawing/2014/main" id="{A66C0862-89EE-4597-873B-5491691299EE}"/>
                  </a:ext>
                </a:extLst>
              </p:cNvPr>
              <p:cNvSpPr txBox="1"/>
              <p:nvPr/>
            </p:nvSpPr>
            <p:spPr>
              <a:xfrm flipH="1">
                <a:off x="8647746" y="4492873"/>
                <a:ext cx="169306" cy="382452"/>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6:00</a:t>
                </a:r>
              </a:p>
            </p:txBody>
          </p:sp>
          <p:sp>
            <p:nvSpPr>
              <p:cNvPr id="71" name="TextBox 70">
                <a:extLst>
                  <a:ext uri="{FF2B5EF4-FFF2-40B4-BE49-F238E27FC236}">
                    <a16:creationId xmlns:a16="http://schemas.microsoft.com/office/drawing/2014/main" id="{358E9343-4C02-4D3F-90AD-766D5CE12749}"/>
                  </a:ext>
                </a:extLst>
              </p:cNvPr>
              <p:cNvSpPr txBox="1"/>
              <p:nvPr/>
            </p:nvSpPr>
            <p:spPr>
              <a:xfrm flipH="1">
                <a:off x="8815009" y="4492871"/>
                <a:ext cx="169306" cy="382454"/>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7:00</a:t>
                </a:r>
              </a:p>
            </p:txBody>
          </p:sp>
          <p:sp>
            <p:nvSpPr>
              <p:cNvPr id="72" name="TextBox 71">
                <a:extLst>
                  <a:ext uri="{FF2B5EF4-FFF2-40B4-BE49-F238E27FC236}">
                    <a16:creationId xmlns:a16="http://schemas.microsoft.com/office/drawing/2014/main" id="{D290F568-F8E0-437D-983B-75398E7C7FB8}"/>
                  </a:ext>
                </a:extLst>
              </p:cNvPr>
              <p:cNvSpPr txBox="1"/>
              <p:nvPr/>
            </p:nvSpPr>
            <p:spPr>
              <a:xfrm flipH="1">
                <a:off x="8982272" y="4502613"/>
                <a:ext cx="169306" cy="376095"/>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8:00</a:t>
                </a:r>
              </a:p>
            </p:txBody>
          </p:sp>
          <p:sp>
            <p:nvSpPr>
              <p:cNvPr id="73" name="TextBox 72">
                <a:extLst>
                  <a:ext uri="{FF2B5EF4-FFF2-40B4-BE49-F238E27FC236}">
                    <a16:creationId xmlns:a16="http://schemas.microsoft.com/office/drawing/2014/main" id="{3F41AA2F-4646-40C3-ABB9-E164A53A5C3A}"/>
                  </a:ext>
                </a:extLst>
              </p:cNvPr>
              <p:cNvSpPr txBox="1"/>
              <p:nvPr/>
            </p:nvSpPr>
            <p:spPr>
              <a:xfrm flipH="1">
                <a:off x="9149534" y="4502966"/>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9:00</a:t>
                </a:r>
              </a:p>
            </p:txBody>
          </p:sp>
          <p:sp>
            <p:nvSpPr>
              <p:cNvPr id="74" name="TextBox 73">
                <a:extLst>
                  <a:ext uri="{FF2B5EF4-FFF2-40B4-BE49-F238E27FC236}">
                    <a16:creationId xmlns:a16="http://schemas.microsoft.com/office/drawing/2014/main" id="{B2A43045-240B-4848-B49E-AA740F32FBB3}"/>
                  </a:ext>
                </a:extLst>
              </p:cNvPr>
              <p:cNvSpPr txBox="1"/>
              <p:nvPr/>
            </p:nvSpPr>
            <p:spPr>
              <a:xfrm flipH="1">
                <a:off x="9316796" y="4496047"/>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0:00</a:t>
                </a:r>
              </a:p>
            </p:txBody>
          </p:sp>
          <p:sp>
            <p:nvSpPr>
              <p:cNvPr id="75" name="TextBox 74">
                <a:extLst>
                  <a:ext uri="{FF2B5EF4-FFF2-40B4-BE49-F238E27FC236}">
                    <a16:creationId xmlns:a16="http://schemas.microsoft.com/office/drawing/2014/main" id="{A1BFF6B9-8647-4871-8420-76E7CE9B51B7}"/>
                  </a:ext>
                </a:extLst>
              </p:cNvPr>
              <p:cNvSpPr txBox="1"/>
              <p:nvPr/>
            </p:nvSpPr>
            <p:spPr>
              <a:xfrm flipH="1">
                <a:off x="9484058" y="4496047"/>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1:00</a:t>
                </a:r>
              </a:p>
            </p:txBody>
          </p:sp>
          <p:sp>
            <p:nvSpPr>
              <p:cNvPr id="76" name="TextBox 75">
                <a:extLst>
                  <a:ext uri="{FF2B5EF4-FFF2-40B4-BE49-F238E27FC236}">
                    <a16:creationId xmlns:a16="http://schemas.microsoft.com/office/drawing/2014/main" id="{DFC128DF-239C-4891-9E7C-3DC8FA637218}"/>
                  </a:ext>
                </a:extLst>
              </p:cNvPr>
              <p:cNvSpPr txBox="1"/>
              <p:nvPr/>
            </p:nvSpPr>
            <p:spPr>
              <a:xfrm flipH="1">
                <a:off x="9651320" y="4493694"/>
                <a:ext cx="169306" cy="38480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2:00</a:t>
                </a:r>
              </a:p>
            </p:txBody>
          </p:sp>
          <p:sp>
            <p:nvSpPr>
              <p:cNvPr id="77" name="TextBox 76">
                <a:extLst>
                  <a:ext uri="{FF2B5EF4-FFF2-40B4-BE49-F238E27FC236}">
                    <a16:creationId xmlns:a16="http://schemas.microsoft.com/office/drawing/2014/main" id="{18248CC9-511B-465D-BF94-096EADDEE549}"/>
                  </a:ext>
                </a:extLst>
              </p:cNvPr>
              <p:cNvSpPr txBox="1"/>
              <p:nvPr/>
            </p:nvSpPr>
            <p:spPr>
              <a:xfrm flipH="1">
                <a:off x="9818582" y="4490519"/>
                <a:ext cx="169306" cy="388377"/>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3:00</a:t>
                </a:r>
              </a:p>
            </p:txBody>
          </p:sp>
          <p:sp>
            <p:nvSpPr>
              <p:cNvPr id="78" name="TextBox 77">
                <a:extLst>
                  <a:ext uri="{FF2B5EF4-FFF2-40B4-BE49-F238E27FC236}">
                    <a16:creationId xmlns:a16="http://schemas.microsoft.com/office/drawing/2014/main" id="{15FF2282-2036-4D6B-A4F5-7A3E2EF7B900}"/>
                  </a:ext>
                </a:extLst>
              </p:cNvPr>
              <p:cNvSpPr txBox="1"/>
              <p:nvPr/>
            </p:nvSpPr>
            <p:spPr>
              <a:xfrm flipH="1">
                <a:off x="9985844" y="4421960"/>
                <a:ext cx="169306" cy="382452"/>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0:00</a:t>
                </a:r>
              </a:p>
            </p:txBody>
          </p:sp>
          <p:sp>
            <p:nvSpPr>
              <p:cNvPr id="79" name="TextBox 78">
                <a:extLst>
                  <a:ext uri="{FF2B5EF4-FFF2-40B4-BE49-F238E27FC236}">
                    <a16:creationId xmlns:a16="http://schemas.microsoft.com/office/drawing/2014/main" id="{07ABDCDF-5537-4BAF-A31F-4EA2E92B4490}"/>
                  </a:ext>
                </a:extLst>
              </p:cNvPr>
              <p:cNvSpPr txBox="1"/>
              <p:nvPr/>
            </p:nvSpPr>
            <p:spPr>
              <a:xfrm flipH="1">
                <a:off x="10153106" y="4418765"/>
                <a:ext cx="169306" cy="382454"/>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1:00</a:t>
                </a:r>
              </a:p>
            </p:txBody>
          </p:sp>
          <p:sp>
            <p:nvSpPr>
              <p:cNvPr id="80" name="TextBox 79">
                <a:extLst>
                  <a:ext uri="{FF2B5EF4-FFF2-40B4-BE49-F238E27FC236}">
                    <a16:creationId xmlns:a16="http://schemas.microsoft.com/office/drawing/2014/main" id="{88B4C4B7-AAE2-4C79-AE4E-76CC29C2067C}"/>
                  </a:ext>
                </a:extLst>
              </p:cNvPr>
              <p:cNvSpPr txBox="1"/>
              <p:nvPr/>
            </p:nvSpPr>
            <p:spPr>
              <a:xfrm flipH="1">
                <a:off x="10320368" y="4425616"/>
                <a:ext cx="169306" cy="376095"/>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2:00</a:t>
                </a:r>
              </a:p>
            </p:txBody>
          </p:sp>
          <p:sp>
            <p:nvSpPr>
              <p:cNvPr id="81" name="TextBox 80">
                <a:extLst>
                  <a:ext uri="{FF2B5EF4-FFF2-40B4-BE49-F238E27FC236}">
                    <a16:creationId xmlns:a16="http://schemas.microsoft.com/office/drawing/2014/main" id="{15402455-687A-4287-B873-6C381EF2DDDD}"/>
                  </a:ext>
                </a:extLst>
              </p:cNvPr>
              <p:cNvSpPr txBox="1"/>
              <p:nvPr/>
            </p:nvSpPr>
            <p:spPr>
              <a:xfrm flipH="1">
                <a:off x="10487630" y="4425064"/>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3:00</a:t>
                </a:r>
              </a:p>
            </p:txBody>
          </p:sp>
          <p:sp>
            <p:nvSpPr>
              <p:cNvPr id="82" name="TextBox 81">
                <a:extLst>
                  <a:ext uri="{FF2B5EF4-FFF2-40B4-BE49-F238E27FC236}">
                    <a16:creationId xmlns:a16="http://schemas.microsoft.com/office/drawing/2014/main" id="{03ACBD5D-9218-4F09-A36F-8B2EA7C2C37A}"/>
                  </a:ext>
                </a:extLst>
              </p:cNvPr>
              <p:cNvSpPr txBox="1"/>
              <p:nvPr/>
            </p:nvSpPr>
            <p:spPr>
              <a:xfrm flipH="1">
                <a:off x="10654892" y="4418765"/>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4:00</a:t>
                </a:r>
              </a:p>
            </p:txBody>
          </p:sp>
          <p:sp>
            <p:nvSpPr>
              <p:cNvPr id="83" name="TextBox 82">
                <a:extLst>
                  <a:ext uri="{FF2B5EF4-FFF2-40B4-BE49-F238E27FC236}">
                    <a16:creationId xmlns:a16="http://schemas.microsoft.com/office/drawing/2014/main" id="{AA08A926-0A94-4641-BB27-47AA61F37CA6}"/>
                  </a:ext>
                </a:extLst>
              </p:cNvPr>
              <p:cNvSpPr txBox="1"/>
              <p:nvPr/>
            </p:nvSpPr>
            <p:spPr>
              <a:xfrm flipH="1">
                <a:off x="10822154" y="4418764"/>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5:00</a:t>
                </a:r>
              </a:p>
            </p:txBody>
          </p:sp>
          <p:sp>
            <p:nvSpPr>
              <p:cNvPr id="84" name="TextBox 83">
                <a:extLst>
                  <a:ext uri="{FF2B5EF4-FFF2-40B4-BE49-F238E27FC236}">
                    <a16:creationId xmlns:a16="http://schemas.microsoft.com/office/drawing/2014/main" id="{B75E5669-5D80-466A-B6C2-768881D5EDA1}"/>
                  </a:ext>
                </a:extLst>
              </p:cNvPr>
              <p:cNvSpPr txBox="1"/>
              <p:nvPr/>
            </p:nvSpPr>
            <p:spPr>
              <a:xfrm flipH="1">
                <a:off x="10989416" y="4425616"/>
                <a:ext cx="169306" cy="376096"/>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6:00</a:t>
                </a:r>
              </a:p>
            </p:txBody>
          </p:sp>
          <p:sp>
            <p:nvSpPr>
              <p:cNvPr id="85" name="TextBox 84">
                <a:extLst>
                  <a:ext uri="{FF2B5EF4-FFF2-40B4-BE49-F238E27FC236}">
                    <a16:creationId xmlns:a16="http://schemas.microsoft.com/office/drawing/2014/main" id="{899963B1-CB43-4DC0-9C8F-F7E21AFAA1FA}"/>
                  </a:ext>
                </a:extLst>
              </p:cNvPr>
              <p:cNvSpPr txBox="1"/>
              <p:nvPr/>
            </p:nvSpPr>
            <p:spPr>
              <a:xfrm flipH="1">
                <a:off x="11156678" y="4421959"/>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7:00</a:t>
                </a:r>
              </a:p>
            </p:txBody>
          </p:sp>
          <p:sp>
            <p:nvSpPr>
              <p:cNvPr id="86" name="TextBox 85">
                <a:extLst>
                  <a:ext uri="{FF2B5EF4-FFF2-40B4-BE49-F238E27FC236}">
                    <a16:creationId xmlns:a16="http://schemas.microsoft.com/office/drawing/2014/main" id="{E2BFE5AE-B15C-44E8-9928-4CFA14B3B611}"/>
                  </a:ext>
                </a:extLst>
              </p:cNvPr>
              <p:cNvSpPr txBox="1"/>
              <p:nvPr/>
            </p:nvSpPr>
            <p:spPr>
              <a:xfrm flipH="1">
                <a:off x="11323942" y="4418763"/>
                <a:ext cx="169306" cy="382453"/>
              </a:xfrm>
              <a:prstGeom prst="rect">
                <a:avLst/>
              </a:prstGeom>
              <a:noFill/>
            </p:spPr>
            <p:txBody>
              <a:bodyPr vert="vert270"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8:00</a:t>
                </a:r>
              </a:p>
            </p:txBody>
          </p:sp>
        </p:grpSp>
        <p:sp>
          <p:nvSpPr>
            <p:cNvPr id="7" name="TextBox 6">
              <a:extLst>
                <a:ext uri="{FF2B5EF4-FFF2-40B4-BE49-F238E27FC236}">
                  <a16:creationId xmlns:a16="http://schemas.microsoft.com/office/drawing/2014/main" id="{632D9CCE-C838-42B1-8CF4-1C8E309A076F}"/>
                </a:ext>
              </a:extLst>
            </p:cNvPr>
            <p:cNvSpPr txBox="1"/>
            <p:nvPr/>
          </p:nvSpPr>
          <p:spPr>
            <a:xfrm>
              <a:off x="7337643" y="537737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cs typeface="Segoe UI" panose="020B0502040204020203" pitchFamily="34" charset="0"/>
                </a:rPr>
                <a:t>Min </a:t>
              </a: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endParaRPr kumimoji="0" lang="en-US" sz="1122"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8" name="TextBox 7">
              <a:extLst>
                <a:ext uri="{FF2B5EF4-FFF2-40B4-BE49-F238E27FC236}">
                  <a16:creationId xmlns:a16="http://schemas.microsoft.com/office/drawing/2014/main" id="{8A79D1D5-F149-4E68-95BA-D150038A8052}"/>
                </a:ext>
              </a:extLst>
            </p:cNvPr>
            <p:cNvSpPr txBox="1"/>
            <p:nvPr/>
          </p:nvSpPr>
          <p:spPr>
            <a:xfrm rot="16200000">
              <a:off x="5199187" y="2988477"/>
              <a:ext cx="3151188" cy="251159"/>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gradFill>
                    <a:gsLst>
                      <a:gs pos="2917">
                        <a:prstClr val="black"/>
                      </a:gs>
                      <a:gs pos="30000">
                        <a:prstClr val="black"/>
                      </a:gs>
                    </a:gsLst>
                    <a:lin ang="5400000" scaled="0"/>
                  </a:gradFill>
                  <a:effectLst/>
                  <a:uLnTx/>
                  <a:uFillTx/>
                  <a:latin typeface="Segoe UI Semibold" panose="020B0502040204020203" pitchFamily="34" charset="0"/>
                  <a:cs typeface="Segoe UI Semibold" panose="020B0502040204020203" pitchFamily="34" charset="0"/>
                </a:rPr>
                <a:t>Number vCores</a:t>
              </a:r>
            </a:p>
          </p:txBody>
        </p:sp>
        <p:sp>
          <p:nvSpPr>
            <p:cNvPr id="9" name="TextBox 8">
              <a:extLst>
                <a:ext uri="{FF2B5EF4-FFF2-40B4-BE49-F238E27FC236}">
                  <a16:creationId xmlns:a16="http://schemas.microsoft.com/office/drawing/2014/main" id="{47C4996A-449F-4A7B-8432-F34AD6B993CF}"/>
                </a:ext>
              </a:extLst>
            </p:cNvPr>
            <p:cNvSpPr txBox="1"/>
            <p:nvPr/>
          </p:nvSpPr>
          <p:spPr>
            <a:xfrm flipH="1">
              <a:off x="7205690" y="1583449"/>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4</a:t>
              </a:r>
            </a:p>
          </p:txBody>
        </p:sp>
        <p:sp>
          <p:nvSpPr>
            <p:cNvPr id="10" name="TextBox 9">
              <a:extLst>
                <a:ext uri="{FF2B5EF4-FFF2-40B4-BE49-F238E27FC236}">
                  <a16:creationId xmlns:a16="http://schemas.microsoft.com/office/drawing/2014/main" id="{81CED158-141D-48BA-93F5-F25ADAD629C5}"/>
                </a:ext>
              </a:extLst>
            </p:cNvPr>
            <p:cNvSpPr txBox="1"/>
            <p:nvPr/>
          </p:nvSpPr>
          <p:spPr>
            <a:xfrm>
              <a:off x="7086573" y="1004373"/>
              <a:ext cx="4497457" cy="251159"/>
            </a:xfrm>
            <a:prstGeom prst="rect">
              <a:avLst/>
            </a:prstGeom>
            <a:no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a:ln>
                    <a:noFill/>
                  </a:ln>
                  <a:solidFill>
                    <a:srgbClr val="0078D4"/>
                  </a:solidFill>
                  <a:effectLst/>
                  <a:uLnTx/>
                  <a:uFillTx/>
                  <a:latin typeface="Segoe UI Semibold"/>
                  <a:cs typeface="Segoe UI" panose="020B0502040204020203" pitchFamily="34" charset="0"/>
                </a:rPr>
                <a:t>CPU usage</a:t>
              </a:r>
            </a:p>
          </p:txBody>
        </p:sp>
        <p:sp>
          <p:nvSpPr>
            <p:cNvPr id="11" name="Freeform: Shape 12">
              <a:extLst>
                <a:ext uri="{FF2B5EF4-FFF2-40B4-BE49-F238E27FC236}">
                  <a16:creationId xmlns:a16="http://schemas.microsoft.com/office/drawing/2014/main" id="{04D46268-7F19-40CE-A698-79BFCECE2DAD}"/>
                </a:ext>
              </a:extLst>
            </p:cNvPr>
            <p:cNvSpPr/>
            <p:nvPr/>
          </p:nvSpPr>
          <p:spPr bwMode="auto">
            <a:xfrm>
              <a:off x="7333194" y="878026"/>
              <a:ext cx="3831864" cy="3118912"/>
            </a:xfrm>
            <a:custGeom>
              <a:avLst/>
              <a:gdLst>
                <a:gd name="connsiteX0" fmla="*/ 0 w 4272837"/>
                <a:gd name="connsiteY0" fmla="*/ 3477838 h 3477838"/>
                <a:gd name="connsiteX1" fmla="*/ 566304 w 4272837"/>
                <a:gd name="connsiteY1" fmla="*/ 2553047 h 3477838"/>
                <a:gd name="connsiteX2" fmla="*/ 1018309 w 4272837"/>
                <a:gd name="connsiteY2" fmla="*/ 874915 h 3477838"/>
                <a:gd name="connsiteX3" fmla="*/ 1298863 w 4272837"/>
                <a:gd name="connsiteY3" fmla="*/ 163138 h 3477838"/>
                <a:gd name="connsiteX4" fmla="*/ 1496290 w 4272837"/>
                <a:gd name="connsiteY4" fmla="*/ 33252 h 3477838"/>
                <a:gd name="connsiteX5" fmla="*/ 1714500 w 4272837"/>
                <a:gd name="connsiteY5" fmla="*/ 635924 h 3477838"/>
                <a:gd name="connsiteX6" fmla="*/ 1958686 w 4272837"/>
                <a:gd name="connsiteY6" fmla="*/ 1950374 h 3477838"/>
                <a:gd name="connsiteX7" fmla="*/ 2119745 w 4272837"/>
                <a:gd name="connsiteY7" fmla="*/ 2152997 h 3477838"/>
                <a:gd name="connsiteX8" fmla="*/ 2275609 w 4272837"/>
                <a:gd name="connsiteY8" fmla="*/ 1789315 h 3477838"/>
                <a:gd name="connsiteX9" fmla="*/ 2379518 w 4272837"/>
                <a:gd name="connsiteY9" fmla="*/ 1467197 h 3477838"/>
                <a:gd name="connsiteX10" fmla="*/ 2545772 w 4272837"/>
                <a:gd name="connsiteY10" fmla="*/ 1373679 h 3477838"/>
                <a:gd name="connsiteX11" fmla="*/ 2795154 w 4272837"/>
                <a:gd name="connsiteY11" fmla="*/ 1695797 h 3477838"/>
                <a:gd name="connsiteX12" fmla="*/ 3127663 w 4272837"/>
                <a:gd name="connsiteY12" fmla="*/ 2766061 h 3477838"/>
                <a:gd name="connsiteX13" fmla="*/ 3351068 w 4272837"/>
                <a:gd name="connsiteY13" fmla="*/ 3171306 h 3477838"/>
                <a:gd name="connsiteX14" fmla="*/ 3538104 w 4272837"/>
                <a:gd name="connsiteY14" fmla="*/ 3321974 h 3477838"/>
                <a:gd name="connsiteX15" fmla="*/ 3875809 w 4272837"/>
                <a:gd name="connsiteY15" fmla="*/ 3425884 h 3477838"/>
                <a:gd name="connsiteX16" fmla="*/ 4229100 w 4272837"/>
                <a:gd name="connsiteY16" fmla="*/ 3451861 h 3477838"/>
                <a:gd name="connsiteX17" fmla="*/ 4255077 w 4272837"/>
                <a:gd name="connsiteY17" fmla="*/ 3436274 h 347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72837" h="3477838">
                  <a:moveTo>
                    <a:pt x="0" y="3477838"/>
                  </a:moveTo>
                  <a:cubicBezTo>
                    <a:pt x="198293" y="3232352"/>
                    <a:pt x="396586" y="2986867"/>
                    <a:pt x="566304" y="2553047"/>
                  </a:cubicBezTo>
                  <a:cubicBezTo>
                    <a:pt x="736022" y="2119227"/>
                    <a:pt x="896216" y="1273233"/>
                    <a:pt x="1018309" y="874915"/>
                  </a:cubicBezTo>
                  <a:cubicBezTo>
                    <a:pt x="1140402" y="476597"/>
                    <a:pt x="1219200" y="303415"/>
                    <a:pt x="1298863" y="163138"/>
                  </a:cubicBezTo>
                  <a:cubicBezTo>
                    <a:pt x="1378527" y="22861"/>
                    <a:pt x="1427017" y="-45546"/>
                    <a:pt x="1496290" y="33252"/>
                  </a:cubicBezTo>
                  <a:cubicBezTo>
                    <a:pt x="1565563" y="112050"/>
                    <a:pt x="1637434" y="316404"/>
                    <a:pt x="1714500" y="635924"/>
                  </a:cubicBezTo>
                  <a:cubicBezTo>
                    <a:pt x="1791566" y="955444"/>
                    <a:pt x="1891145" y="1697529"/>
                    <a:pt x="1958686" y="1950374"/>
                  </a:cubicBezTo>
                  <a:cubicBezTo>
                    <a:pt x="2026227" y="2203219"/>
                    <a:pt x="2066925" y="2179840"/>
                    <a:pt x="2119745" y="2152997"/>
                  </a:cubicBezTo>
                  <a:cubicBezTo>
                    <a:pt x="2172565" y="2126154"/>
                    <a:pt x="2232314" y="1903615"/>
                    <a:pt x="2275609" y="1789315"/>
                  </a:cubicBezTo>
                  <a:cubicBezTo>
                    <a:pt x="2318904" y="1675015"/>
                    <a:pt x="2334491" y="1536470"/>
                    <a:pt x="2379518" y="1467197"/>
                  </a:cubicBezTo>
                  <a:cubicBezTo>
                    <a:pt x="2424545" y="1397924"/>
                    <a:pt x="2476499" y="1335579"/>
                    <a:pt x="2545772" y="1373679"/>
                  </a:cubicBezTo>
                  <a:cubicBezTo>
                    <a:pt x="2615045" y="1411779"/>
                    <a:pt x="2698172" y="1463733"/>
                    <a:pt x="2795154" y="1695797"/>
                  </a:cubicBezTo>
                  <a:cubicBezTo>
                    <a:pt x="2892136" y="1927861"/>
                    <a:pt x="3035011" y="2520143"/>
                    <a:pt x="3127663" y="2766061"/>
                  </a:cubicBezTo>
                  <a:cubicBezTo>
                    <a:pt x="3220315" y="3011979"/>
                    <a:pt x="3282661" y="3078654"/>
                    <a:pt x="3351068" y="3171306"/>
                  </a:cubicBezTo>
                  <a:cubicBezTo>
                    <a:pt x="3419475" y="3263958"/>
                    <a:pt x="3450647" y="3279544"/>
                    <a:pt x="3538104" y="3321974"/>
                  </a:cubicBezTo>
                  <a:cubicBezTo>
                    <a:pt x="3625561" y="3364404"/>
                    <a:pt x="3760643" y="3404236"/>
                    <a:pt x="3875809" y="3425884"/>
                  </a:cubicBezTo>
                  <a:cubicBezTo>
                    <a:pt x="3990975" y="3447532"/>
                    <a:pt x="4165889" y="3450129"/>
                    <a:pt x="4229100" y="3451861"/>
                  </a:cubicBezTo>
                  <a:cubicBezTo>
                    <a:pt x="4292311" y="3453593"/>
                    <a:pt x="4273694" y="3444933"/>
                    <a:pt x="4255077" y="3436274"/>
                  </a:cubicBezTo>
                </a:path>
              </a:pathLst>
            </a:custGeom>
            <a:noFill/>
            <a:ln w="9525" cap="flat" cmpd="sng" algn="ctr">
              <a:no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endParaRPr>
            </a:p>
          </p:txBody>
        </p:sp>
        <p:sp>
          <p:nvSpPr>
            <p:cNvPr id="12" name="TextBox 11">
              <a:extLst>
                <a:ext uri="{FF2B5EF4-FFF2-40B4-BE49-F238E27FC236}">
                  <a16:creationId xmlns:a16="http://schemas.microsoft.com/office/drawing/2014/main" id="{6F12D5A1-6576-4596-808D-AE9013C16DEF}"/>
                </a:ext>
              </a:extLst>
            </p:cNvPr>
            <p:cNvSpPr txBox="1"/>
            <p:nvPr/>
          </p:nvSpPr>
          <p:spPr>
            <a:xfrm flipH="1">
              <a:off x="7205690" y="3479668"/>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cs typeface="Segoe UI" panose="020B0502040204020203" pitchFamily="34" charset="0"/>
                </a:rPr>
                <a:t>1</a:t>
              </a:r>
            </a:p>
          </p:txBody>
        </p:sp>
        <p:sp>
          <p:nvSpPr>
            <p:cNvPr id="13" name="TextBox 12">
              <a:extLst>
                <a:ext uri="{FF2B5EF4-FFF2-40B4-BE49-F238E27FC236}">
                  <a16:creationId xmlns:a16="http://schemas.microsoft.com/office/drawing/2014/main" id="{6B916EA4-1BB7-4A64-A768-76A94204CCB5}"/>
                </a:ext>
              </a:extLst>
            </p:cNvPr>
            <p:cNvSpPr txBox="1"/>
            <p:nvPr/>
          </p:nvSpPr>
          <p:spPr>
            <a:xfrm>
              <a:off x="9532649" y="2811551"/>
              <a:ext cx="563470"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Inactive</a:t>
              </a:r>
            </a:p>
          </p:txBody>
        </p:sp>
        <p:sp>
          <p:nvSpPr>
            <p:cNvPr id="14" name="TextBox 13">
              <a:extLst>
                <a:ext uri="{FF2B5EF4-FFF2-40B4-BE49-F238E27FC236}">
                  <a16:creationId xmlns:a16="http://schemas.microsoft.com/office/drawing/2014/main" id="{1A764986-5032-4795-B66C-F8E7928DECD2}"/>
                </a:ext>
              </a:extLst>
            </p:cNvPr>
            <p:cNvSpPr txBox="1"/>
            <p:nvPr/>
          </p:nvSpPr>
          <p:spPr>
            <a:xfrm flipH="1">
              <a:off x="7200345" y="4284172"/>
              <a:ext cx="191828" cy="172676"/>
            </a:xfrm>
            <a:prstGeom prst="rect">
              <a:avLst/>
            </a:prstGeom>
            <a:noFill/>
          </p:spPr>
          <p:txBody>
            <a:bodyPr wrap="square" lIns="0" tIns="0" rIns="0" bIns="0"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gradFill>
                    <a:gsLst>
                      <a:gs pos="2917">
                        <a:prstClr val="black"/>
                      </a:gs>
                      <a:gs pos="30000">
                        <a:prstClr val="black"/>
                      </a:gs>
                    </a:gsLst>
                    <a:lin ang="5400000" scaled="0"/>
                  </a:gradFill>
                  <a:effectLst/>
                  <a:uLnTx/>
                  <a:uFillTx/>
                </a:rPr>
                <a:t>0</a:t>
              </a:r>
            </a:p>
          </p:txBody>
        </p:sp>
        <p:cxnSp>
          <p:nvCxnSpPr>
            <p:cNvPr id="15" name="Straight Connector 14">
              <a:extLst>
                <a:ext uri="{FF2B5EF4-FFF2-40B4-BE49-F238E27FC236}">
                  <a16:creationId xmlns:a16="http://schemas.microsoft.com/office/drawing/2014/main" id="{8F04ABD0-DDFE-4746-848E-89E89D4E4F5D}"/>
                </a:ext>
              </a:extLst>
            </p:cNvPr>
            <p:cNvCxnSpPr>
              <a:cxnSpLocks/>
            </p:cNvCxnSpPr>
            <p:nvPr/>
          </p:nvCxnSpPr>
          <p:spPr>
            <a:xfrm>
              <a:off x="7324937" y="1661127"/>
              <a:ext cx="4259093" cy="0"/>
            </a:xfrm>
            <a:prstGeom prst="line">
              <a:avLst/>
            </a:prstGeom>
            <a:noFill/>
            <a:ln w="57150" cap="flat" cmpd="sng" algn="ctr">
              <a:solidFill>
                <a:srgbClr val="00BCF2"/>
              </a:solidFill>
              <a:prstDash val="solid"/>
              <a:headEnd type="none" w="lg" len="med"/>
              <a:tailEnd type="none" w="lg" len="med"/>
            </a:ln>
            <a:effectLst/>
          </p:spPr>
        </p:cxnSp>
        <p:sp>
          <p:nvSpPr>
            <p:cNvPr id="16" name="TextBox 15">
              <a:extLst>
                <a:ext uri="{FF2B5EF4-FFF2-40B4-BE49-F238E27FC236}">
                  <a16:creationId xmlns:a16="http://schemas.microsoft.com/office/drawing/2014/main" id="{0EF880EA-FB67-45C7-A677-B18A3F02C926}"/>
                </a:ext>
              </a:extLst>
            </p:cNvPr>
            <p:cNvSpPr txBox="1"/>
            <p:nvPr/>
          </p:nvSpPr>
          <p:spPr>
            <a:xfrm>
              <a:off x="10092131" y="2811551"/>
              <a:ext cx="663856"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Paused</a:t>
              </a:r>
            </a:p>
          </p:txBody>
        </p:sp>
        <p:sp>
          <p:nvSpPr>
            <p:cNvPr id="17" name="TextBox 16">
              <a:extLst>
                <a:ext uri="{FF2B5EF4-FFF2-40B4-BE49-F238E27FC236}">
                  <a16:creationId xmlns:a16="http://schemas.microsoft.com/office/drawing/2014/main" id="{CDD8CF6B-1969-4883-B480-0DD101AE6748}"/>
                </a:ext>
              </a:extLst>
            </p:cNvPr>
            <p:cNvSpPr txBox="1"/>
            <p:nvPr/>
          </p:nvSpPr>
          <p:spPr>
            <a:xfrm>
              <a:off x="8415209"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a:ln>
                    <a:noFill/>
                  </a:ln>
                  <a:solidFill>
                    <a:srgbClr val="000000"/>
                  </a:solidFill>
                  <a:effectLst/>
                  <a:uLnTx/>
                  <a:uFillTx/>
                  <a:cs typeface="Segoe UI" panose="020B0502040204020203" pitchFamily="34" charset="0"/>
                </a:rPr>
                <a:t>Max </a:t>
              </a: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endParaRPr kumimoji="0" lang="en-US" sz="1122" b="0" i="0" u="none" strike="noStrike" kern="0" cap="none" spc="0" normalizeH="0" baseline="0" noProof="0">
                <a:ln>
                  <a:noFill/>
                </a:ln>
                <a:solidFill>
                  <a:srgbClr val="000000"/>
                </a:solidFill>
                <a:effectLst/>
                <a:uLnTx/>
                <a:uFillTx/>
                <a:cs typeface="Segoe UI" panose="020B0502040204020203" pitchFamily="34" charset="0"/>
              </a:endParaRPr>
            </a:p>
          </p:txBody>
        </p:sp>
        <p:sp>
          <p:nvSpPr>
            <p:cNvPr id="18" name="TextBox 17">
              <a:extLst>
                <a:ext uri="{FF2B5EF4-FFF2-40B4-BE49-F238E27FC236}">
                  <a16:creationId xmlns:a16="http://schemas.microsoft.com/office/drawing/2014/main" id="{8E2B112F-DFD3-4F79-A42C-F5EAE7F3BCCF}"/>
                </a:ext>
              </a:extLst>
            </p:cNvPr>
            <p:cNvSpPr txBox="1"/>
            <p:nvPr/>
          </p:nvSpPr>
          <p:spPr>
            <a:xfrm>
              <a:off x="9591321"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r>
                <a:rPr kumimoji="0" lang="en-US" sz="1122" b="0" i="0" u="none" strike="noStrike" kern="0" cap="none" spc="0" normalizeH="0" baseline="0" noProof="0">
                  <a:ln>
                    <a:noFill/>
                  </a:ln>
                  <a:solidFill>
                    <a:srgbClr val="000000"/>
                  </a:solidFill>
                  <a:effectLst/>
                  <a:uLnTx/>
                  <a:uFillTx/>
                  <a:cs typeface="Segoe UI" panose="020B0502040204020203" pitchFamily="34" charset="0"/>
                </a:rPr>
                <a:t> used</a:t>
              </a:r>
            </a:p>
          </p:txBody>
        </p:sp>
        <p:cxnSp>
          <p:nvCxnSpPr>
            <p:cNvPr id="19" name="Straight Connector 18">
              <a:extLst>
                <a:ext uri="{FF2B5EF4-FFF2-40B4-BE49-F238E27FC236}">
                  <a16:creationId xmlns:a16="http://schemas.microsoft.com/office/drawing/2014/main" id="{66C74F84-C903-4737-9346-766DA0DDB637}"/>
                </a:ext>
              </a:extLst>
            </p:cNvPr>
            <p:cNvCxnSpPr>
              <a:cxnSpLocks/>
            </p:cNvCxnSpPr>
            <p:nvPr/>
          </p:nvCxnSpPr>
          <p:spPr>
            <a:xfrm>
              <a:off x="7365018" y="3544960"/>
              <a:ext cx="0" cy="822817"/>
            </a:xfrm>
            <a:prstGeom prst="line">
              <a:avLst/>
            </a:prstGeom>
            <a:noFill/>
            <a:ln w="19050" cap="flat" cmpd="sng" algn="ctr">
              <a:solidFill>
                <a:srgbClr val="002050"/>
              </a:solidFill>
              <a:prstDash val="solid"/>
              <a:headEnd type="none"/>
              <a:tailEnd type="none"/>
            </a:ln>
            <a:effectLst/>
          </p:spPr>
        </p:cxnSp>
        <p:cxnSp>
          <p:nvCxnSpPr>
            <p:cNvPr id="20" name="Straight Connector 19">
              <a:extLst>
                <a:ext uri="{FF2B5EF4-FFF2-40B4-BE49-F238E27FC236}">
                  <a16:creationId xmlns:a16="http://schemas.microsoft.com/office/drawing/2014/main" id="{CE06E2D1-586E-4627-804C-111189E1A333}"/>
                </a:ext>
              </a:extLst>
            </p:cNvPr>
            <p:cNvCxnSpPr>
              <a:cxnSpLocks/>
            </p:cNvCxnSpPr>
            <p:nvPr/>
          </p:nvCxnSpPr>
          <p:spPr>
            <a:xfrm>
              <a:off x="7467764" y="3544960"/>
              <a:ext cx="0" cy="822817"/>
            </a:xfrm>
            <a:prstGeom prst="line">
              <a:avLst/>
            </a:prstGeom>
            <a:noFill/>
            <a:ln w="19050" cap="flat" cmpd="sng" algn="ctr">
              <a:solidFill>
                <a:srgbClr val="002050"/>
              </a:solidFill>
              <a:prstDash val="solid"/>
              <a:headEnd type="none"/>
              <a:tailEnd type="none"/>
            </a:ln>
            <a:effectLst/>
          </p:spPr>
        </p:cxnSp>
        <p:cxnSp>
          <p:nvCxnSpPr>
            <p:cNvPr id="21" name="Straight Connector 20">
              <a:extLst>
                <a:ext uri="{FF2B5EF4-FFF2-40B4-BE49-F238E27FC236}">
                  <a16:creationId xmlns:a16="http://schemas.microsoft.com/office/drawing/2014/main" id="{4797196E-8A7C-4778-AAF7-690E979EFC5A}"/>
                </a:ext>
              </a:extLst>
            </p:cNvPr>
            <p:cNvCxnSpPr>
              <a:cxnSpLocks/>
            </p:cNvCxnSpPr>
            <p:nvPr/>
          </p:nvCxnSpPr>
          <p:spPr>
            <a:xfrm>
              <a:off x="7570510" y="3544960"/>
              <a:ext cx="0" cy="822817"/>
            </a:xfrm>
            <a:prstGeom prst="line">
              <a:avLst/>
            </a:prstGeom>
            <a:noFill/>
            <a:ln w="19050" cap="flat" cmpd="sng" algn="ctr">
              <a:solidFill>
                <a:srgbClr val="002050"/>
              </a:solidFill>
              <a:prstDash val="solid"/>
              <a:headEnd type="none"/>
              <a:tailEnd type="none"/>
            </a:ln>
            <a:effectLst/>
          </p:spPr>
        </p:cxnSp>
        <p:cxnSp>
          <p:nvCxnSpPr>
            <p:cNvPr id="22" name="Straight Connector 21">
              <a:extLst>
                <a:ext uri="{FF2B5EF4-FFF2-40B4-BE49-F238E27FC236}">
                  <a16:creationId xmlns:a16="http://schemas.microsoft.com/office/drawing/2014/main" id="{4C7A047B-4CE7-4867-98B4-D19C6CF633D0}"/>
                </a:ext>
              </a:extLst>
            </p:cNvPr>
            <p:cNvCxnSpPr>
              <a:cxnSpLocks/>
            </p:cNvCxnSpPr>
            <p:nvPr/>
          </p:nvCxnSpPr>
          <p:spPr>
            <a:xfrm>
              <a:off x="7673256" y="3276134"/>
              <a:ext cx="0" cy="1091643"/>
            </a:xfrm>
            <a:prstGeom prst="line">
              <a:avLst/>
            </a:prstGeom>
            <a:noFill/>
            <a:ln w="19050" cap="flat" cmpd="sng" algn="ctr">
              <a:solidFill>
                <a:srgbClr val="002050"/>
              </a:solidFill>
              <a:prstDash val="solid"/>
              <a:headEnd type="none"/>
              <a:tailEnd type="none"/>
            </a:ln>
            <a:effectLst/>
          </p:spPr>
        </p:cxnSp>
        <p:cxnSp>
          <p:nvCxnSpPr>
            <p:cNvPr id="23" name="Straight Connector 22">
              <a:extLst>
                <a:ext uri="{FF2B5EF4-FFF2-40B4-BE49-F238E27FC236}">
                  <a16:creationId xmlns:a16="http://schemas.microsoft.com/office/drawing/2014/main" id="{D4AB575A-F08D-4DDB-84F4-7B3E8A4037CA}"/>
                </a:ext>
              </a:extLst>
            </p:cNvPr>
            <p:cNvCxnSpPr>
              <a:cxnSpLocks/>
            </p:cNvCxnSpPr>
            <p:nvPr/>
          </p:nvCxnSpPr>
          <p:spPr>
            <a:xfrm>
              <a:off x="7774852" y="3056343"/>
              <a:ext cx="1150" cy="1311434"/>
            </a:xfrm>
            <a:prstGeom prst="line">
              <a:avLst/>
            </a:prstGeom>
            <a:noFill/>
            <a:ln w="19050" cap="flat" cmpd="sng" algn="ctr">
              <a:solidFill>
                <a:srgbClr val="002050"/>
              </a:solidFill>
              <a:prstDash val="solid"/>
              <a:headEnd type="none"/>
              <a:tailEnd type="none"/>
            </a:ln>
            <a:effectLst/>
          </p:spPr>
        </p:cxnSp>
        <p:cxnSp>
          <p:nvCxnSpPr>
            <p:cNvPr id="24" name="Straight Connector 23">
              <a:extLst>
                <a:ext uri="{FF2B5EF4-FFF2-40B4-BE49-F238E27FC236}">
                  <a16:creationId xmlns:a16="http://schemas.microsoft.com/office/drawing/2014/main" id="{E61C0571-0684-4B08-A4F3-27A71B6B9392}"/>
                </a:ext>
              </a:extLst>
            </p:cNvPr>
            <p:cNvCxnSpPr>
              <a:cxnSpLocks/>
              <a:stCxn id="56" idx="6"/>
            </p:cNvCxnSpPr>
            <p:nvPr/>
          </p:nvCxnSpPr>
          <p:spPr>
            <a:xfrm flipH="1">
              <a:off x="7876624" y="2385107"/>
              <a:ext cx="110" cy="1979691"/>
            </a:xfrm>
            <a:prstGeom prst="line">
              <a:avLst/>
            </a:prstGeom>
            <a:noFill/>
            <a:ln w="19050" cap="flat" cmpd="sng" algn="ctr">
              <a:solidFill>
                <a:srgbClr val="002050"/>
              </a:solidFill>
              <a:prstDash val="solid"/>
              <a:headEnd type="none"/>
              <a:tailEnd type="none"/>
            </a:ln>
            <a:effectLst/>
          </p:spPr>
        </p:cxnSp>
        <p:cxnSp>
          <p:nvCxnSpPr>
            <p:cNvPr id="25" name="Straight Connector 24">
              <a:extLst>
                <a:ext uri="{FF2B5EF4-FFF2-40B4-BE49-F238E27FC236}">
                  <a16:creationId xmlns:a16="http://schemas.microsoft.com/office/drawing/2014/main" id="{B4685750-312B-4BC0-8745-2F9FFF64CFB9}"/>
                </a:ext>
              </a:extLst>
            </p:cNvPr>
            <p:cNvCxnSpPr>
              <a:cxnSpLocks/>
            </p:cNvCxnSpPr>
            <p:nvPr/>
          </p:nvCxnSpPr>
          <p:spPr>
            <a:xfrm flipH="1">
              <a:off x="7981494" y="3002561"/>
              <a:ext cx="8396" cy="1365216"/>
            </a:xfrm>
            <a:prstGeom prst="line">
              <a:avLst/>
            </a:prstGeom>
            <a:noFill/>
            <a:ln w="19050" cap="flat" cmpd="sng" algn="ctr">
              <a:solidFill>
                <a:srgbClr val="002050"/>
              </a:solidFill>
              <a:prstDash val="solid"/>
              <a:headEnd type="none"/>
              <a:tailEnd type="none"/>
            </a:ln>
            <a:effectLst/>
          </p:spPr>
        </p:cxnSp>
        <p:cxnSp>
          <p:nvCxnSpPr>
            <p:cNvPr id="26" name="Straight Connector 25">
              <a:extLst>
                <a:ext uri="{FF2B5EF4-FFF2-40B4-BE49-F238E27FC236}">
                  <a16:creationId xmlns:a16="http://schemas.microsoft.com/office/drawing/2014/main" id="{CBB9DD73-7556-4271-B9FA-EEE70294C5F7}"/>
                </a:ext>
              </a:extLst>
            </p:cNvPr>
            <p:cNvCxnSpPr>
              <a:cxnSpLocks/>
            </p:cNvCxnSpPr>
            <p:nvPr/>
          </p:nvCxnSpPr>
          <p:spPr>
            <a:xfrm>
              <a:off x="8084240" y="2800350"/>
              <a:ext cx="0" cy="1567427"/>
            </a:xfrm>
            <a:prstGeom prst="line">
              <a:avLst/>
            </a:prstGeom>
            <a:noFill/>
            <a:ln w="19050" cap="flat" cmpd="sng" algn="ctr">
              <a:solidFill>
                <a:srgbClr val="002050"/>
              </a:solidFill>
              <a:prstDash val="solid"/>
              <a:headEnd type="none"/>
              <a:tailEnd type="none"/>
            </a:ln>
            <a:effectLst/>
          </p:spPr>
        </p:cxnSp>
        <p:cxnSp>
          <p:nvCxnSpPr>
            <p:cNvPr id="27" name="Straight Connector 26">
              <a:extLst>
                <a:ext uri="{FF2B5EF4-FFF2-40B4-BE49-F238E27FC236}">
                  <a16:creationId xmlns:a16="http://schemas.microsoft.com/office/drawing/2014/main" id="{0B9D6CC5-86A7-4C66-A6C9-A8E09D77CE6E}"/>
                </a:ext>
              </a:extLst>
            </p:cNvPr>
            <p:cNvCxnSpPr>
              <a:cxnSpLocks/>
            </p:cNvCxnSpPr>
            <p:nvPr/>
          </p:nvCxnSpPr>
          <p:spPr>
            <a:xfrm flipH="1">
              <a:off x="8183938" y="2237178"/>
              <a:ext cx="8403" cy="2127620"/>
            </a:xfrm>
            <a:prstGeom prst="line">
              <a:avLst/>
            </a:prstGeom>
            <a:noFill/>
            <a:ln w="19050" cap="flat" cmpd="sng" algn="ctr">
              <a:solidFill>
                <a:srgbClr val="002050"/>
              </a:solidFill>
              <a:prstDash val="solid"/>
              <a:headEnd type="none"/>
              <a:tailEnd type="none"/>
            </a:ln>
            <a:effectLst/>
          </p:spPr>
        </p:cxnSp>
        <p:cxnSp>
          <p:nvCxnSpPr>
            <p:cNvPr id="28" name="Straight Connector 27">
              <a:extLst>
                <a:ext uri="{FF2B5EF4-FFF2-40B4-BE49-F238E27FC236}">
                  <a16:creationId xmlns:a16="http://schemas.microsoft.com/office/drawing/2014/main" id="{4D90E705-DB04-4D41-B097-7E3A495F120E}"/>
                </a:ext>
              </a:extLst>
            </p:cNvPr>
            <p:cNvCxnSpPr>
              <a:cxnSpLocks/>
            </p:cNvCxnSpPr>
            <p:nvPr/>
          </p:nvCxnSpPr>
          <p:spPr>
            <a:xfrm>
              <a:off x="8297115" y="1744910"/>
              <a:ext cx="0" cy="2622867"/>
            </a:xfrm>
            <a:prstGeom prst="line">
              <a:avLst/>
            </a:prstGeom>
            <a:noFill/>
            <a:ln w="19050" cap="flat" cmpd="sng" algn="ctr">
              <a:solidFill>
                <a:srgbClr val="002050"/>
              </a:solidFill>
              <a:prstDash val="solid"/>
              <a:headEnd type="none"/>
              <a:tailEnd type="none"/>
            </a:ln>
            <a:effectLst/>
          </p:spPr>
        </p:cxnSp>
        <p:cxnSp>
          <p:nvCxnSpPr>
            <p:cNvPr id="29" name="Straight Connector 28">
              <a:extLst>
                <a:ext uri="{FF2B5EF4-FFF2-40B4-BE49-F238E27FC236}">
                  <a16:creationId xmlns:a16="http://schemas.microsoft.com/office/drawing/2014/main" id="{E17F77D9-F8BD-4009-920E-994277045CFB}"/>
                </a:ext>
              </a:extLst>
            </p:cNvPr>
            <p:cNvCxnSpPr>
              <a:cxnSpLocks/>
            </p:cNvCxnSpPr>
            <p:nvPr/>
          </p:nvCxnSpPr>
          <p:spPr>
            <a:xfrm>
              <a:off x="8367362" y="1827023"/>
              <a:ext cx="32499" cy="2540754"/>
            </a:xfrm>
            <a:prstGeom prst="line">
              <a:avLst/>
            </a:prstGeom>
            <a:noFill/>
            <a:ln w="19050" cap="flat" cmpd="sng" algn="ctr">
              <a:solidFill>
                <a:srgbClr val="002050"/>
              </a:solidFill>
              <a:prstDash val="solid"/>
              <a:headEnd type="none"/>
              <a:tailEnd type="none"/>
            </a:ln>
            <a:effectLst/>
          </p:spPr>
        </p:cxnSp>
        <p:cxnSp>
          <p:nvCxnSpPr>
            <p:cNvPr id="30" name="Straight Connector 29">
              <a:extLst>
                <a:ext uri="{FF2B5EF4-FFF2-40B4-BE49-F238E27FC236}">
                  <a16:creationId xmlns:a16="http://schemas.microsoft.com/office/drawing/2014/main" id="{C9131D3C-E91A-42CA-B8DE-5A1E2365D427}"/>
                </a:ext>
              </a:extLst>
            </p:cNvPr>
            <p:cNvCxnSpPr>
              <a:cxnSpLocks/>
              <a:stCxn id="56" idx="13"/>
            </p:cNvCxnSpPr>
            <p:nvPr/>
          </p:nvCxnSpPr>
          <p:spPr>
            <a:xfrm>
              <a:off x="8496171" y="2863191"/>
              <a:ext cx="21279" cy="1501607"/>
            </a:xfrm>
            <a:prstGeom prst="line">
              <a:avLst/>
            </a:prstGeom>
            <a:noFill/>
            <a:ln w="19050" cap="flat" cmpd="sng" algn="ctr">
              <a:solidFill>
                <a:srgbClr val="002050"/>
              </a:solidFill>
              <a:prstDash val="solid"/>
              <a:headEnd type="none"/>
              <a:tailEnd type="none"/>
            </a:ln>
            <a:effectLst/>
          </p:spPr>
        </p:cxnSp>
        <p:cxnSp>
          <p:nvCxnSpPr>
            <p:cNvPr id="31" name="Straight Connector 30">
              <a:extLst>
                <a:ext uri="{FF2B5EF4-FFF2-40B4-BE49-F238E27FC236}">
                  <a16:creationId xmlns:a16="http://schemas.microsoft.com/office/drawing/2014/main" id="{FE1E2930-5B79-429E-9533-AEC86993F0A2}"/>
                </a:ext>
              </a:extLst>
            </p:cNvPr>
            <p:cNvCxnSpPr>
              <a:cxnSpLocks/>
            </p:cNvCxnSpPr>
            <p:nvPr/>
          </p:nvCxnSpPr>
          <p:spPr>
            <a:xfrm>
              <a:off x="8633038" y="2935203"/>
              <a:ext cx="0" cy="1429595"/>
            </a:xfrm>
            <a:prstGeom prst="line">
              <a:avLst/>
            </a:prstGeom>
            <a:noFill/>
            <a:ln w="19050" cap="flat" cmpd="sng" algn="ctr">
              <a:solidFill>
                <a:srgbClr val="002050"/>
              </a:solidFill>
              <a:prstDash val="solid"/>
              <a:headEnd type="none"/>
              <a:tailEnd type="none"/>
            </a:ln>
            <a:effectLst/>
          </p:spPr>
        </p:cxnSp>
        <p:cxnSp>
          <p:nvCxnSpPr>
            <p:cNvPr id="32" name="Straight Connector 31">
              <a:extLst>
                <a:ext uri="{FF2B5EF4-FFF2-40B4-BE49-F238E27FC236}">
                  <a16:creationId xmlns:a16="http://schemas.microsoft.com/office/drawing/2014/main" id="{29960796-831C-41FE-85EC-33BC44B0C932}"/>
                </a:ext>
              </a:extLst>
            </p:cNvPr>
            <p:cNvCxnSpPr>
              <a:cxnSpLocks/>
            </p:cNvCxnSpPr>
            <p:nvPr/>
          </p:nvCxnSpPr>
          <p:spPr>
            <a:xfrm flipH="1">
              <a:off x="8730469" y="3286766"/>
              <a:ext cx="9508" cy="1085489"/>
            </a:xfrm>
            <a:prstGeom prst="line">
              <a:avLst/>
            </a:prstGeom>
            <a:noFill/>
            <a:ln w="19050" cap="flat" cmpd="sng" algn="ctr">
              <a:solidFill>
                <a:srgbClr val="002050"/>
              </a:solidFill>
              <a:prstDash val="solid"/>
              <a:headEnd type="none"/>
              <a:tailEnd type="none"/>
            </a:ln>
            <a:effectLst/>
          </p:spPr>
        </p:cxnSp>
        <p:cxnSp>
          <p:nvCxnSpPr>
            <p:cNvPr id="33" name="Straight Connector 32">
              <a:extLst>
                <a:ext uri="{FF2B5EF4-FFF2-40B4-BE49-F238E27FC236}">
                  <a16:creationId xmlns:a16="http://schemas.microsoft.com/office/drawing/2014/main" id="{D859C591-D048-4D7D-B362-C77969E67C7E}"/>
                </a:ext>
              </a:extLst>
            </p:cNvPr>
            <p:cNvCxnSpPr>
              <a:cxnSpLocks/>
            </p:cNvCxnSpPr>
            <p:nvPr/>
          </p:nvCxnSpPr>
          <p:spPr>
            <a:xfrm>
              <a:off x="8838530" y="3559049"/>
              <a:ext cx="0" cy="805749"/>
            </a:xfrm>
            <a:prstGeom prst="line">
              <a:avLst/>
            </a:prstGeom>
            <a:noFill/>
            <a:ln w="19050" cap="flat" cmpd="sng" algn="ctr">
              <a:solidFill>
                <a:srgbClr val="002050"/>
              </a:solidFill>
              <a:prstDash val="solid"/>
              <a:headEnd type="none"/>
              <a:tailEnd type="none"/>
            </a:ln>
            <a:effectLst/>
          </p:spPr>
        </p:cxnSp>
        <p:cxnSp>
          <p:nvCxnSpPr>
            <p:cNvPr id="34" name="Straight Connector 33">
              <a:extLst>
                <a:ext uri="{FF2B5EF4-FFF2-40B4-BE49-F238E27FC236}">
                  <a16:creationId xmlns:a16="http://schemas.microsoft.com/office/drawing/2014/main" id="{4D999875-0A2C-4765-882D-2A546FB1C95E}"/>
                </a:ext>
              </a:extLst>
            </p:cNvPr>
            <p:cNvCxnSpPr>
              <a:cxnSpLocks/>
            </p:cNvCxnSpPr>
            <p:nvPr/>
          </p:nvCxnSpPr>
          <p:spPr>
            <a:xfrm flipH="1">
              <a:off x="8948659" y="3544759"/>
              <a:ext cx="3676" cy="820039"/>
            </a:xfrm>
            <a:prstGeom prst="line">
              <a:avLst/>
            </a:prstGeom>
            <a:noFill/>
            <a:ln w="19050" cap="flat" cmpd="sng" algn="ctr">
              <a:solidFill>
                <a:srgbClr val="002050"/>
              </a:solidFill>
              <a:prstDash val="solid"/>
              <a:headEnd type="none"/>
              <a:tailEnd type="none"/>
            </a:ln>
            <a:effectLst/>
          </p:spPr>
        </p:cxnSp>
        <p:cxnSp>
          <p:nvCxnSpPr>
            <p:cNvPr id="35" name="Straight Connector 34">
              <a:extLst>
                <a:ext uri="{FF2B5EF4-FFF2-40B4-BE49-F238E27FC236}">
                  <a16:creationId xmlns:a16="http://schemas.microsoft.com/office/drawing/2014/main" id="{872FDE52-9555-4EFC-B0AC-0222D5262408}"/>
                </a:ext>
              </a:extLst>
            </p:cNvPr>
            <p:cNvCxnSpPr>
              <a:cxnSpLocks/>
            </p:cNvCxnSpPr>
            <p:nvPr/>
          </p:nvCxnSpPr>
          <p:spPr>
            <a:xfrm>
              <a:off x="9051405" y="3536492"/>
              <a:ext cx="0" cy="828306"/>
            </a:xfrm>
            <a:prstGeom prst="line">
              <a:avLst/>
            </a:prstGeom>
            <a:noFill/>
            <a:ln w="19050" cap="flat" cmpd="sng" algn="ctr">
              <a:solidFill>
                <a:srgbClr val="002050"/>
              </a:solidFill>
              <a:prstDash val="solid"/>
              <a:headEnd type="none"/>
              <a:tailEnd type="none"/>
            </a:ln>
            <a:effectLst/>
          </p:spPr>
        </p:cxnSp>
        <p:cxnSp>
          <p:nvCxnSpPr>
            <p:cNvPr id="36" name="Straight Connector 35">
              <a:extLst>
                <a:ext uri="{FF2B5EF4-FFF2-40B4-BE49-F238E27FC236}">
                  <a16:creationId xmlns:a16="http://schemas.microsoft.com/office/drawing/2014/main" id="{3694C5E6-8326-430E-9027-2E5348C93A3A}"/>
                </a:ext>
              </a:extLst>
            </p:cNvPr>
            <p:cNvCxnSpPr>
              <a:cxnSpLocks/>
            </p:cNvCxnSpPr>
            <p:nvPr/>
          </p:nvCxnSpPr>
          <p:spPr>
            <a:xfrm flipH="1">
              <a:off x="9154151" y="3544960"/>
              <a:ext cx="4139" cy="819838"/>
            </a:xfrm>
            <a:prstGeom prst="line">
              <a:avLst/>
            </a:prstGeom>
            <a:noFill/>
            <a:ln w="19050" cap="flat" cmpd="sng" algn="ctr">
              <a:solidFill>
                <a:srgbClr val="002050"/>
              </a:solidFill>
              <a:prstDash val="solid"/>
              <a:headEnd type="none"/>
              <a:tailEnd type="none"/>
            </a:ln>
            <a:effectLst/>
          </p:spPr>
        </p:cxnSp>
        <p:cxnSp>
          <p:nvCxnSpPr>
            <p:cNvPr id="37" name="Straight Connector 36">
              <a:extLst>
                <a:ext uri="{FF2B5EF4-FFF2-40B4-BE49-F238E27FC236}">
                  <a16:creationId xmlns:a16="http://schemas.microsoft.com/office/drawing/2014/main" id="{E7529B05-066C-468A-ADDB-8565F0AF6560}"/>
                </a:ext>
              </a:extLst>
            </p:cNvPr>
            <p:cNvCxnSpPr>
              <a:cxnSpLocks/>
            </p:cNvCxnSpPr>
            <p:nvPr/>
          </p:nvCxnSpPr>
          <p:spPr>
            <a:xfrm flipH="1">
              <a:off x="9272094" y="3536492"/>
              <a:ext cx="5105" cy="828306"/>
            </a:xfrm>
            <a:prstGeom prst="line">
              <a:avLst/>
            </a:prstGeom>
            <a:noFill/>
            <a:ln w="19050" cap="flat" cmpd="sng" algn="ctr">
              <a:solidFill>
                <a:srgbClr val="002050"/>
              </a:solidFill>
              <a:prstDash val="solid"/>
              <a:headEnd type="none"/>
              <a:tailEnd type="none"/>
            </a:ln>
            <a:effectLst/>
          </p:spPr>
        </p:cxnSp>
        <p:sp>
          <p:nvSpPr>
            <p:cNvPr id="38" name="TextBox 37">
              <a:extLst>
                <a:ext uri="{FF2B5EF4-FFF2-40B4-BE49-F238E27FC236}">
                  <a16:creationId xmlns:a16="http://schemas.microsoft.com/office/drawing/2014/main" id="{29612BD3-B1A1-46B0-95E7-986DC9CF9104}"/>
                </a:ext>
              </a:extLst>
            </p:cNvPr>
            <p:cNvSpPr txBox="1"/>
            <p:nvPr/>
          </p:nvSpPr>
          <p:spPr>
            <a:xfrm>
              <a:off x="10665649" y="5388602"/>
              <a:ext cx="874418" cy="172676"/>
            </a:xfrm>
            <a:prstGeom prst="rect">
              <a:avLst/>
            </a:prstGeom>
            <a:solidFill>
              <a:srgbClr val="FFFFFF"/>
            </a:solidFill>
          </p:spPr>
          <p:txBody>
            <a:bodyPr wrap="square" lIns="0" tIns="0" rIns="0" bIns="0"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122" b="0" i="0" u="none" strike="noStrike" kern="0" cap="none" spc="0" normalizeH="0" baseline="0" noProof="0" err="1">
                  <a:ln>
                    <a:noFill/>
                  </a:ln>
                  <a:solidFill>
                    <a:srgbClr val="000000"/>
                  </a:solidFill>
                  <a:effectLst/>
                  <a:uLnTx/>
                  <a:uFillTx/>
                  <a:cs typeface="Segoe UI" panose="020B0502040204020203" pitchFamily="34" charset="0"/>
                </a:rPr>
                <a:t>Vcores</a:t>
              </a:r>
              <a:r>
                <a:rPr kumimoji="0" lang="en-US" sz="1122" b="0" i="0" u="none" strike="noStrike" kern="0" cap="none" spc="0" normalizeH="0" baseline="0" noProof="0">
                  <a:ln>
                    <a:noFill/>
                  </a:ln>
                  <a:solidFill>
                    <a:srgbClr val="000000"/>
                  </a:solidFill>
                  <a:effectLst/>
                  <a:uLnTx/>
                  <a:uFillTx/>
                  <a:cs typeface="Segoe UI" panose="020B0502040204020203" pitchFamily="34" charset="0"/>
                </a:rPr>
                <a:t> billed</a:t>
              </a:r>
            </a:p>
          </p:txBody>
        </p:sp>
        <p:sp>
          <p:nvSpPr>
            <p:cNvPr id="39" name="Rectangle 38">
              <a:extLst>
                <a:ext uri="{FF2B5EF4-FFF2-40B4-BE49-F238E27FC236}">
                  <a16:creationId xmlns:a16="http://schemas.microsoft.com/office/drawing/2014/main" id="{E3FE0D43-A1CA-4A09-9A82-9849CFB1DC8B}"/>
                </a:ext>
              </a:extLst>
            </p:cNvPr>
            <p:cNvSpPr/>
            <p:nvPr/>
          </p:nvSpPr>
          <p:spPr bwMode="auto">
            <a:xfrm>
              <a:off x="7200466" y="5454932"/>
              <a:ext cx="191828" cy="45719"/>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Rectangle 39">
              <a:extLst>
                <a:ext uri="{FF2B5EF4-FFF2-40B4-BE49-F238E27FC236}">
                  <a16:creationId xmlns:a16="http://schemas.microsoft.com/office/drawing/2014/main" id="{2E22D809-AD1A-4DD5-BA7F-7FA78F43B90D}"/>
                </a:ext>
              </a:extLst>
            </p:cNvPr>
            <p:cNvSpPr/>
            <p:nvPr/>
          </p:nvSpPr>
          <p:spPr bwMode="auto">
            <a:xfrm>
              <a:off x="8263695" y="5454932"/>
              <a:ext cx="191828" cy="45719"/>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Rectangle 40">
              <a:extLst>
                <a:ext uri="{FF2B5EF4-FFF2-40B4-BE49-F238E27FC236}">
                  <a16:creationId xmlns:a16="http://schemas.microsoft.com/office/drawing/2014/main" id="{AD821E95-A7F3-4D4E-B49A-A5BFED6FB54E}"/>
                </a:ext>
              </a:extLst>
            </p:cNvPr>
            <p:cNvSpPr/>
            <p:nvPr/>
          </p:nvSpPr>
          <p:spPr bwMode="auto">
            <a:xfrm>
              <a:off x="9406270" y="5454932"/>
              <a:ext cx="191828" cy="45719"/>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a:extLst>
                <a:ext uri="{FF2B5EF4-FFF2-40B4-BE49-F238E27FC236}">
                  <a16:creationId xmlns:a16="http://schemas.microsoft.com/office/drawing/2014/main" id="{1E064990-9909-4EF7-B8BA-91B79802D7CA}"/>
                </a:ext>
              </a:extLst>
            </p:cNvPr>
            <p:cNvSpPr/>
            <p:nvPr/>
          </p:nvSpPr>
          <p:spPr bwMode="auto">
            <a:xfrm rot="16200000">
              <a:off x="10515946" y="5454932"/>
              <a:ext cx="191828" cy="45719"/>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C3E5D53-1278-4706-8F9D-5B9F5196C8FB}"/>
                </a:ext>
              </a:extLst>
            </p:cNvPr>
            <p:cNvCxnSpPr>
              <a:cxnSpLocks/>
            </p:cNvCxnSpPr>
            <p:nvPr/>
          </p:nvCxnSpPr>
          <p:spPr>
            <a:xfrm>
              <a:off x="9384498" y="3567495"/>
              <a:ext cx="0" cy="805749"/>
            </a:xfrm>
            <a:prstGeom prst="line">
              <a:avLst/>
            </a:prstGeom>
            <a:noFill/>
            <a:ln w="19050" cap="flat" cmpd="sng" algn="ctr">
              <a:solidFill>
                <a:srgbClr val="002050"/>
              </a:solidFill>
              <a:prstDash val="solid"/>
              <a:headEnd type="none"/>
              <a:tailEnd type="none"/>
            </a:ln>
            <a:effectLst/>
          </p:spPr>
        </p:cxnSp>
        <p:cxnSp>
          <p:nvCxnSpPr>
            <p:cNvPr id="44" name="Straight Connector 43">
              <a:extLst>
                <a:ext uri="{FF2B5EF4-FFF2-40B4-BE49-F238E27FC236}">
                  <a16:creationId xmlns:a16="http://schemas.microsoft.com/office/drawing/2014/main" id="{5D0C3D6F-B7AF-4F7A-AEB4-7B2178FCD109}"/>
                </a:ext>
              </a:extLst>
            </p:cNvPr>
            <p:cNvCxnSpPr>
              <a:cxnSpLocks/>
            </p:cNvCxnSpPr>
            <p:nvPr/>
          </p:nvCxnSpPr>
          <p:spPr>
            <a:xfrm flipH="1">
              <a:off x="9494627" y="3553205"/>
              <a:ext cx="3676" cy="820039"/>
            </a:xfrm>
            <a:prstGeom prst="line">
              <a:avLst/>
            </a:prstGeom>
            <a:noFill/>
            <a:ln w="19050" cap="flat" cmpd="sng" algn="ctr">
              <a:solidFill>
                <a:srgbClr val="002050"/>
              </a:solidFill>
              <a:prstDash val="solid"/>
              <a:headEnd type="none"/>
              <a:tailEnd type="none"/>
            </a:ln>
            <a:effectLst/>
          </p:spPr>
        </p:cxnSp>
        <p:cxnSp>
          <p:nvCxnSpPr>
            <p:cNvPr id="45" name="Straight Connector 44">
              <a:extLst>
                <a:ext uri="{FF2B5EF4-FFF2-40B4-BE49-F238E27FC236}">
                  <a16:creationId xmlns:a16="http://schemas.microsoft.com/office/drawing/2014/main" id="{D425301E-90F1-4D43-916F-71EEAA767A49}"/>
                </a:ext>
              </a:extLst>
            </p:cNvPr>
            <p:cNvCxnSpPr>
              <a:cxnSpLocks/>
            </p:cNvCxnSpPr>
            <p:nvPr/>
          </p:nvCxnSpPr>
          <p:spPr>
            <a:xfrm>
              <a:off x="9597373" y="3544938"/>
              <a:ext cx="0" cy="828306"/>
            </a:xfrm>
            <a:prstGeom prst="line">
              <a:avLst/>
            </a:prstGeom>
            <a:noFill/>
            <a:ln w="19050" cap="flat" cmpd="sng" algn="ctr">
              <a:solidFill>
                <a:srgbClr val="002050"/>
              </a:solidFill>
              <a:prstDash val="solid"/>
              <a:headEnd type="none"/>
              <a:tailEnd type="none"/>
            </a:ln>
            <a:effectLst/>
          </p:spPr>
        </p:cxnSp>
        <p:cxnSp>
          <p:nvCxnSpPr>
            <p:cNvPr id="46" name="Straight Connector 45">
              <a:extLst>
                <a:ext uri="{FF2B5EF4-FFF2-40B4-BE49-F238E27FC236}">
                  <a16:creationId xmlns:a16="http://schemas.microsoft.com/office/drawing/2014/main" id="{909F2F11-2139-403A-82C4-019B98D4E494}"/>
                </a:ext>
              </a:extLst>
            </p:cNvPr>
            <p:cNvCxnSpPr>
              <a:cxnSpLocks/>
            </p:cNvCxnSpPr>
            <p:nvPr/>
          </p:nvCxnSpPr>
          <p:spPr>
            <a:xfrm flipH="1">
              <a:off x="9700119" y="3553406"/>
              <a:ext cx="4139" cy="819838"/>
            </a:xfrm>
            <a:prstGeom prst="line">
              <a:avLst/>
            </a:prstGeom>
            <a:noFill/>
            <a:ln w="19050" cap="flat" cmpd="sng" algn="ctr">
              <a:solidFill>
                <a:srgbClr val="002050"/>
              </a:solidFill>
              <a:prstDash val="solid"/>
              <a:headEnd type="none"/>
              <a:tailEnd type="none"/>
            </a:ln>
            <a:effectLst/>
          </p:spPr>
        </p:cxnSp>
        <p:cxnSp>
          <p:nvCxnSpPr>
            <p:cNvPr id="47" name="Straight Connector 46">
              <a:extLst>
                <a:ext uri="{FF2B5EF4-FFF2-40B4-BE49-F238E27FC236}">
                  <a16:creationId xmlns:a16="http://schemas.microsoft.com/office/drawing/2014/main" id="{36BEE576-D063-4587-9192-52C43802DC9C}"/>
                </a:ext>
              </a:extLst>
            </p:cNvPr>
            <p:cNvCxnSpPr>
              <a:cxnSpLocks/>
            </p:cNvCxnSpPr>
            <p:nvPr/>
          </p:nvCxnSpPr>
          <p:spPr>
            <a:xfrm flipH="1">
              <a:off x="9818062" y="3538588"/>
              <a:ext cx="5105" cy="828306"/>
            </a:xfrm>
            <a:prstGeom prst="line">
              <a:avLst/>
            </a:prstGeom>
            <a:noFill/>
            <a:ln w="19050" cap="flat" cmpd="sng" algn="ctr">
              <a:solidFill>
                <a:srgbClr val="002050"/>
              </a:solidFill>
              <a:prstDash val="solid"/>
              <a:headEnd type="none"/>
              <a:tailEnd type="none"/>
            </a:ln>
            <a:effectLst/>
          </p:spPr>
        </p:cxnSp>
        <p:cxnSp>
          <p:nvCxnSpPr>
            <p:cNvPr id="48" name="Straight Connector 47">
              <a:extLst>
                <a:ext uri="{FF2B5EF4-FFF2-40B4-BE49-F238E27FC236}">
                  <a16:creationId xmlns:a16="http://schemas.microsoft.com/office/drawing/2014/main" id="{93EA4F8D-3113-4F27-A95A-B1E309B1F6D6}"/>
                </a:ext>
              </a:extLst>
            </p:cNvPr>
            <p:cNvCxnSpPr>
              <a:cxnSpLocks/>
            </p:cNvCxnSpPr>
            <p:nvPr/>
          </p:nvCxnSpPr>
          <p:spPr>
            <a:xfrm flipH="1">
              <a:off x="9938755" y="3544938"/>
              <a:ext cx="5105" cy="828306"/>
            </a:xfrm>
            <a:prstGeom prst="line">
              <a:avLst/>
            </a:prstGeom>
            <a:noFill/>
            <a:ln w="19050" cap="flat" cmpd="sng" algn="ctr">
              <a:solidFill>
                <a:srgbClr val="002050"/>
              </a:solidFill>
              <a:prstDash val="solid"/>
              <a:headEnd type="none"/>
              <a:tailEnd type="none"/>
            </a:ln>
            <a:effectLst/>
          </p:spPr>
        </p:cxnSp>
        <p:cxnSp>
          <p:nvCxnSpPr>
            <p:cNvPr id="49" name="Straight Connector 48">
              <a:extLst>
                <a:ext uri="{FF2B5EF4-FFF2-40B4-BE49-F238E27FC236}">
                  <a16:creationId xmlns:a16="http://schemas.microsoft.com/office/drawing/2014/main" id="{B82FC613-154C-4E11-B313-3BA76F340369}"/>
                </a:ext>
              </a:extLst>
            </p:cNvPr>
            <p:cNvCxnSpPr>
              <a:cxnSpLocks/>
            </p:cNvCxnSpPr>
            <p:nvPr/>
          </p:nvCxnSpPr>
          <p:spPr>
            <a:xfrm flipH="1">
              <a:off x="10948345" y="3592912"/>
              <a:ext cx="6504" cy="765085"/>
            </a:xfrm>
            <a:prstGeom prst="line">
              <a:avLst/>
            </a:prstGeom>
            <a:noFill/>
            <a:ln w="19050" cap="flat" cmpd="sng" algn="ctr">
              <a:solidFill>
                <a:srgbClr val="002050"/>
              </a:solidFill>
              <a:prstDash val="solid"/>
              <a:headEnd type="none"/>
              <a:tailEnd type="none"/>
            </a:ln>
            <a:effectLst/>
          </p:spPr>
        </p:cxnSp>
        <p:cxnSp>
          <p:nvCxnSpPr>
            <p:cNvPr id="50" name="Straight Connector 49">
              <a:extLst>
                <a:ext uri="{FF2B5EF4-FFF2-40B4-BE49-F238E27FC236}">
                  <a16:creationId xmlns:a16="http://schemas.microsoft.com/office/drawing/2014/main" id="{D481996E-173F-463F-923F-82C6203DA521}"/>
                </a:ext>
              </a:extLst>
            </p:cNvPr>
            <p:cNvCxnSpPr>
              <a:cxnSpLocks/>
            </p:cNvCxnSpPr>
            <p:nvPr/>
          </p:nvCxnSpPr>
          <p:spPr>
            <a:xfrm>
              <a:off x="11060748" y="3560694"/>
              <a:ext cx="0" cy="805749"/>
            </a:xfrm>
            <a:prstGeom prst="line">
              <a:avLst/>
            </a:prstGeom>
            <a:noFill/>
            <a:ln w="19050" cap="flat" cmpd="sng" algn="ctr">
              <a:solidFill>
                <a:srgbClr val="002050"/>
              </a:solidFill>
              <a:prstDash val="solid"/>
              <a:headEnd type="none"/>
              <a:tailEnd type="none"/>
            </a:ln>
            <a:effectLst/>
          </p:spPr>
        </p:cxnSp>
        <p:cxnSp>
          <p:nvCxnSpPr>
            <p:cNvPr id="51" name="Straight Connector 50">
              <a:extLst>
                <a:ext uri="{FF2B5EF4-FFF2-40B4-BE49-F238E27FC236}">
                  <a16:creationId xmlns:a16="http://schemas.microsoft.com/office/drawing/2014/main" id="{DAD5933D-9F95-4F35-8C41-D5001953AF6D}"/>
                </a:ext>
              </a:extLst>
            </p:cNvPr>
            <p:cNvCxnSpPr>
              <a:cxnSpLocks/>
            </p:cNvCxnSpPr>
            <p:nvPr/>
          </p:nvCxnSpPr>
          <p:spPr>
            <a:xfrm flipH="1">
              <a:off x="11170877" y="3546404"/>
              <a:ext cx="3676" cy="820039"/>
            </a:xfrm>
            <a:prstGeom prst="line">
              <a:avLst/>
            </a:prstGeom>
            <a:noFill/>
            <a:ln w="19050" cap="flat" cmpd="sng" algn="ctr">
              <a:solidFill>
                <a:srgbClr val="002050"/>
              </a:solidFill>
              <a:prstDash val="solid"/>
              <a:headEnd type="none"/>
              <a:tailEnd type="none"/>
            </a:ln>
            <a:effectLst/>
          </p:spPr>
        </p:cxnSp>
        <p:cxnSp>
          <p:nvCxnSpPr>
            <p:cNvPr id="52" name="Straight Connector 51">
              <a:extLst>
                <a:ext uri="{FF2B5EF4-FFF2-40B4-BE49-F238E27FC236}">
                  <a16:creationId xmlns:a16="http://schemas.microsoft.com/office/drawing/2014/main" id="{B664A28A-09CE-436E-AA8B-B900EF77C7F0}"/>
                </a:ext>
              </a:extLst>
            </p:cNvPr>
            <p:cNvCxnSpPr>
              <a:cxnSpLocks/>
            </p:cNvCxnSpPr>
            <p:nvPr/>
          </p:nvCxnSpPr>
          <p:spPr>
            <a:xfrm>
              <a:off x="11273623" y="3538137"/>
              <a:ext cx="0" cy="828306"/>
            </a:xfrm>
            <a:prstGeom prst="line">
              <a:avLst/>
            </a:prstGeom>
            <a:noFill/>
            <a:ln w="19050" cap="flat" cmpd="sng" algn="ctr">
              <a:solidFill>
                <a:srgbClr val="002050"/>
              </a:solidFill>
              <a:prstDash val="solid"/>
              <a:headEnd type="none"/>
              <a:tailEnd type="none"/>
            </a:ln>
            <a:effectLst/>
          </p:spPr>
        </p:cxnSp>
        <p:cxnSp>
          <p:nvCxnSpPr>
            <p:cNvPr id="53" name="Straight Connector 52">
              <a:extLst>
                <a:ext uri="{FF2B5EF4-FFF2-40B4-BE49-F238E27FC236}">
                  <a16:creationId xmlns:a16="http://schemas.microsoft.com/office/drawing/2014/main" id="{62FF44B3-9705-4174-8BC1-158DB67368CF}"/>
                </a:ext>
              </a:extLst>
            </p:cNvPr>
            <p:cNvCxnSpPr>
              <a:cxnSpLocks/>
            </p:cNvCxnSpPr>
            <p:nvPr/>
          </p:nvCxnSpPr>
          <p:spPr>
            <a:xfrm flipH="1">
              <a:off x="11376369" y="3546605"/>
              <a:ext cx="4139" cy="819838"/>
            </a:xfrm>
            <a:prstGeom prst="line">
              <a:avLst/>
            </a:prstGeom>
            <a:noFill/>
            <a:ln w="19050" cap="flat" cmpd="sng" algn="ctr">
              <a:solidFill>
                <a:srgbClr val="002050"/>
              </a:solidFill>
              <a:prstDash val="solid"/>
              <a:headEnd type="none"/>
              <a:tailEnd type="none"/>
            </a:ln>
            <a:effectLst/>
          </p:spPr>
        </p:cxnSp>
        <p:cxnSp>
          <p:nvCxnSpPr>
            <p:cNvPr id="54" name="Straight Connector 53">
              <a:extLst>
                <a:ext uri="{FF2B5EF4-FFF2-40B4-BE49-F238E27FC236}">
                  <a16:creationId xmlns:a16="http://schemas.microsoft.com/office/drawing/2014/main" id="{F35BFF5F-F78B-4A94-8EB9-0CBB83637E6C}"/>
                </a:ext>
              </a:extLst>
            </p:cNvPr>
            <p:cNvCxnSpPr>
              <a:cxnSpLocks/>
            </p:cNvCxnSpPr>
            <p:nvPr/>
          </p:nvCxnSpPr>
          <p:spPr>
            <a:xfrm flipH="1">
              <a:off x="11494312" y="3538137"/>
              <a:ext cx="5105" cy="828306"/>
            </a:xfrm>
            <a:prstGeom prst="line">
              <a:avLst/>
            </a:prstGeom>
            <a:noFill/>
            <a:ln w="19050" cap="flat" cmpd="sng" algn="ctr">
              <a:solidFill>
                <a:srgbClr val="002050"/>
              </a:solidFill>
              <a:prstDash val="solid"/>
              <a:headEnd type="none"/>
              <a:tailEnd type="none"/>
            </a:ln>
            <a:effectLst/>
          </p:spPr>
        </p:cxnSp>
        <p:cxnSp>
          <p:nvCxnSpPr>
            <p:cNvPr id="55" name="Straight Arrow Connector 54">
              <a:extLst>
                <a:ext uri="{FF2B5EF4-FFF2-40B4-BE49-F238E27FC236}">
                  <a16:creationId xmlns:a16="http://schemas.microsoft.com/office/drawing/2014/main" id="{34351BEB-2C0C-4652-A274-1EC3799D3A33}"/>
                </a:ext>
              </a:extLst>
            </p:cNvPr>
            <p:cNvCxnSpPr>
              <a:cxnSpLocks/>
            </p:cNvCxnSpPr>
            <p:nvPr/>
          </p:nvCxnSpPr>
          <p:spPr>
            <a:xfrm flipV="1">
              <a:off x="7324937" y="4365716"/>
              <a:ext cx="4219974" cy="2061"/>
            </a:xfrm>
            <a:prstGeom prst="straightConnector1">
              <a:avLst/>
            </a:prstGeom>
            <a:noFill/>
            <a:ln w="12700" cap="flat" cmpd="sng" algn="ctr">
              <a:solidFill>
                <a:srgbClr val="505050"/>
              </a:solidFill>
              <a:prstDash val="solid"/>
              <a:headEnd type="none" w="lg" len="med"/>
              <a:tailEnd type="none"/>
            </a:ln>
            <a:effectLst/>
          </p:spPr>
        </p:cxnSp>
        <p:sp>
          <p:nvSpPr>
            <p:cNvPr id="56" name="Freeform 50">
              <a:extLst>
                <a:ext uri="{FF2B5EF4-FFF2-40B4-BE49-F238E27FC236}">
                  <a16:creationId xmlns:a16="http://schemas.microsoft.com/office/drawing/2014/main" id="{063EDD7F-BD0C-4089-80D2-35F093A4AAF5}"/>
                </a:ext>
              </a:extLst>
            </p:cNvPr>
            <p:cNvSpPr/>
            <p:nvPr/>
          </p:nvSpPr>
          <p:spPr bwMode="auto">
            <a:xfrm>
              <a:off x="7324627" y="1694540"/>
              <a:ext cx="4214867" cy="2680744"/>
            </a:xfrm>
            <a:custGeom>
              <a:avLst/>
              <a:gdLst>
                <a:gd name="connsiteX0" fmla="*/ 0 w 4691921"/>
                <a:gd name="connsiteY0" fmla="*/ 1723869 h 1821305"/>
                <a:gd name="connsiteX1" fmla="*/ 232348 w 4691921"/>
                <a:gd name="connsiteY1" fmla="*/ 1521502 h 1821305"/>
                <a:gd name="connsiteX2" fmla="*/ 239843 w 4691921"/>
                <a:gd name="connsiteY2" fmla="*/ 1401581 h 1821305"/>
                <a:gd name="connsiteX3" fmla="*/ 247338 w 4691921"/>
                <a:gd name="connsiteY3" fmla="*/ 1334125 h 1821305"/>
                <a:gd name="connsiteX4" fmla="*/ 337279 w 4691921"/>
                <a:gd name="connsiteY4" fmla="*/ 1011836 h 1821305"/>
                <a:gd name="connsiteX5" fmla="*/ 419725 w 4691921"/>
                <a:gd name="connsiteY5" fmla="*/ 1214204 h 1821305"/>
                <a:gd name="connsiteX6" fmla="*/ 614597 w 4691921"/>
                <a:gd name="connsiteY6" fmla="*/ 487181 h 1821305"/>
                <a:gd name="connsiteX7" fmla="*/ 697043 w 4691921"/>
                <a:gd name="connsiteY7" fmla="*/ 854440 h 1821305"/>
                <a:gd name="connsiteX8" fmla="*/ 809469 w 4691921"/>
                <a:gd name="connsiteY8" fmla="*/ 1041817 h 1821305"/>
                <a:gd name="connsiteX9" fmla="*/ 906905 w 4691921"/>
                <a:gd name="connsiteY9" fmla="*/ 352269 h 1821305"/>
                <a:gd name="connsiteX10" fmla="*/ 1019331 w 4691921"/>
                <a:gd name="connsiteY10" fmla="*/ 397240 h 1821305"/>
                <a:gd name="connsiteX11" fmla="*/ 1094282 w 4691921"/>
                <a:gd name="connsiteY11" fmla="*/ 0 h 1821305"/>
                <a:gd name="connsiteX12" fmla="*/ 1214203 w 4691921"/>
                <a:gd name="connsiteY12" fmla="*/ 194872 h 1821305"/>
                <a:gd name="connsiteX13" fmla="*/ 1304144 w 4691921"/>
                <a:gd name="connsiteY13" fmla="*/ 824459 h 1821305"/>
                <a:gd name="connsiteX14" fmla="*/ 1401580 w 4691921"/>
                <a:gd name="connsiteY14" fmla="*/ 1184223 h 1821305"/>
                <a:gd name="connsiteX15" fmla="*/ 1484026 w 4691921"/>
                <a:gd name="connsiteY15" fmla="*/ 727023 h 1821305"/>
                <a:gd name="connsiteX16" fmla="*/ 1581462 w 4691921"/>
                <a:gd name="connsiteY16" fmla="*/ 1184223 h 1821305"/>
                <a:gd name="connsiteX17" fmla="*/ 1686393 w 4691921"/>
                <a:gd name="connsiteY17" fmla="*/ 1109272 h 1821305"/>
                <a:gd name="connsiteX18" fmla="*/ 1768839 w 4691921"/>
                <a:gd name="connsiteY18" fmla="*/ 1596453 h 1821305"/>
                <a:gd name="connsiteX19" fmla="*/ 1873770 w 4691921"/>
                <a:gd name="connsiteY19" fmla="*/ 1506512 h 1821305"/>
                <a:gd name="connsiteX20" fmla="*/ 1986197 w 4691921"/>
                <a:gd name="connsiteY20" fmla="*/ 1716374 h 1821305"/>
                <a:gd name="connsiteX21" fmla="*/ 2083633 w 4691921"/>
                <a:gd name="connsiteY21" fmla="*/ 1746354 h 1821305"/>
                <a:gd name="connsiteX22" fmla="*/ 2188564 w 4691921"/>
                <a:gd name="connsiteY22" fmla="*/ 1656413 h 1821305"/>
                <a:gd name="connsiteX23" fmla="*/ 2338466 w 4691921"/>
                <a:gd name="connsiteY23" fmla="*/ 1716374 h 1821305"/>
                <a:gd name="connsiteX24" fmla="*/ 2465882 w 4691921"/>
                <a:gd name="connsiteY24" fmla="*/ 1678899 h 1821305"/>
                <a:gd name="connsiteX25" fmla="*/ 2570813 w 4691921"/>
                <a:gd name="connsiteY25" fmla="*/ 1821305 h 1821305"/>
                <a:gd name="connsiteX26" fmla="*/ 2690734 w 4691921"/>
                <a:gd name="connsiteY26" fmla="*/ 1753850 h 1821305"/>
                <a:gd name="connsiteX27" fmla="*/ 2743200 w 4691921"/>
                <a:gd name="connsiteY27" fmla="*/ 1821305 h 1821305"/>
                <a:gd name="connsiteX28" fmla="*/ 4002374 w 4691921"/>
                <a:gd name="connsiteY28" fmla="*/ 1821305 h 1821305"/>
                <a:gd name="connsiteX29" fmla="*/ 4107305 w 4691921"/>
                <a:gd name="connsiteY29" fmla="*/ 1761345 h 1821305"/>
                <a:gd name="connsiteX30" fmla="*/ 4219731 w 4691921"/>
                <a:gd name="connsiteY30" fmla="*/ 1821305 h 1821305"/>
                <a:gd name="connsiteX31" fmla="*/ 4384623 w 4691921"/>
                <a:gd name="connsiteY31" fmla="*/ 1746354 h 1821305"/>
                <a:gd name="connsiteX32" fmla="*/ 4497049 w 4691921"/>
                <a:gd name="connsiteY32" fmla="*/ 1821305 h 1821305"/>
                <a:gd name="connsiteX33" fmla="*/ 4557010 w 4691921"/>
                <a:gd name="connsiteY33" fmla="*/ 1746354 h 1821305"/>
                <a:gd name="connsiteX34" fmla="*/ 4691921 w 4691921"/>
                <a:gd name="connsiteY34" fmla="*/ 1558977 h 1821305"/>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4002374 w 4691921"/>
                <a:gd name="connsiteY28" fmla="*/ 1821305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5699"/>
                <a:gd name="connsiteX1" fmla="*/ 232348 w 4691921"/>
                <a:gd name="connsiteY1" fmla="*/ 1521502 h 1955699"/>
                <a:gd name="connsiteX2" fmla="*/ 239843 w 4691921"/>
                <a:gd name="connsiteY2" fmla="*/ 1401581 h 1955699"/>
                <a:gd name="connsiteX3" fmla="*/ 247338 w 4691921"/>
                <a:gd name="connsiteY3" fmla="*/ 1334125 h 1955699"/>
                <a:gd name="connsiteX4" fmla="*/ 337279 w 4691921"/>
                <a:gd name="connsiteY4" fmla="*/ 1011836 h 1955699"/>
                <a:gd name="connsiteX5" fmla="*/ 419725 w 4691921"/>
                <a:gd name="connsiteY5" fmla="*/ 1214204 h 1955699"/>
                <a:gd name="connsiteX6" fmla="*/ 614597 w 4691921"/>
                <a:gd name="connsiteY6" fmla="*/ 487181 h 1955699"/>
                <a:gd name="connsiteX7" fmla="*/ 697043 w 4691921"/>
                <a:gd name="connsiteY7" fmla="*/ 854440 h 1955699"/>
                <a:gd name="connsiteX8" fmla="*/ 809469 w 4691921"/>
                <a:gd name="connsiteY8" fmla="*/ 1041817 h 1955699"/>
                <a:gd name="connsiteX9" fmla="*/ 906905 w 4691921"/>
                <a:gd name="connsiteY9" fmla="*/ 352269 h 1955699"/>
                <a:gd name="connsiteX10" fmla="*/ 1019331 w 4691921"/>
                <a:gd name="connsiteY10" fmla="*/ 397240 h 1955699"/>
                <a:gd name="connsiteX11" fmla="*/ 1094282 w 4691921"/>
                <a:gd name="connsiteY11" fmla="*/ 0 h 1955699"/>
                <a:gd name="connsiteX12" fmla="*/ 1214203 w 4691921"/>
                <a:gd name="connsiteY12" fmla="*/ 194872 h 1955699"/>
                <a:gd name="connsiteX13" fmla="*/ 1304144 w 4691921"/>
                <a:gd name="connsiteY13" fmla="*/ 824459 h 1955699"/>
                <a:gd name="connsiteX14" fmla="*/ 1401580 w 4691921"/>
                <a:gd name="connsiteY14" fmla="*/ 1184223 h 1955699"/>
                <a:gd name="connsiteX15" fmla="*/ 1484026 w 4691921"/>
                <a:gd name="connsiteY15" fmla="*/ 727023 h 1955699"/>
                <a:gd name="connsiteX16" fmla="*/ 1581462 w 4691921"/>
                <a:gd name="connsiteY16" fmla="*/ 1184223 h 1955699"/>
                <a:gd name="connsiteX17" fmla="*/ 1686393 w 4691921"/>
                <a:gd name="connsiteY17" fmla="*/ 1109272 h 1955699"/>
                <a:gd name="connsiteX18" fmla="*/ 1768839 w 4691921"/>
                <a:gd name="connsiteY18" fmla="*/ 1596453 h 1955699"/>
                <a:gd name="connsiteX19" fmla="*/ 1873770 w 4691921"/>
                <a:gd name="connsiteY19" fmla="*/ 1506512 h 1955699"/>
                <a:gd name="connsiteX20" fmla="*/ 1986197 w 4691921"/>
                <a:gd name="connsiteY20" fmla="*/ 1716374 h 1955699"/>
                <a:gd name="connsiteX21" fmla="*/ 2083633 w 4691921"/>
                <a:gd name="connsiteY21" fmla="*/ 1746354 h 1955699"/>
                <a:gd name="connsiteX22" fmla="*/ 2188564 w 4691921"/>
                <a:gd name="connsiteY22" fmla="*/ 1656413 h 1955699"/>
                <a:gd name="connsiteX23" fmla="*/ 2338466 w 4691921"/>
                <a:gd name="connsiteY23" fmla="*/ 1716374 h 1955699"/>
                <a:gd name="connsiteX24" fmla="*/ 2465882 w 4691921"/>
                <a:gd name="connsiteY24" fmla="*/ 1678899 h 1955699"/>
                <a:gd name="connsiteX25" fmla="*/ 2570813 w 4691921"/>
                <a:gd name="connsiteY25" fmla="*/ 1821305 h 1955699"/>
                <a:gd name="connsiteX26" fmla="*/ 2690734 w 4691921"/>
                <a:gd name="connsiteY26" fmla="*/ 1753850 h 1955699"/>
                <a:gd name="connsiteX27" fmla="*/ 2785613 w 4691921"/>
                <a:gd name="connsiteY27" fmla="*/ 1955699 h 1955699"/>
                <a:gd name="connsiteX28" fmla="*/ 3974099 w 4691921"/>
                <a:gd name="connsiteY28" fmla="*/ 1951219 h 1955699"/>
                <a:gd name="connsiteX29" fmla="*/ 4107305 w 4691921"/>
                <a:gd name="connsiteY29" fmla="*/ 1761345 h 1955699"/>
                <a:gd name="connsiteX30" fmla="*/ 4219731 w 4691921"/>
                <a:gd name="connsiteY30" fmla="*/ 1821305 h 1955699"/>
                <a:gd name="connsiteX31" fmla="*/ 4384623 w 4691921"/>
                <a:gd name="connsiteY31" fmla="*/ 1746354 h 1955699"/>
                <a:gd name="connsiteX32" fmla="*/ 4497049 w 4691921"/>
                <a:gd name="connsiteY32" fmla="*/ 1821305 h 1955699"/>
                <a:gd name="connsiteX33" fmla="*/ 4557010 w 4691921"/>
                <a:gd name="connsiteY33" fmla="*/ 1746354 h 1955699"/>
                <a:gd name="connsiteX34" fmla="*/ 4691921 w 4691921"/>
                <a:gd name="connsiteY34" fmla="*/ 1558977 h 1955699"/>
                <a:gd name="connsiteX0" fmla="*/ 0 w 4691921"/>
                <a:gd name="connsiteY0" fmla="*/ 1723869 h 1951219"/>
                <a:gd name="connsiteX1" fmla="*/ 232348 w 4691921"/>
                <a:gd name="connsiteY1" fmla="*/ 1521502 h 1951219"/>
                <a:gd name="connsiteX2" fmla="*/ 239843 w 4691921"/>
                <a:gd name="connsiteY2" fmla="*/ 1401581 h 1951219"/>
                <a:gd name="connsiteX3" fmla="*/ 247338 w 4691921"/>
                <a:gd name="connsiteY3" fmla="*/ 1334125 h 1951219"/>
                <a:gd name="connsiteX4" fmla="*/ 337279 w 4691921"/>
                <a:gd name="connsiteY4" fmla="*/ 1011836 h 1951219"/>
                <a:gd name="connsiteX5" fmla="*/ 419725 w 4691921"/>
                <a:gd name="connsiteY5" fmla="*/ 1214204 h 1951219"/>
                <a:gd name="connsiteX6" fmla="*/ 614597 w 4691921"/>
                <a:gd name="connsiteY6" fmla="*/ 487181 h 1951219"/>
                <a:gd name="connsiteX7" fmla="*/ 697043 w 4691921"/>
                <a:gd name="connsiteY7" fmla="*/ 854440 h 1951219"/>
                <a:gd name="connsiteX8" fmla="*/ 809469 w 4691921"/>
                <a:gd name="connsiteY8" fmla="*/ 1041817 h 1951219"/>
                <a:gd name="connsiteX9" fmla="*/ 906905 w 4691921"/>
                <a:gd name="connsiteY9" fmla="*/ 352269 h 1951219"/>
                <a:gd name="connsiteX10" fmla="*/ 1019331 w 4691921"/>
                <a:gd name="connsiteY10" fmla="*/ 397240 h 1951219"/>
                <a:gd name="connsiteX11" fmla="*/ 1094282 w 4691921"/>
                <a:gd name="connsiteY11" fmla="*/ 0 h 1951219"/>
                <a:gd name="connsiteX12" fmla="*/ 1214203 w 4691921"/>
                <a:gd name="connsiteY12" fmla="*/ 194872 h 1951219"/>
                <a:gd name="connsiteX13" fmla="*/ 1304144 w 4691921"/>
                <a:gd name="connsiteY13" fmla="*/ 824459 h 1951219"/>
                <a:gd name="connsiteX14" fmla="*/ 1401580 w 4691921"/>
                <a:gd name="connsiteY14" fmla="*/ 1184223 h 1951219"/>
                <a:gd name="connsiteX15" fmla="*/ 1484026 w 4691921"/>
                <a:gd name="connsiteY15" fmla="*/ 727023 h 1951219"/>
                <a:gd name="connsiteX16" fmla="*/ 1581462 w 4691921"/>
                <a:gd name="connsiteY16" fmla="*/ 1184223 h 1951219"/>
                <a:gd name="connsiteX17" fmla="*/ 1686393 w 4691921"/>
                <a:gd name="connsiteY17" fmla="*/ 1109272 h 1951219"/>
                <a:gd name="connsiteX18" fmla="*/ 1768839 w 4691921"/>
                <a:gd name="connsiteY18" fmla="*/ 1596453 h 1951219"/>
                <a:gd name="connsiteX19" fmla="*/ 1873770 w 4691921"/>
                <a:gd name="connsiteY19" fmla="*/ 1506512 h 1951219"/>
                <a:gd name="connsiteX20" fmla="*/ 1986197 w 4691921"/>
                <a:gd name="connsiteY20" fmla="*/ 1716374 h 1951219"/>
                <a:gd name="connsiteX21" fmla="*/ 2083633 w 4691921"/>
                <a:gd name="connsiteY21" fmla="*/ 1746354 h 1951219"/>
                <a:gd name="connsiteX22" fmla="*/ 2188564 w 4691921"/>
                <a:gd name="connsiteY22" fmla="*/ 1656413 h 1951219"/>
                <a:gd name="connsiteX23" fmla="*/ 2338466 w 4691921"/>
                <a:gd name="connsiteY23" fmla="*/ 1716374 h 1951219"/>
                <a:gd name="connsiteX24" fmla="*/ 2465882 w 4691921"/>
                <a:gd name="connsiteY24" fmla="*/ 1678899 h 1951219"/>
                <a:gd name="connsiteX25" fmla="*/ 2570813 w 4691921"/>
                <a:gd name="connsiteY25" fmla="*/ 1821305 h 1951219"/>
                <a:gd name="connsiteX26" fmla="*/ 2690734 w 4691921"/>
                <a:gd name="connsiteY26" fmla="*/ 1753850 h 1951219"/>
                <a:gd name="connsiteX27" fmla="*/ 2761940 w 4691921"/>
                <a:gd name="connsiteY27" fmla="*/ 1884439 h 1951219"/>
                <a:gd name="connsiteX28" fmla="*/ 3974099 w 4691921"/>
                <a:gd name="connsiteY28" fmla="*/ 1951219 h 1951219"/>
                <a:gd name="connsiteX29" fmla="*/ 4107305 w 4691921"/>
                <a:gd name="connsiteY29" fmla="*/ 1761345 h 1951219"/>
                <a:gd name="connsiteX30" fmla="*/ 4219731 w 4691921"/>
                <a:gd name="connsiteY30" fmla="*/ 1821305 h 1951219"/>
                <a:gd name="connsiteX31" fmla="*/ 4384623 w 4691921"/>
                <a:gd name="connsiteY31" fmla="*/ 1746354 h 1951219"/>
                <a:gd name="connsiteX32" fmla="*/ 4497049 w 4691921"/>
                <a:gd name="connsiteY32" fmla="*/ 1821305 h 1951219"/>
                <a:gd name="connsiteX33" fmla="*/ 4557010 w 4691921"/>
                <a:gd name="connsiteY33" fmla="*/ 1746354 h 1951219"/>
                <a:gd name="connsiteX34" fmla="*/ 4691921 w 4691921"/>
                <a:gd name="connsiteY34" fmla="*/ 1558977 h 1951219"/>
                <a:gd name="connsiteX0" fmla="*/ 0 w 4691921"/>
                <a:gd name="connsiteY0" fmla="*/ 1723869 h 1891210"/>
                <a:gd name="connsiteX1" fmla="*/ 232348 w 4691921"/>
                <a:gd name="connsiteY1" fmla="*/ 1521502 h 1891210"/>
                <a:gd name="connsiteX2" fmla="*/ 239843 w 4691921"/>
                <a:gd name="connsiteY2" fmla="*/ 1401581 h 1891210"/>
                <a:gd name="connsiteX3" fmla="*/ 247338 w 4691921"/>
                <a:gd name="connsiteY3" fmla="*/ 1334125 h 1891210"/>
                <a:gd name="connsiteX4" fmla="*/ 337279 w 4691921"/>
                <a:gd name="connsiteY4" fmla="*/ 1011836 h 1891210"/>
                <a:gd name="connsiteX5" fmla="*/ 419725 w 4691921"/>
                <a:gd name="connsiteY5" fmla="*/ 1214204 h 1891210"/>
                <a:gd name="connsiteX6" fmla="*/ 614597 w 4691921"/>
                <a:gd name="connsiteY6" fmla="*/ 487181 h 1891210"/>
                <a:gd name="connsiteX7" fmla="*/ 697043 w 4691921"/>
                <a:gd name="connsiteY7" fmla="*/ 854440 h 1891210"/>
                <a:gd name="connsiteX8" fmla="*/ 809469 w 4691921"/>
                <a:gd name="connsiteY8" fmla="*/ 1041817 h 1891210"/>
                <a:gd name="connsiteX9" fmla="*/ 906905 w 4691921"/>
                <a:gd name="connsiteY9" fmla="*/ 352269 h 1891210"/>
                <a:gd name="connsiteX10" fmla="*/ 1019331 w 4691921"/>
                <a:gd name="connsiteY10" fmla="*/ 397240 h 1891210"/>
                <a:gd name="connsiteX11" fmla="*/ 1094282 w 4691921"/>
                <a:gd name="connsiteY11" fmla="*/ 0 h 1891210"/>
                <a:gd name="connsiteX12" fmla="*/ 1214203 w 4691921"/>
                <a:gd name="connsiteY12" fmla="*/ 194872 h 1891210"/>
                <a:gd name="connsiteX13" fmla="*/ 1304144 w 4691921"/>
                <a:gd name="connsiteY13" fmla="*/ 824459 h 1891210"/>
                <a:gd name="connsiteX14" fmla="*/ 1401580 w 4691921"/>
                <a:gd name="connsiteY14" fmla="*/ 1184223 h 1891210"/>
                <a:gd name="connsiteX15" fmla="*/ 1484026 w 4691921"/>
                <a:gd name="connsiteY15" fmla="*/ 727023 h 1891210"/>
                <a:gd name="connsiteX16" fmla="*/ 1581462 w 4691921"/>
                <a:gd name="connsiteY16" fmla="*/ 1184223 h 1891210"/>
                <a:gd name="connsiteX17" fmla="*/ 1686393 w 4691921"/>
                <a:gd name="connsiteY17" fmla="*/ 1109272 h 1891210"/>
                <a:gd name="connsiteX18" fmla="*/ 1768839 w 4691921"/>
                <a:gd name="connsiteY18" fmla="*/ 1596453 h 1891210"/>
                <a:gd name="connsiteX19" fmla="*/ 1873770 w 4691921"/>
                <a:gd name="connsiteY19" fmla="*/ 1506512 h 1891210"/>
                <a:gd name="connsiteX20" fmla="*/ 1986197 w 4691921"/>
                <a:gd name="connsiteY20" fmla="*/ 1716374 h 1891210"/>
                <a:gd name="connsiteX21" fmla="*/ 2083633 w 4691921"/>
                <a:gd name="connsiteY21" fmla="*/ 1746354 h 1891210"/>
                <a:gd name="connsiteX22" fmla="*/ 2188564 w 4691921"/>
                <a:gd name="connsiteY22" fmla="*/ 1656413 h 1891210"/>
                <a:gd name="connsiteX23" fmla="*/ 2338466 w 4691921"/>
                <a:gd name="connsiteY23" fmla="*/ 1716374 h 1891210"/>
                <a:gd name="connsiteX24" fmla="*/ 2465882 w 4691921"/>
                <a:gd name="connsiteY24" fmla="*/ 1678899 h 1891210"/>
                <a:gd name="connsiteX25" fmla="*/ 2570813 w 4691921"/>
                <a:gd name="connsiteY25" fmla="*/ 1821305 h 1891210"/>
                <a:gd name="connsiteX26" fmla="*/ 2690734 w 4691921"/>
                <a:gd name="connsiteY26" fmla="*/ 1753850 h 1891210"/>
                <a:gd name="connsiteX27" fmla="*/ 2761940 w 4691921"/>
                <a:gd name="connsiteY27" fmla="*/ 1884439 h 1891210"/>
                <a:gd name="connsiteX28" fmla="*/ 3985934 w 4691921"/>
                <a:gd name="connsiteY28" fmla="*/ 1891210 h 1891210"/>
                <a:gd name="connsiteX29" fmla="*/ 4107305 w 4691921"/>
                <a:gd name="connsiteY29" fmla="*/ 1761345 h 1891210"/>
                <a:gd name="connsiteX30" fmla="*/ 4219731 w 4691921"/>
                <a:gd name="connsiteY30" fmla="*/ 1821305 h 1891210"/>
                <a:gd name="connsiteX31" fmla="*/ 4384623 w 4691921"/>
                <a:gd name="connsiteY31" fmla="*/ 1746354 h 1891210"/>
                <a:gd name="connsiteX32" fmla="*/ 4497049 w 4691921"/>
                <a:gd name="connsiteY32" fmla="*/ 1821305 h 1891210"/>
                <a:gd name="connsiteX33" fmla="*/ 4557010 w 4691921"/>
                <a:gd name="connsiteY33" fmla="*/ 1746354 h 1891210"/>
                <a:gd name="connsiteX34" fmla="*/ 4691921 w 4691921"/>
                <a:gd name="connsiteY34" fmla="*/ 1558977 h 189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691921" h="1891210">
                  <a:moveTo>
                    <a:pt x="0" y="1723869"/>
                  </a:moveTo>
                  <a:lnTo>
                    <a:pt x="232348" y="1521502"/>
                  </a:lnTo>
                  <a:cubicBezTo>
                    <a:pt x="234846" y="1481528"/>
                    <a:pt x="236217" y="1441468"/>
                    <a:pt x="239843" y="1401581"/>
                  </a:cubicBezTo>
                  <a:cubicBezTo>
                    <a:pt x="248570" y="1305581"/>
                    <a:pt x="247338" y="1393328"/>
                    <a:pt x="247338" y="1334125"/>
                  </a:cubicBezTo>
                  <a:lnTo>
                    <a:pt x="337279" y="1011836"/>
                  </a:lnTo>
                  <a:lnTo>
                    <a:pt x="419725" y="1214204"/>
                  </a:lnTo>
                  <a:lnTo>
                    <a:pt x="614597" y="487181"/>
                  </a:lnTo>
                  <a:lnTo>
                    <a:pt x="697043" y="854440"/>
                  </a:lnTo>
                  <a:lnTo>
                    <a:pt x="809469" y="1041817"/>
                  </a:lnTo>
                  <a:lnTo>
                    <a:pt x="906905" y="352269"/>
                  </a:lnTo>
                  <a:lnTo>
                    <a:pt x="1019331" y="397240"/>
                  </a:lnTo>
                  <a:lnTo>
                    <a:pt x="1094282" y="0"/>
                  </a:lnTo>
                  <a:lnTo>
                    <a:pt x="1214203" y="194872"/>
                  </a:lnTo>
                  <a:lnTo>
                    <a:pt x="1304144" y="824459"/>
                  </a:lnTo>
                  <a:lnTo>
                    <a:pt x="1401580" y="1184223"/>
                  </a:lnTo>
                  <a:lnTo>
                    <a:pt x="1484026" y="727023"/>
                  </a:lnTo>
                  <a:lnTo>
                    <a:pt x="1581462" y="1184223"/>
                  </a:lnTo>
                  <a:lnTo>
                    <a:pt x="1686393" y="1109272"/>
                  </a:lnTo>
                  <a:lnTo>
                    <a:pt x="1768839" y="1596453"/>
                  </a:lnTo>
                  <a:lnTo>
                    <a:pt x="1873770" y="1506512"/>
                  </a:lnTo>
                  <a:lnTo>
                    <a:pt x="1986197" y="1716374"/>
                  </a:lnTo>
                  <a:lnTo>
                    <a:pt x="2083633" y="1746354"/>
                  </a:lnTo>
                  <a:lnTo>
                    <a:pt x="2188564" y="1656413"/>
                  </a:lnTo>
                  <a:lnTo>
                    <a:pt x="2338466" y="1716374"/>
                  </a:lnTo>
                  <a:lnTo>
                    <a:pt x="2465882" y="1678899"/>
                  </a:lnTo>
                  <a:lnTo>
                    <a:pt x="2570813" y="1821305"/>
                  </a:lnTo>
                  <a:lnTo>
                    <a:pt x="2690734" y="1753850"/>
                  </a:lnTo>
                  <a:lnTo>
                    <a:pt x="2761940" y="1884439"/>
                  </a:lnTo>
                  <a:lnTo>
                    <a:pt x="3985934" y="1891210"/>
                  </a:lnTo>
                  <a:lnTo>
                    <a:pt x="4107305" y="1761345"/>
                  </a:lnTo>
                  <a:lnTo>
                    <a:pt x="4219731" y="1821305"/>
                  </a:lnTo>
                  <a:lnTo>
                    <a:pt x="4384623" y="1746354"/>
                  </a:lnTo>
                  <a:lnTo>
                    <a:pt x="4497049" y="1821305"/>
                  </a:lnTo>
                  <a:lnTo>
                    <a:pt x="4557010" y="1746354"/>
                  </a:lnTo>
                  <a:lnTo>
                    <a:pt x="4691921" y="1558977"/>
                  </a:lnTo>
                </a:path>
              </a:pathLst>
            </a:custGeom>
            <a:noFill/>
            <a:ln w="28575" cap="flat" cmpd="sng" algn="ctr">
              <a:solidFill>
                <a:srgbClr val="D83B01"/>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endParaRPr>
            </a:p>
          </p:txBody>
        </p:sp>
        <p:cxnSp>
          <p:nvCxnSpPr>
            <p:cNvPr id="57" name="Straight Connector 56">
              <a:extLst>
                <a:ext uri="{FF2B5EF4-FFF2-40B4-BE49-F238E27FC236}">
                  <a16:creationId xmlns:a16="http://schemas.microsoft.com/office/drawing/2014/main" id="{362E738F-6BD4-4277-8664-0D1371887EA3}"/>
                </a:ext>
              </a:extLst>
            </p:cNvPr>
            <p:cNvCxnSpPr>
              <a:cxnSpLocks/>
            </p:cNvCxnSpPr>
            <p:nvPr/>
          </p:nvCxnSpPr>
          <p:spPr>
            <a:xfrm>
              <a:off x="7333194" y="3565428"/>
              <a:ext cx="4250836" cy="0"/>
            </a:xfrm>
            <a:prstGeom prst="line">
              <a:avLst/>
            </a:prstGeom>
            <a:noFill/>
            <a:ln w="57150" cap="flat" cmpd="sng" algn="ctr">
              <a:solidFill>
                <a:srgbClr val="002050"/>
              </a:solidFill>
              <a:prstDash val="solid"/>
              <a:headEnd type="none" w="lg" len="med"/>
              <a:tailEnd type="none" w="lg" len="med"/>
            </a:ln>
            <a:effectLst/>
          </p:spPr>
        </p:cxnSp>
        <p:sp>
          <p:nvSpPr>
            <p:cNvPr id="58" name="Rounded Rectangle 174">
              <a:extLst>
                <a:ext uri="{FF2B5EF4-FFF2-40B4-BE49-F238E27FC236}">
                  <a16:creationId xmlns:a16="http://schemas.microsoft.com/office/drawing/2014/main" id="{E4080D94-067E-41EC-837F-D63ED40B9DAB}"/>
                </a:ext>
              </a:extLst>
            </p:cNvPr>
            <p:cNvSpPr/>
            <p:nvPr/>
          </p:nvSpPr>
          <p:spPr bwMode="auto">
            <a:xfrm>
              <a:off x="9636330" y="3379497"/>
              <a:ext cx="368743" cy="1550699"/>
            </a:xfrm>
            <a:prstGeom prst="roundRect">
              <a:avLst/>
            </a:prstGeom>
            <a:noFill/>
            <a:ln w="12700" cap="flat" cmpd="sng" algn="ctr">
              <a:solidFill>
                <a:srgbClr val="D83B0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9" name="Rounded Rectangle 175">
              <a:extLst>
                <a:ext uri="{FF2B5EF4-FFF2-40B4-BE49-F238E27FC236}">
                  <a16:creationId xmlns:a16="http://schemas.microsoft.com/office/drawing/2014/main" id="{C3E2CE7F-58BF-4BCF-93FF-0BC04CF689C4}"/>
                </a:ext>
              </a:extLst>
            </p:cNvPr>
            <p:cNvSpPr/>
            <p:nvPr/>
          </p:nvSpPr>
          <p:spPr bwMode="auto">
            <a:xfrm>
              <a:off x="10007073" y="3382779"/>
              <a:ext cx="833972" cy="1550699"/>
            </a:xfrm>
            <a:prstGeom prst="roundRect">
              <a:avLst/>
            </a:prstGeom>
            <a:noFill/>
            <a:ln w="12700" cap="rnd" cmpd="sng" algn="ctr">
              <a:solidFill>
                <a:srgbClr val="D83B01"/>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60" name="Straight Arrow Connector 59">
              <a:extLst>
                <a:ext uri="{FF2B5EF4-FFF2-40B4-BE49-F238E27FC236}">
                  <a16:creationId xmlns:a16="http://schemas.microsoft.com/office/drawing/2014/main" id="{7C5013B6-7828-4605-8AAB-198966C9CF14}"/>
                </a:ext>
              </a:extLst>
            </p:cNvPr>
            <p:cNvCxnSpPr>
              <a:cxnSpLocks/>
            </p:cNvCxnSpPr>
            <p:nvPr/>
          </p:nvCxnSpPr>
          <p:spPr>
            <a:xfrm>
              <a:off x="9818062" y="3002561"/>
              <a:ext cx="0" cy="348473"/>
            </a:xfrm>
            <a:prstGeom prst="straightConnector1">
              <a:avLst/>
            </a:prstGeom>
            <a:noFill/>
            <a:ln w="9525" cap="flat" cmpd="sng" algn="ctr">
              <a:solidFill>
                <a:srgbClr val="505050"/>
              </a:solidFill>
              <a:prstDash val="solid"/>
              <a:headEnd type="none"/>
              <a:tailEnd type="triangle"/>
            </a:ln>
            <a:effectLst/>
          </p:spPr>
        </p:cxnSp>
        <p:cxnSp>
          <p:nvCxnSpPr>
            <p:cNvPr id="61" name="Straight Arrow Connector 60">
              <a:extLst>
                <a:ext uri="{FF2B5EF4-FFF2-40B4-BE49-F238E27FC236}">
                  <a16:creationId xmlns:a16="http://schemas.microsoft.com/office/drawing/2014/main" id="{EF550924-D5C4-403C-A6A6-B9425AEB6AD2}"/>
                </a:ext>
              </a:extLst>
            </p:cNvPr>
            <p:cNvCxnSpPr>
              <a:cxnSpLocks/>
            </p:cNvCxnSpPr>
            <p:nvPr/>
          </p:nvCxnSpPr>
          <p:spPr>
            <a:xfrm>
              <a:off x="10424059" y="3002561"/>
              <a:ext cx="0" cy="348473"/>
            </a:xfrm>
            <a:prstGeom prst="straightConnector1">
              <a:avLst/>
            </a:prstGeom>
            <a:noFill/>
            <a:ln w="9525" cap="flat" cmpd="sng" algn="ctr">
              <a:solidFill>
                <a:srgbClr val="505050"/>
              </a:solidFill>
              <a:prstDash val="solid"/>
              <a:headEnd type="none"/>
              <a:tailEnd type="triangle"/>
            </a:ln>
            <a:effectLst/>
          </p:spPr>
        </p:cxnSp>
      </p:grpSp>
      <p:graphicFrame>
        <p:nvGraphicFramePr>
          <p:cNvPr id="87" name="Diagram 86">
            <a:extLst>
              <a:ext uri="{FF2B5EF4-FFF2-40B4-BE49-F238E27FC236}">
                <a16:creationId xmlns:a16="http://schemas.microsoft.com/office/drawing/2014/main" id="{9792F5B8-D284-4E2F-8E89-9BB7C415AF50}"/>
              </a:ext>
            </a:extLst>
          </p:cNvPr>
          <p:cNvGraphicFramePr/>
          <p:nvPr>
            <p:extLst>
              <p:ext uri="{D42A27DB-BD31-4B8C-83A1-F6EECF244321}">
                <p14:modId xmlns:p14="http://schemas.microsoft.com/office/powerpoint/2010/main" val="1027929031"/>
              </p:ext>
            </p:extLst>
          </p:nvPr>
        </p:nvGraphicFramePr>
        <p:xfrm>
          <a:off x="655635" y="1235349"/>
          <a:ext cx="5908269" cy="50390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5335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a:t>Lesson 2: How to create Azure SQL Database</a:t>
            </a:r>
          </a:p>
        </p:txBody>
      </p:sp>
    </p:spTree>
    <p:extLst>
      <p:ext uri="{BB962C8B-B14F-4D97-AF65-F5344CB8AC3E}">
        <p14:creationId xmlns:p14="http://schemas.microsoft.com/office/powerpoint/2010/main" val="2894004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which prerequisites are needed before you can create an Azure SQL Database.</a:t>
            </a:r>
          </a:p>
          <a:p>
            <a:r>
              <a:rPr lang="en-US"/>
              <a:t>Create your first Azure SQL Database.</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zure SQL Database Server is not a machine...</a:t>
            </a:r>
            <a:br>
              <a:rPr lang="en-US" dirty="0"/>
            </a:br>
            <a:endParaRPr lang="en-US" dirty="0"/>
          </a:p>
        </p:txBody>
      </p:sp>
      <p:sp>
        <p:nvSpPr>
          <p:cNvPr id="13" name="Chevron 5">
            <a:extLst>
              <a:ext uri="{FF2B5EF4-FFF2-40B4-BE49-F238E27FC236}">
                <a16:creationId xmlns:a16="http://schemas.microsoft.com/office/drawing/2014/main" id="{7E1F657D-671F-46B0-954E-21F31BE1E988}"/>
              </a:ext>
            </a:extLst>
          </p:cNvPr>
          <p:cNvSpPr/>
          <p:nvPr/>
        </p:nvSpPr>
        <p:spPr bwMode="auto">
          <a:xfrm>
            <a:off x="5320419" y="1652952"/>
            <a:ext cx="1470243" cy="1454063"/>
          </a:xfrm>
          <a:prstGeom prst="chevron">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 name="Chevron 6">
            <a:extLst>
              <a:ext uri="{FF2B5EF4-FFF2-40B4-BE49-F238E27FC236}">
                <a16:creationId xmlns:a16="http://schemas.microsoft.com/office/drawing/2014/main" id="{2624B2E8-8694-4C65-AD93-3BC649C3965F}"/>
              </a:ext>
            </a:extLst>
          </p:cNvPr>
          <p:cNvSpPr/>
          <p:nvPr/>
        </p:nvSpPr>
        <p:spPr bwMode="auto">
          <a:xfrm>
            <a:off x="5340638" y="3549593"/>
            <a:ext cx="1470243" cy="1454063"/>
          </a:xfrm>
          <a:prstGeom prst="chevron">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61C92396-E779-4B67-928B-BF6248F77FE0}"/>
              </a:ext>
            </a:extLst>
          </p:cNvPr>
          <p:cNvSpPr/>
          <p:nvPr/>
        </p:nvSpPr>
        <p:spPr bwMode="auto">
          <a:xfrm>
            <a:off x="3124200" y="1424443"/>
            <a:ext cx="1837805" cy="1817580"/>
          </a:xfrm>
          <a:prstGeom prst="rect">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SQL Server</a:t>
            </a:r>
          </a:p>
        </p:txBody>
      </p:sp>
      <p:sp>
        <p:nvSpPr>
          <p:cNvPr id="16" name="Rectangle 15">
            <a:extLst>
              <a:ext uri="{FF2B5EF4-FFF2-40B4-BE49-F238E27FC236}">
                <a16:creationId xmlns:a16="http://schemas.microsoft.com/office/drawing/2014/main" id="{18B63CD2-A1E5-46CB-B25D-927C2632553B}"/>
              </a:ext>
            </a:extLst>
          </p:cNvPr>
          <p:cNvSpPr/>
          <p:nvPr/>
        </p:nvSpPr>
        <p:spPr bwMode="auto">
          <a:xfrm>
            <a:off x="7224651" y="1424443"/>
            <a:ext cx="1837805" cy="1817580"/>
          </a:xfrm>
          <a:prstGeom prst="rect">
            <a:avLst/>
          </a:prstGeom>
          <a:solidFill>
            <a:srgbClr val="0078D7"/>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 Machine</a:t>
            </a:r>
          </a:p>
        </p:txBody>
      </p:sp>
      <p:sp>
        <p:nvSpPr>
          <p:cNvPr id="17" name="Rectangle 16">
            <a:extLst>
              <a:ext uri="{FF2B5EF4-FFF2-40B4-BE49-F238E27FC236}">
                <a16:creationId xmlns:a16="http://schemas.microsoft.com/office/drawing/2014/main" id="{C6CDD43F-350B-47AC-AF36-B761B62925E1}"/>
              </a:ext>
            </a:extLst>
          </p:cNvPr>
          <p:cNvSpPr/>
          <p:nvPr/>
        </p:nvSpPr>
        <p:spPr bwMode="auto">
          <a:xfrm>
            <a:off x="3111506" y="3435338"/>
            <a:ext cx="1837805" cy="1817580"/>
          </a:xfrm>
          <a:prstGeom prst="rect">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SQL Database Server</a:t>
            </a:r>
          </a:p>
        </p:txBody>
      </p:sp>
      <p:sp>
        <p:nvSpPr>
          <p:cNvPr id="18" name="Rectangle 17">
            <a:extLst>
              <a:ext uri="{FF2B5EF4-FFF2-40B4-BE49-F238E27FC236}">
                <a16:creationId xmlns:a16="http://schemas.microsoft.com/office/drawing/2014/main" id="{41EF61EC-6A4E-449B-B0A8-09C1749FDA3F}"/>
              </a:ext>
            </a:extLst>
          </p:cNvPr>
          <p:cNvSpPr/>
          <p:nvPr/>
        </p:nvSpPr>
        <p:spPr bwMode="auto">
          <a:xfrm>
            <a:off x="7237346" y="3460729"/>
            <a:ext cx="1837805" cy="1817580"/>
          </a:xfrm>
          <a:prstGeom prst="rect">
            <a:avLst/>
          </a:prstGeom>
          <a:solidFill>
            <a:srgbClr val="002050"/>
          </a:solidFill>
          <a:ln w="17145" cap="flat" cmpd="sng" algn="ctr">
            <a:noFill/>
            <a:prstDash val="solid"/>
            <a:headEnd type="none" w="med" len="med"/>
            <a:tailEnd type="none" w="med" len="med"/>
          </a:ln>
          <a:effectLst/>
        </p:spPr>
        <p:txBody>
          <a:bodyPr vert="horz" wrap="square" lIns="91399" tIns="45700" rIns="91399" bIns="45700" numCol="1" rtlCol="0" anchor="ctr" anchorCtr="0" compatLnSpc="1">
            <a:prstTxWarp prst="textNoShape">
              <a:avLst/>
            </a:prstTxWarp>
          </a:bodyPr>
          <a:lstStyle/>
          <a:p>
            <a:pPr marL="0" marR="0" lvl="0" indent="0" algn="ctr" defTabSz="913649"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TDS* Endpoint</a:t>
            </a:r>
          </a:p>
        </p:txBody>
      </p:sp>
      <p:sp>
        <p:nvSpPr>
          <p:cNvPr id="19" name="TextBox 18">
            <a:extLst>
              <a:ext uri="{FF2B5EF4-FFF2-40B4-BE49-F238E27FC236}">
                <a16:creationId xmlns:a16="http://schemas.microsoft.com/office/drawing/2014/main" id="{7F7818A5-BA8A-4AAC-B80A-4A04351C1C7D}"/>
              </a:ext>
            </a:extLst>
          </p:cNvPr>
          <p:cNvSpPr txBox="1"/>
          <p:nvPr/>
        </p:nvSpPr>
        <p:spPr>
          <a:xfrm>
            <a:off x="7722904" y="5662073"/>
            <a:ext cx="4592641" cy="511256"/>
          </a:xfrm>
          <a:prstGeom prst="rect">
            <a:avLst/>
          </a:prstGeom>
          <a:noFill/>
        </p:spPr>
        <p:txBody>
          <a:bodyPr wrap="square" lIns="179285" tIns="143428" rIns="179285" bIns="143428" rtlCol="0" anchor="t">
            <a:spAutoFit/>
          </a:bodyPr>
          <a:lstStyle/>
          <a:p>
            <a:pPr marL="0" marR="0" lvl="0" indent="0" defTabSz="932742"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002050">
                    <a:lumMod val="75000"/>
                    <a:lumOff val="25000"/>
                  </a:srgbClr>
                </a:solidFill>
                <a:effectLst/>
                <a:uLnTx/>
                <a:uFillTx/>
              </a:rPr>
              <a:t>*TDS = Tabular Data Stream</a:t>
            </a:r>
            <a:endParaRPr kumimoji="0" lang="en-US" sz="1600" b="0" i="0" u="none" strike="noStrike" kern="0" cap="none" spc="0" normalizeH="0" baseline="0" noProof="0" dirty="0">
              <a:ln>
                <a:noFill/>
              </a:ln>
              <a:solidFill>
                <a:srgbClr val="002050">
                  <a:lumMod val="75000"/>
                  <a:lumOff val="25000"/>
                </a:srgbClr>
              </a:solidFill>
              <a:effectLst/>
              <a:uLnTx/>
              <a:uFillTx/>
              <a:cs typeface="Segoe UI"/>
            </a:endParaRPr>
          </a:p>
        </p:txBody>
      </p:sp>
    </p:spTree>
    <p:extLst>
      <p:ext uri="{BB962C8B-B14F-4D97-AF65-F5344CB8AC3E}">
        <p14:creationId xmlns:p14="http://schemas.microsoft.com/office/powerpoint/2010/main" val="42217838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erver Provisioning</a:t>
            </a:r>
          </a:p>
        </p:txBody>
      </p:sp>
      <p:graphicFrame>
        <p:nvGraphicFramePr>
          <p:cNvPr id="6" name="Content Placeholder 5">
            <a:extLst>
              <a:ext uri="{FF2B5EF4-FFF2-40B4-BE49-F238E27FC236}">
                <a16:creationId xmlns:a16="http://schemas.microsoft.com/office/drawing/2014/main" id="{B0CC26BA-DFB8-43D6-B002-070DD5FC78D2}"/>
              </a:ext>
            </a:extLst>
          </p:cNvPr>
          <p:cNvGraphicFramePr>
            <a:graphicFrameLocks noGrp="1"/>
          </p:cNvGraphicFramePr>
          <p:nvPr>
            <p:ph sz="quarter" idx="13"/>
            <p:extLst>
              <p:ext uri="{D42A27DB-BD31-4B8C-83A1-F6EECF244321}">
                <p14:modId xmlns:p14="http://schemas.microsoft.com/office/powerpoint/2010/main" val="1717447407"/>
              </p:ext>
            </p:extLst>
          </p:nvPr>
        </p:nvGraphicFramePr>
        <p:xfrm>
          <a:off x="445770" y="1019175"/>
          <a:ext cx="601218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B0FDD41E-EBC6-BB08-E28D-5553761A014C}"/>
              </a:ext>
            </a:extLst>
          </p:cNvPr>
          <p:cNvPicPr>
            <a:picLocks noChangeAspect="1"/>
          </p:cNvPicPr>
          <p:nvPr/>
        </p:nvPicPr>
        <p:blipFill>
          <a:blip r:embed="rId8"/>
          <a:stretch>
            <a:fillRect/>
          </a:stretch>
        </p:blipFill>
        <p:spPr>
          <a:xfrm>
            <a:off x="6804994" y="664590"/>
            <a:ext cx="5097203" cy="557919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76151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p:txBody>
          <a:bodyPr/>
          <a:lstStyle/>
          <a:p>
            <a:r>
              <a:rPr lang="en-US" dirty="0"/>
              <a:t>Lesson 1: Basic concepts of Azure SQL</a:t>
            </a:r>
          </a:p>
          <a:p>
            <a:r>
              <a:rPr lang="en-US" dirty="0"/>
              <a:t>Lesson 2: How to create Azure SQL Database</a:t>
            </a:r>
          </a:p>
          <a:p>
            <a:endParaRPr lang="en-US"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Database Firewall</a:t>
            </a:r>
          </a:p>
        </p:txBody>
      </p:sp>
      <p:pic>
        <p:nvPicPr>
          <p:cNvPr id="5" name="Picture 4">
            <a:extLst>
              <a:ext uri="{FF2B5EF4-FFF2-40B4-BE49-F238E27FC236}">
                <a16:creationId xmlns:a16="http://schemas.microsoft.com/office/drawing/2014/main" id="{95C89BAA-9700-4A56-BF3F-1F54807687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6962" y="1040322"/>
            <a:ext cx="4440514" cy="5227636"/>
          </a:xfrm>
          <a:prstGeom prst="rect">
            <a:avLst/>
          </a:prstGeom>
        </p:spPr>
      </p:pic>
      <p:grpSp>
        <p:nvGrpSpPr>
          <p:cNvPr id="6" name="Group 5">
            <a:extLst>
              <a:ext uri="{FF2B5EF4-FFF2-40B4-BE49-F238E27FC236}">
                <a16:creationId xmlns:a16="http://schemas.microsoft.com/office/drawing/2014/main" id="{FEB1A156-ED79-4838-A564-8DC6D6BE9B89}"/>
              </a:ext>
            </a:extLst>
          </p:cNvPr>
          <p:cNvGrpSpPr/>
          <p:nvPr/>
        </p:nvGrpSpPr>
        <p:grpSpPr>
          <a:xfrm>
            <a:off x="6296882" y="1621279"/>
            <a:ext cx="5239481" cy="4318215"/>
            <a:chOff x="6007957" y="1212850"/>
            <a:chExt cx="5239481" cy="4493936"/>
          </a:xfrm>
        </p:grpSpPr>
        <p:sp>
          <p:nvSpPr>
            <p:cNvPr id="7" name="Isosceles Triangle 6">
              <a:extLst>
                <a:ext uri="{FF2B5EF4-FFF2-40B4-BE49-F238E27FC236}">
                  <a16:creationId xmlns:a16="http://schemas.microsoft.com/office/drawing/2014/main" id="{697BB698-8A02-4A95-8359-2F89451BD2E0}"/>
                </a:ext>
              </a:extLst>
            </p:cNvPr>
            <p:cNvSpPr/>
            <p:nvPr/>
          </p:nvSpPr>
          <p:spPr>
            <a:xfrm>
              <a:off x="6007957" y="1212850"/>
              <a:ext cx="4493936" cy="4493936"/>
            </a:xfrm>
            <a:prstGeom prst="triangle">
              <a:avLst/>
            </a:prstGeom>
            <a:solidFill>
              <a:srgbClr val="243A5E"/>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2400">
                <a:latin typeface="Segoe UI" panose="020B0502040204020203" pitchFamily="34" charset="0"/>
              </a:endParaRPr>
            </a:p>
          </p:txBody>
        </p:sp>
        <p:sp>
          <p:nvSpPr>
            <p:cNvPr id="8" name="Rectangle 7">
              <a:extLst>
                <a:ext uri="{FF2B5EF4-FFF2-40B4-BE49-F238E27FC236}">
                  <a16:creationId xmlns:a16="http://schemas.microsoft.com/office/drawing/2014/main" id="{6480B1C8-EB2A-497D-9DE9-1C444812EDFA}"/>
                </a:ext>
              </a:extLst>
            </p:cNvPr>
            <p:cNvSpPr/>
            <p:nvPr/>
          </p:nvSpPr>
          <p:spPr bwMode="auto">
            <a:xfrm>
              <a:off x="8040215" y="1930928"/>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IP Address-based access control for SQL Database</a:t>
              </a:r>
              <a:endParaRPr lang="nl-BE" sz="2000">
                <a:solidFill>
                  <a:schemeClr val="tx1">
                    <a:lumMod val="50000"/>
                  </a:schemeClr>
                </a:solidFill>
                <a:latin typeface="Segoe UI" panose="020B0502040204020203" pitchFamily="34" charset="0"/>
              </a:endParaRPr>
            </a:p>
          </p:txBody>
        </p:sp>
        <p:sp>
          <p:nvSpPr>
            <p:cNvPr id="9" name="Rectangle 8">
              <a:extLst>
                <a:ext uri="{FF2B5EF4-FFF2-40B4-BE49-F238E27FC236}">
                  <a16:creationId xmlns:a16="http://schemas.microsoft.com/office/drawing/2014/main" id="{E1D581F7-650B-4A10-B2BE-2A7CF4E8B434}"/>
                </a:ext>
              </a:extLst>
            </p:cNvPr>
            <p:cNvSpPr/>
            <p:nvPr/>
          </p:nvSpPr>
          <p:spPr bwMode="auto">
            <a:xfrm>
              <a:off x="8040215" y="3097975"/>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Rules at the server and/or database level</a:t>
              </a:r>
              <a:endParaRPr lang="nl-BE" sz="2000">
                <a:solidFill>
                  <a:schemeClr val="tx1">
                    <a:lumMod val="50000"/>
                  </a:schemeClr>
                </a:solidFill>
                <a:latin typeface="Segoe UI" panose="020B0502040204020203" pitchFamily="34" charset="0"/>
              </a:endParaRPr>
            </a:p>
          </p:txBody>
        </p:sp>
        <p:sp>
          <p:nvSpPr>
            <p:cNvPr id="10" name="Rectangle 9">
              <a:extLst>
                <a:ext uri="{FF2B5EF4-FFF2-40B4-BE49-F238E27FC236}">
                  <a16:creationId xmlns:a16="http://schemas.microsoft.com/office/drawing/2014/main" id="{59474DAC-E394-408D-A3B2-78E15D318A30}"/>
                </a:ext>
              </a:extLst>
            </p:cNvPr>
            <p:cNvSpPr/>
            <p:nvPr/>
          </p:nvSpPr>
          <p:spPr bwMode="auto">
            <a:xfrm>
              <a:off x="8033332" y="4265022"/>
              <a:ext cx="3207223" cy="917575"/>
            </a:xfrm>
            <a:prstGeom prst="rect">
              <a:avLst/>
            </a:prstGeom>
            <a:solidFill>
              <a:schemeClr val="bg1"/>
            </a:solid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00100">
                <a:lnSpc>
                  <a:spcPct val="90000"/>
                </a:lnSpc>
                <a:spcBef>
                  <a:spcPct val="0"/>
                </a:spcBef>
                <a:spcAft>
                  <a:spcPct val="35000"/>
                </a:spcAft>
              </a:pPr>
              <a:r>
                <a:rPr lang="en-US" sz="2000">
                  <a:solidFill>
                    <a:schemeClr val="tx1">
                      <a:lumMod val="50000"/>
                    </a:schemeClr>
                  </a:solidFill>
                  <a:latin typeface="Segoe UI" panose="020B0502040204020203" pitchFamily="34" charset="0"/>
                </a:rPr>
                <a:t>No IP authorized by default, not even Azure itself</a:t>
              </a:r>
              <a:endParaRPr lang="nl-BE" sz="2000">
                <a:solidFill>
                  <a:schemeClr val="tx1">
                    <a:lumMod val="50000"/>
                  </a:schemeClr>
                </a:solidFill>
                <a:latin typeface="Segoe UI" panose="020B0502040204020203" pitchFamily="34" charset="0"/>
              </a:endParaRPr>
            </a:p>
          </p:txBody>
        </p:sp>
      </p:grpSp>
    </p:spTree>
    <p:extLst>
      <p:ext uri="{BB962C8B-B14F-4D97-AF65-F5344CB8AC3E}">
        <p14:creationId xmlns:p14="http://schemas.microsoft.com/office/powerpoint/2010/main" val="30498632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Create your first Azure SQL Database</a:t>
            </a:r>
          </a:p>
          <a:p>
            <a:pPr marL="571500" lvl="1" indent="-342900">
              <a:buFont typeface="Arial" panose="020B0604020202020204" pitchFamily="34" charset="0"/>
              <a:buChar char="•"/>
            </a:pPr>
            <a:r>
              <a:rPr lang="en-US"/>
              <a:t>Create a new server, configure the firewall rules and create an Azure SQL Database (DTU based).</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839060334"/>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914156018"/>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Management Studio</a:t>
            </a:r>
          </a:p>
        </p:txBody>
      </p:sp>
      <p:graphicFrame>
        <p:nvGraphicFramePr>
          <p:cNvPr id="5" name="Content Placeholder 4">
            <a:extLst>
              <a:ext uri="{FF2B5EF4-FFF2-40B4-BE49-F238E27FC236}">
                <a16:creationId xmlns:a16="http://schemas.microsoft.com/office/drawing/2014/main" id="{44F13A54-B944-40A1-8689-3446C1EFC78F}"/>
              </a:ext>
            </a:extLst>
          </p:cNvPr>
          <p:cNvGraphicFramePr>
            <a:graphicFrameLocks noGrp="1"/>
          </p:cNvGraphicFramePr>
          <p:nvPr>
            <p:ph sz="quarter" idx="13"/>
          </p:nvPr>
        </p:nvGraphicFramePr>
        <p:xfrm>
          <a:off x="655638" y="1408114"/>
          <a:ext cx="5211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6B25E94A-60E1-4DC8-BCE5-92E255C1B6F8}"/>
              </a:ext>
            </a:extLst>
          </p:cNvPr>
          <p:cNvPicPr>
            <a:picLocks noChangeAspect="1"/>
          </p:cNvPicPr>
          <p:nvPr/>
        </p:nvPicPr>
        <p:blipFill>
          <a:blip r:embed="rId8"/>
          <a:stretch>
            <a:fillRect/>
          </a:stretch>
        </p:blipFill>
        <p:spPr>
          <a:xfrm>
            <a:off x="6318071" y="1981200"/>
            <a:ext cx="5440362" cy="3452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829975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ata Tools</a:t>
            </a:r>
          </a:p>
        </p:txBody>
      </p:sp>
      <p:pic>
        <p:nvPicPr>
          <p:cNvPr id="5" name="Picture 4">
            <a:extLst>
              <a:ext uri="{FF2B5EF4-FFF2-40B4-BE49-F238E27FC236}">
                <a16:creationId xmlns:a16="http://schemas.microsoft.com/office/drawing/2014/main" id="{AEB8F5DA-4F4A-4228-B0DD-E6DC2E88E4EB}"/>
              </a:ext>
            </a:extLst>
          </p:cNvPr>
          <p:cNvPicPr>
            <a:picLocks noChangeAspect="1"/>
          </p:cNvPicPr>
          <p:nvPr/>
        </p:nvPicPr>
        <p:blipFill>
          <a:blip r:embed="rId3"/>
          <a:stretch>
            <a:fillRect/>
          </a:stretch>
        </p:blipFill>
        <p:spPr>
          <a:xfrm>
            <a:off x="7924800" y="1658717"/>
            <a:ext cx="3429000" cy="4150165"/>
          </a:xfrm>
          <a:prstGeom prst="rect">
            <a:avLst/>
          </a:prstGeom>
          <a:ln>
            <a:noFill/>
          </a:ln>
          <a:effectLst>
            <a:outerShdw blurRad="190500" algn="tl" rotWithShape="0">
              <a:srgbClr val="000000">
                <a:alpha val="70000"/>
              </a:srgbClr>
            </a:outerShdw>
          </a:effectLst>
        </p:spPr>
      </p:pic>
      <p:graphicFrame>
        <p:nvGraphicFramePr>
          <p:cNvPr id="8" name="Content Placeholder 7">
            <a:extLst>
              <a:ext uri="{FF2B5EF4-FFF2-40B4-BE49-F238E27FC236}">
                <a16:creationId xmlns:a16="http://schemas.microsoft.com/office/drawing/2014/main" id="{BC7EFFA1-586E-4008-A8CE-D83226DF0B18}"/>
              </a:ext>
            </a:extLst>
          </p:cNvPr>
          <p:cNvGraphicFramePr>
            <a:graphicFrameLocks noGrp="1"/>
          </p:cNvGraphicFramePr>
          <p:nvPr>
            <p:ph sz="quarter" idx="13"/>
          </p:nvPr>
        </p:nvGraphicFramePr>
        <p:xfrm>
          <a:off x="655639" y="1408113"/>
          <a:ext cx="6735761" cy="44007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181754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zure Data Studio</a:t>
            </a:r>
          </a:p>
        </p:txBody>
      </p:sp>
      <p:graphicFrame>
        <p:nvGraphicFramePr>
          <p:cNvPr id="6" name="Content Placeholder 5">
            <a:extLst>
              <a:ext uri="{FF2B5EF4-FFF2-40B4-BE49-F238E27FC236}">
                <a16:creationId xmlns:a16="http://schemas.microsoft.com/office/drawing/2014/main" id="{6609E0FD-FE6D-4ABA-833A-E4051D589540}"/>
              </a:ext>
            </a:extLst>
          </p:cNvPr>
          <p:cNvGraphicFramePr>
            <a:graphicFrameLocks noGrp="1"/>
          </p:cNvGraphicFramePr>
          <p:nvPr>
            <p:ph sz="quarter" idx="13"/>
          </p:nvPr>
        </p:nvGraphicFramePr>
        <p:xfrm>
          <a:off x="655638" y="1235376"/>
          <a:ext cx="4525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44153B42-3840-467A-84A5-C6EE8935317C}"/>
              </a:ext>
            </a:extLst>
          </p:cNvPr>
          <p:cNvPicPr>
            <a:picLocks noChangeAspect="1"/>
          </p:cNvPicPr>
          <p:nvPr/>
        </p:nvPicPr>
        <p:blipFill>
          <a:blip r:embed="rId8"/>
          <a:stretch>
            <a:fillRect/>
          </a:stretch>
        </p:blipFill>
        <p:spPr>
          <a:xfrm>
            <a:off x="6091646" y="1136936"/>
            <a:ext cx="5570779" cy="501652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6956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zure Portal</a:t>
            </a:r>
          </a:p>
        </p:txBody>
      </p:sp>
      <p:pic>
        <p:nvPicPr>
          <p:cNvPr id="5" name="Content Placeholder 4">
            <a:extLst>
              <a:ext uri="{FF2B5EF4-FFF2-40B4-BE49-F238E27FC236}">
                <a16:creationId xmlns:a16="http://schemas.microsoft.com/office/drawing/2014/main" id="{BC81ADBB-6FCF-4102-A410-99CE76BDC82C}"/>
              </a:ext>
            </a:extLst>
          </p:cNvPr>
          <p:cNvPicPr>
            <a:picLocks noGrp="1" noChangeAspect="1"/>
          </p:cNvPicPr>
          <p:nvPr>
            <p:ph sz="quarter" idx="13"/>
          </p:nvPr>
        </p:nvPicPr>
        <p:blipFill>
          <a:blip r:embed="rId3"/>
          <a:stretch>
            <a:fillRect/>
          </a:stretch>
        </p:blipFill>
        <p:spPr>
          <a:xfrm>
            <a:off x="1740760" y="1219200"/>
            <a:ext cx="8710480"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929733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dirty="0"/>
              <a:t>Lesson 1: Basic concepts of Azure SQL</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basic concept and architecture</a:t>
            </a:r>
          </a:p>
          <a:p>
            <a:r>
              <a:rPr lang="en-US" dirty="0"/>
              <a:t>Describe the difference between the purchase models.</a:t>
            </a:r>
          </a:p>
          <a:p>
            <a:r>
              <a:rPr lang="en-US" dirty="0"/>
              <a:t>Describe the service tiers compute and hardware generation of the Azure SQL Database.</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290857"/>
            <a:ext cx="10880725" cy="461665"/>
          </a:xfrm>
        </p:spPr>
        <p:txBody>
          <a:bodyPr/>
          <a:lstStyle/>
          <a:p>
            <a:r>
              <a:rPr lang="en-US"/>
              <a:t>What is Microsoft Azure?</a:t>
            </a:r>
          </a:p>
        </p:txBody>
      </p:sp>
      <p:graphicFrame>
        <p:nvGraphicFramePr>
          <p:cNvPr id="6" name="Content Placeholder 5" descr="Microsoft Azure is Microsoft’s public cloud computing platform&#10;Over 140 countries across 56 regions worldwide&#10;Windows and Linux&#10;Scale globally&#10; Reach more locations, faster, with the performance and reliability of a vast global infrastructure.&#10;Safeguard data&#10; Rely on industry-leading data security in the region and across our network.&#10;Promote sustainability&#10; Help build a clean-energy future and accelerate progress toward your sustainability goals.&#10;https://azure.microsoft.com/en-us/global-infrastructure/regions/&#10;">
            <a:extLst>
              <a:ext uri="{FF2B5EF4-FFF2-40B4-BE49-F238E27FC236}">
                <a16:creationId xmlns:a16="http://schemas.microsoft.com/office/drawing/2014/main" id="{04DE0AED-3D4D-4F08-82DC-72CF55A44BB2}"/>
              </a:ext>
            </a:extLst>
          </p:cNvPr>
          <p:cNvGraphicFramePr>
            <a:graphicFrameLocks noGrp="1"/>
          </p:cNvGraphicFramePr>
          <p:nvPr>
            <p:ph sz="quarter" idx="13"/>
            <p:extLst>
              <p:ext uri="{D42A27DB-BD31-4B8C-83A1-F6EECF244321}">
                <p14:modId xmlns:p14="http://schemas.microsoft.com/office/powerpoint/2010/main" val="2931185770"/>
              </p:ext>
            </p:extLst>
          </p:nvPr>
        </p:nvGraphicFramePr>
        <p:xfrm>
          <a:off x="655638" y="963038"/>
          <a:ext cx="10880726" cy="55058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4167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What is Microsoft Azure?</a:t>
            </a:r>
          </a:p>
        </p:txBody>
      </p:sp>
      <p:sp>
        <p:nvSpPr>
          <p:cNvPr id="9" name="TextBox 8">
            <a:extLst>
              <a:ext uri="{FF2B5EF4-FFF2-40B4-BE49-F238E27FC236}">
                <a16:creationId xmlns:a16="http://schemas.microsoft.com/office/drawing/2014/main" id="{5A6558DD-258E-4F70-8928-BE3F11FDCE82}"/>
              </a:ext>
            </a:extLst>
          </p:cNvPr>
          <p:cNvSpPr txBox="1"/>
          <p:nvPr/>
        </p:nvSpPr>
        <p:spPr>
          <a:xfrm>
            <a:off x="655637" y="786383"/>
            <a:ext cx="10880725" cy="461665"/>
          </a:xfrm>
          <a:prstGeom prst="rect">
            <a:avLst/>
          </a:prstGeom>
        </p:spPr>
        <p:txBody>
          <a:bodyPr vert="horz" lIns="0" tIns="0" rIns="0" bIns="0" rtlCol="0">
            <a:normAutofit/>
          </a:bodyPr>
          <a:lstStyle/>
          <a:p>
            <a:pPr marL="0" marR="0" lvl="0" indent="0" algn="l" defTabSz="932688" rtl="0" eaLnBrk="1" fontAlgn="auto" latinLnBrk="0" hangingPunct="1">
              <a:lnSpc>
                <a:spcPct val="100000"/>
              </a:lnSpc>
              <a:spcBef>
                <a:spcPts val="672"/>
              </a:spcBef>
              <a:spcAft>
                <a:spcPts val="0"/>
              </a:spcAft>
              <a:buClr>
                <a:srgbClr val="000000"/>
              </a:buClr>
              <a:buSzPct val="90000"/>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https://azure.microsoft.com/en-us/global-infrastructure/regions/</a:t>
            </a:r>
            <a:endParaRPr kumimoji="0" lang="en-US" sz="20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pic>
        <p:nvPicPr>
          <p:cNvPr id="1026" name="Picture 2" descr="See the source image">
            <a:extLst>
              <a:ext uri="{FF2B5EF4-FFF2-40B4-BE49-F238E27FC236}">
                <a16:creationId xmlns:a16="http://schemas.microsoft.com/office/drawing/2014/main" id="{65F53DE1-5F88-143B-4C8E-AA020EB1899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67296" y="1681420"/>
            <a:ext cx="11657407" cy="4225810"/>
          </a:xfrm>
          <a:prstGeom prst="rect">
            <a:avLst/>
          </a:prstGeom>
          <a:solidFill>
            <a:srgbClr val="FFFFFF"/>
          </a:solidFill>
        </p:spPr>
      </p:pic>
    </p:spTree>
    <p:extLst>
      <p:ext uri="{BB962C8B-B14F-4D97-AF65-F5344CB8AC3E}">
        <p14:creationId xmlns:p14="http://schemas.microsoft.com/office/powerpoint/2010/main" val="1682913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Benefits of Cloud Computing</a:t>
            </a:r>
          </a:p>
        </p:txBody>
      </p:sp>
      <p:grpSp>
        <p:nvGrpSpPr>
          <p:cNvPr id="3" name="Group 2" descr="Image showing 4 graphics:&#10;1) On and Off&#10;On and off workloads (for example: batch job).&#10;Over provisioned capacity is wasted.&#10;Time to market can be cumbersome. &#10;2) Growing Fast&#10;Successful services needs to grow/scale.   &#10;Keeping up with growth is a big IT challenge. &#10;Cannot provision hardware fast enough.&#10;3) Unpredictable Bursting&#10;Unexpected/unplanned peak in demand.  &#10;Sudden spike impacts performance. &#10;Cannot over provision for extreme cases.&#10;4) Predictable Bursting&#10;Services with micro seasonality trends.   &#10;Peaks due to periodic increased demand.&#10;IT complexity and wasted capacity.">
            <a:extLst>
              <a:ext uri="{FF2B5EF4-FFF2-40B4-BE49-F238E27FC236}">
                <a16:creationId xmlns:a16="http://schemas.microsoft.com/office/drawing/2014/main" id="{4D34517C-A9CA-4D67-9E91-2CBD2D1B944D}"/>
              </a:ext>
            </a:extLst>
          </p:cNvPr>
          <p:cNvGrpSpPr/>
          <p:nvPr/>
        </p:nvGrpSpPr>
        <p:grpSpPr>
          <a:xfrm>
            <a:off x="1870677" y="1024513"/>
            <a:ext cx="8894130" cy="5267147"/>
            <a:chOff x="2201218" y="1421320"/>
            <a:chExt cx="7314962" cy="4826215"/>
          </a:xfrm>
        </p:grpSpPr>
        <p:sp>
          <p:nvSpPr>
            <p:cNvPr id="6" name="Rounded Rectangle 10">
              <a:extLst>
                <a:ext uri="{FF2B5EF4-FFF2-40B4-BE49-F238E27FC236}">
                  <a16:creationId xmlns:a16="http://schemas.microsoft.com/office/drawing/2014/main" id="{EDB7564E-95B8-498D-A68B-0F745DF938D7}"/>
                </a:ext>
              </a:extLst>
            </p:cNvPr>
            <p:cNvSpPr/>
            <p:nvPr/>
          </p:nvSpPr>
          <p:spPr>
            <a:xfrm>
              <a:off x="2201218" y="1429919"/>
              <a:ext cx="7314962" cy="4817616"/>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4309" tIns="62154" rIns="124309" bIns="62154" rtlCol="0" anchor="ctr"/>
            <a:lstStyle/>
            <a:p>
              <a:pPr algn="ctr" defTabSz="932384"/>
              <a:endParaRPr lang="en-US" sz="2754">
                <a:solidFill>
                  <a:srgbClr val="FFFFFF"/>
                </a:solidFill>
                <a:latin typeface="Segoe UI"/>
              </a:endParaRPr>
            </a:p>
          </p:txBody>
        </p:sp>
        <p:cxnSp>
          <p:nvCxnSpPr>
            <p:cNvPr id="7" name="Straight Arrow Connector 6">
              <a:extLst>
                <a:ext uri="{FF2B5EF4-FFF2-40B4-BE49-F238E27FC236}">
                  <a16:creationId xmlns:a16="http://schemas.microsoft.com/office/drawing/2014/main" id="{B6CA9BDF-3F50-427B-B968-73FEB652A872}"/>
                </a:ext>
              </a:extLst>
            </p:cNvPr>
            <p:cNvCxnSpPr>
              <a:cxnSpLocks/>
            </p:cNvCxnSpPr>
            <p:nvPr/>
          </p:nvCxnSpPr>
          <p:spPr bwMode="auto">
            <a:xfrm rot="16200000" flipV="1">
              <a:off x="2567073" y="1930025"/>
              <a:ext cx="766894" cy="4"/>
            </a:xfrm>
            <a:prstGeom prst="straightConnector1">
              <a:avLst/>
            </a:prstGeom>
            <a:noFill/>
            <a:ln w="25400" cap="flat" cmpd="sng" algn="ctr">
              <a:solidFill>
                <a:srgbClr val="292929"/>
              </a:solidFill>
              <a:prstDash val="solid"/>
              <a:headEnd type="none" w="med" len="med"/>
              <a:tailEnd type="triangle"/>
            </a:ln>
            <a:effectLst/>
          </p:spPr>
        </p:cxnSp>
        <p:cxnSp>
          <p:nvCxnSpPr>
            <p:cNvPr id="8" name="Straight Arrow Connector 7">
              <a:extLst>
                <a:ext uri="{FF2B5EF4-FFF2-40B4-BE49-F238E27FC236}">
                  <a16:creationId xmlns:a16="http://schemas.microsoft.com/office/drawing/2014/main" id="{3CF66CF4-251C-479C-8DFD-DA97C8AA0F0C}"/>
                </a:ext>
              </a:extLst>
            </p:cNvPr>
            <p:cNvCxnSpPr>
              <a:cxnSpLocks/>
            </p:cNvCxnSpPr>
            <p:nvPr/>
          </p:nvCxnSpPr>
          <p:spPr bwMode="auto">
            <a:xfrm>
              <a:off x="2950523" y="2304299"/>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9" name="Text Placeholder 6">
              <a:extLst>
                <a:ext uri="{FF2B5EF4-FFF2-40B4-BE49-F238E27FC236}">
                  <a16:creationId xmlns:a16="http://schemas.microsoft.com/office/drawing/2014/main" id="{3E2A1003-40AF-44B8-BA85-28DCF450597B}"/>
                </a:ext>
              </a:extLst>
            </p:cNvPr>
            <p:cNvSpPr txBox="1">
              <a:spLocks/>
            </p:cNvSpPr>
            <p:nvPr/>
          </p:nvSpPr>
          <p:spPr bwMode="auto">
            <a:xfrm>
              <a:off x="5785054" y="2220038"/>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0" name="Rectangle 9">
              <a:extLst>
                <a:ext uri="{FF2B5EF4-FFF2-40B4-BE49-F238E27FC236}">
                  <a16:creationId xmlns:a16="http://schemas.microsoft.com/office/drawing/2014/main" id="{53D98052-D14F-42BA-92BB-9851E65DAB4B}"/>
                </a:ext>
              </a:extLst>
            </p:cNvPr>
            <p:cNvSpPr/>
            <p:nvPr/>
          </p:nvSpPr>
          <p:spPr>
            <a:xfrm rot="16200000">
              <a:off x="2316303" y="1891083"/>
              <a:ext cx="879852"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cxnSp>
          <p:nvCxnSpPr>
            <p:cNvPr id="11" name="Straight Arrow Connector 10">
              <a:extLst>
                <a:ext uri="{FF2B5EF4-FFF2-40B4-BE49-F238E27FC236}">
                  <a16:creationId xmlns:a16="http://schemas.microsoft.com/office/drawing/2014/main" id="{5BEF7A87-9DAA-4FFF-94AB-B054732AC944}"/>
                </a:ext>
              </a:extLst>
            </p:cNvPr>
            <p:cNvCxnSpPr>
              <a:cxnSpLocks/>
            </p:cNvCxnSpPr>
            <p:nvPr/>
          </p:nvCxnSpPr>
          <p:spPr bwMode="auto">
            <a:xfrm flipV="1">
              <a:off x="2950522" y="2018474"/>
              <a:ext cx="900076" cy="55994"/>
            </a:xfrm>
            <a:prstGeom prst="straightConnector1">
              <a:avLst/>
            </a:prstGeom>
            <a:noFill/>
            <a:ln w="25400" cap="flat" cmpd="sng" algn="ctr">
              <a:solidFill>
                <a:srgbClr val="292929"/>
              </a:solidFill>
              <a:prstDash val="solid"/>
              <a:headEnd type="none" w="med" len="med"/>
              <a:tailEnd type="triangle"/>
            </a:ln>
            <a:effectLst/>
          </p:spPr>
        </p:cxnSp>
        <p:cxnSp>
          <p:nvCxnSpPr>
            <p:cNvPr id="12" name="Straight Arrow Connector 11">
              <a:extLst>
                <a:ext uri="{FF2B5EF4-FFF2-40B4-BE49-F238E27FC236}">
                  <a16:creationId xmlns:a16="http://schemas.microsoft.com/office/drawing/2014/main" id="{19502B52-5A05-47BA-861C-ACD7AAC7738D}"/>
                </a:ext>
              </a:extLst>
            </p:cNvPr>
            <p:cNvCxnSpPr>
              <a:cxnSpLocks/>
            </p:cNvCxnSpPr>
            <p:nvPr/>
          </p:nvCxnSpPr>
          <p:spPr bwMode="auto">
            <a:xfrm flipV="1">
              <a:off x="4739406" y="2000505"/>
              <a:ext cx="943020" cy="73965"/>
            </a:xfrm>
            <a:prstGeom prst="straightConnector1">
              <a:avLst/>
            </a:prstGeom>
            <a:noFill/>
            <a:ln w="25400" cap="flat" cmpd="sng" algn="ctr">
              <a:solidFill>
                <a:srgbClr val="292929"/>
              </a:solidFill>
              <a:prstDash val="solid"/>
              <a:headEnd type="none" w="med" len="med"/>
              <a:tailEnd type="triangle"/>
            </a:ln>
            <a:effectLst/>
          </p:spPr>
        </p:cxnSp>
        <p:cxnSp>
          <p:nvCxnSpPr>
            <p:cNvPr id="13" name="Straight Connector 12">
              <a:extLst>
                <a:ext uri="{FF2B5EF4-FFF2-40B4-BE49-F238E27FC236}">
                  <a16:creationId xmlns:a16="http://schemas.microsoft.com/office/drawing/2014/main" id="{3D38FC40-1040-41CB-B8F4-3B028BE9B3C4}"/>
                </a:ext>
              </a:extLst>
            </p:cNvPr>
            <p:cNvCxnSpPr>
              <a:cxnSpLocks/>
            </p:cNvCxnSpPr>
            <p:nvPr/>
          </p:nvCxnSpPr>
          <p:spPr bwMode="auto">
            <a:xfrm rot="5400000" flipH="1" flipV="1">
              <a:off x="4375348" y="1939447"/>
              <a:ext cx="730722" cy="1383"/>
            </a:xfrm>
            <a:prstGeom prst="line">
              <a:avLst/>
            </a:prstGeom>
            <a:noFill/>
            <a:ln w="19050" cap="flat" cmpd="sng" algn="ctr">
              <a:solidFill>
                <a:srgbClr val="292929"/>
              </a:solidFill>
              <a:prstDash val="sysDot"/>
              <a:headEnd type="none" w="med" len="med"/>
              <a:tailEnd type="none" w="med" len="med"/>
            </a:ln>
            <a:effectLst/>
          </p:spPr>
        </p:cxnSp>
        <p:sp>
          <p:nvSpPr>
            <p:cNvPr id="14" name="Rectangle 13">
              <a:extLst>
                <a:ext uri="{FF2B5EF4-FFF2-40B4-BE49-F238E27FC236}">
                  <a16:creationId xmlns:a16="http://schemas.microsoft.com/office/drawing/2014/main" id="{FCBDD917-082F-4047-8A62-46398353D8FF}"/>
                </a:ext>
              </a:extLst>
            </p:cNvPr>
            <p:cNvSpPr/>
            <p:nvPr/>
          </p:nvSpPr>
          <p:spPr>
            <a:xfrm>
              <a:off x="3814657" y="1708746"/>
              <a:ext cx="986938" cy="520495"/>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endParaRPr lang="en-US" sz="1122" kern="0">
                <a:solidFill>
                  <a:srgbClr val="292929">
                    <a:alpha val="99000"/>
                  </a:srgbClr>
                </a:solidFill>
                <a:latin typeface="Segoe UI"/>
              </a:endParaRPr>
            </a:p>
            <a:p>
              <a:pPr marL="250568" indent="-250568" algn="ctr" defTabSz="1002266" eaLnBrk="0" fontAlgn="base" hangingPunct="0">
                <a:lnSpc>
                  <a:spcPts val="877"/>
                </a:lnSpc>
                <a:spcAft>
                  <a:spcPts val="658"/>
                </a:spcAft>
                <a:buClr>
                  <a:srgbClr val="000000"/>
                </a:buClr>
                <a:defRPr/>
              </a:pPr>
              <a:r>
                <a:rPr lang="en-US" sz="1122" kern="0">
                  <a:solidFill>
                    <a:srgbClr val="292929">
                      <a:alpha val="99000"/>
                    </a:srgbClr>
                  </a:solidFill>
                  <a:latin typeface="Segoe UI"/>
                </a:rPr>
                <a:t>Inactivity</a:t>
              </a:r>
            </a:p>
            <a:p>
              <a:pPr marL="250568" indent="-250568" algn="ctr" defTabSz="1002266" eaLnBrk="0" fontAlgn="base" hangingPunct="0">
                <a:lnSpc>
                  <a:spcPts val="877"/>
                </a:lnSpc>
                <a:spcAft>
                  <a:spcPts val="658"/>
                </a:spcAft>
                <a:buClr>
                  <a:srgbClr val="000000"/>
                </a:buClr>
                <a:defRPr/>
              </a:pPr>
              <a:r>
                <a:rPr lang="en-US" sz="1122" kern="0">
                  <a:solidFill>
                    <a:srgbClr val="292929">
                      <a:alpha val="99000"/>
                    </a:srgbClr>
                  </a:solidFill>
                  <a:latin typeface="Segoe UI"/>
                </a:rPr>
                <a:t>Period </a:t>
              </a:r>
            </a:p>
          </p:txBody>
        </p:sp>
        <p:cxnSp>
          <p:nvCxnSpPr>
            <p:cNvPr id="15" name="Straight Connector 14">
              <a:extLst>
                <a:ext uri="{FF2B5EF4-FFF2-40B4-BE49-F238E27FC236}">
                  <a16:creationId xmlns:a16="http://schemas.microsoft.com/office/drawing/2014/main" id="{4EBD0CCB-611C-4FD5-948D-F5697EED421A}"/>
                </a:ext>
              </a:extLst>
            </p:cNvPr>
            <p:cNvCxnSpPr>
              <a:cxnSpLocks/>
            </p:cNvCxnSpPr>
            <p:nvPr/>
          </p:nvCxnSpPr>
          <p:spPr bwMode="auto">
            <a:xfrm rot="5400000" flipH="1" flipV="1">
              <a:off x="3504118" y="1939447"/>
              <a:ext cx="730722" cy="1383"/>
            </a:xfrm>
            <a:prstGeom prst="line">
              <a:avLst/>
            </a:prstGeom>
            <a:noFill/>
            <a:ln w="19050" cap="flat" cmpd="sng" algn="ctr">
              <a:solidFill>
                <a:srgbClr val="292929"/>
              </a:solidFill>
              <a:prstDash val="sysDot"/>
              <a:headEnd type="none" w="med" len="med"/>
              <a:tailEnd type="none" w="med" len="med"/>
            </a:ln>
            <a:effectLst/>
          </p:spPr>
        </p:cxnSp>
        <p:sp>
          <p:nvSpPr>
            <p:cNvPr id="16" name="Text Placeholder 6">
              <a:extLst>
                <a:ext uri="{FF2B5EF4-FFF2-40B4-BE49-F238E27FC236}">
                  <a16:creationId xmlns:a16="http://schemas.microsoft.com/office/drawing/2014/main" id="{ECEEC552-C320-4B8A-8E19-CCB704187752}"/>
                </a:ext>
              </a:extLst>
            </p:cNvPr>
            <p:cNvSpPr txBox="1">
              <a:spLocks/>
            </p:cNvSpPr>
            <p:nvPr/>
          </p:nvSpPr>
          <p:spPr bwMode="auto">
            <a:xfrm>
              <a:off x="5785054" y="3504832"/>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7" name="Text Placeholder 6">
              <a:extLst>
                <a:ext uri="{FF2B5EF4-FFF2-40B4-BE49-F238E27FC236}">
                  <a16:creationId xmlns:a16="http://schemas.microsoft.com/office/drawing/2014/main" id="{161959DF-3FEF-49EE-AD7F-BC2780D8C697}"/>
                </a:ext>
              </a:extLst>
            </p:cNvPr>
            <p:cNvSpPr txBox="1">
              <a:spLocks/>
            </p:cNvSpPr>
            <p:nvPr/>
          </p:nvSpPr>
          <p:spPr bwMode="auto">
            <a:xfrm>
              <a:off x="5785054" y="4718917"/>
              <a:ext cx="1009448" cy="11531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sp>
          <p:nvSpPr>
            <p:cNvPr id="18" name="Text Placeholder 6">
              <a:extLst>
                <a:ext uri="{FF2B5EF4-FFF2-40B4-BE49-F238E27FC236}">
                  <a16:creationId xmlns:a16="http://schemas.microsoft.com/office/drawing/2014/main" id="{4BBA0E84-B9B4-4172-8950-1FCD58746588}"/>
                </a:ext>
              </a:extLst>
            </p:cNvPr>
            <p:cNvSpPr txBox="1">
              <a:spLocks/>
            </p:cNvSpPr>
            <p:nvPr/>
          </p:nvSpPr>
          <p:spPr bwMode="auto">
            <a:xfrm>
              <a:off x="5785054" y="5953080"/>
              <a:ext cx="1009448" cy="153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002266" eaLnBrk="0" fontAlgn="base" hangingPunct="0">
                <a:spcBef>
                  <a:spcPct val="20000"/>
                </a:spcBef>
                <a:spcAft>
                  <a:spcPct val="0"/>
                </a:spcAft>
                <a:buClr>
                  <a:srgbClr val="000000"/>
                </a:buClr>
                <a:defRPr/>
              </a:pPr>
              <a:r>
                <a:rPr lang="en-US" sz="1224" i="1" kern="0">
                  <a:solidFill>
                    <a:srgbClr val="292929">
                      <a:alpha val="99000"/>
                    </a:srgbClr>
                  </a:solidFill>
                  <a:latin typeface="Segoe UI"/>
                </a:rPr>
                <a:t>t</a:t>
              </a:r>
            </a:p>
          </p:txBody>
        </p:sp>
        <p:grpSp>
          <p:nvGrpSpPr>
            <p:cNvPr id="19" name="Group 18">
              <a:extLst>
                <a:ext uri="{FF2B5EF4-FFF2-40B4-BE49-F238E27FC236}">
                  <a16:creationId xmlns:a16="http://schemas.microsoft.com/office/drawing/2014/main" id="{469D03F4-DEDA-4EA7-A144-54F37A55B242}"/>
                </a:ext>
              </a:extLst>
            </p:cNvPr>
            <p:cNvGrpSpPr/>
            <p:nvPr/>
          </p:nvGrpSpPr>
          <p:grpSpPr>
            <a:xfrm>
              <a:off x="6055101" y="1421320"/>
              <a:ext cx="2936499" cy="921245"/>
              <a:chOff x="342904" y="1233639"/>
              <a:chExt cx="3613707" cy="1075461"/>
            </a:xfrm>
          </p:grpSpPr>
          <p:sp>
            <p:nvSpPr>
              <p:cNvPr id="20" name="TextBox 19">
                <a:extLst>
                  <a:ext uri="{FF2B5EF4-FFF2-40B4-BE49-F238E27FC236}">
                    <a16:creationId xmlns:a16="http://schemas.microsoft.com/office/drawing/2014/main" id="{6E81D058-2C2E-45F3-B693-C5AA94C5BE0D}"/>
                  </a:ext>
                </a:extLst>
              </p:cNvPr>
              <p:cNvSpPr txBox="1"/>
              <p:nvPr/>
            </p:nvSpPr>
            <p:spPr>
              <a:xfrm>
                <a:off x="342904" y="1233639"/>
                <a:ext cx="3045807"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On and Off</a:t>
                </a:r>
              </a:p>
            </p:txBody>
          </p:sp>
          <p:sp>
            <p:nvSpPr>
              <p:cNvPr id="21" name="Rectangle 20">
                <a:extLst>
                  <a:ext uri="{FF2B5EF4-FFF2-40B4-BE49-F238E27FC236}">
                    <a16:creationId xmlns:a16="http://schemas.microsoft.com/office/drawing/2014/main" id="{B20EA901-F4CB-4705-9DB2-E22799A1E44B}"/>
                  </a:ext>
                </a:extLst>
              </p:cNvPr>
              <p:cNvSpPr/>
              <p:nvPr/>
            </p:nvSpPr>
            <p:spPr>
              <a:xfrm>
                <a:off x="342907" y="1692317"/>
                <a:ext cx="3613704"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On and off workloads (for example: batch job).</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Over provisioned capacity is wasted.</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Time to market can be cumbersome. </a:t>
                </a:r>
              </a:p>
            </p:txBody>
          </p:sp>
        </p:grpSp>
        <p:grpSp>
          <p:nvGrpSpPr>
            <p:cNvPr id="22" name="Group 21">
              <a:extLst>
                <a:ext uri="{FF2B5EF4-FFF2-40B4-BE49-F238E27FC236}">
                  <a16:creationId xmlns:a16="http://schemas.microsoft.com/office/drawing/2014/main" id="{06810C62-B434-4EEF-A49F-E1995C8EEE76}"/>
                </a:ext>
              </a:extLst>
            </p:cNvPr>
            <p:cNvGrpSpPr/>
            <p:nvPr/>
          </p:nvGrpSpPr>
          <p:grpSpPr>
            <a:xfrm>
              <a:off x="6063462" y="3888204"/>
              <a:ext cx="3156738" cy="968932"/>
              <a:chOff x="342905" y="3877806"/>
              <a:chExt cx="3821938" cy="1131130"/>
            </a:xfrm>
          </p:grpSpPr>
          <p:sp>
            <p:nvSpPr>
              <p:cNvPr id="23" name="TextBox 22">
                <a:extLst>
                  <a:ext uri="{FF2B5EF4-FFF2-40B4-BE49-F238E27FC236}">
                    <a16:creationId xmlns:a16="http://schemas.microsoft.com/office/drawing/2014/main" id="{E390664F-6716-4246-BB96-16AB3395289E}"/>
                  </a:ext>
                </a:extLst>
              </p:cNvPr>
              <p:cNvSpPr txBox="1"/>
              <p:nvPr/>
            </p:nvSpPr>
            <p:spPr>
              <a:xfrm>
                <a:off x="342905" y="3877806"/>
                <a:ext cx="3821938"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Unpredictable Bursting</a:t>
                </a:r>
              </a:p>
            </p:txBody>
          </p:sp>
          <p:sp>
            <p:nvSpPr>
              <p:cNvPr id="24" name="Rectangle 23">
                <a:extLst>
                  <a:ext uri="{FF2B5EF4-FFF2-40B4-BE49-F238E27FC236}">
                    <a16:creationId xmlns:a16="http://schemas.microsoft.com/office/drawing/2014/main" id="{92417CAE-9A14-44D6-ABD6-6AA818C4E2E6}"/>
                  </a:ext>
                </a:extLst>
              </p:cNvPr>
              <p:cNvSpPr/>
              <p:nvPr/>
            </p:nvSpPr>
            <p:spPr>
              <a:xfrm>
                <a:off x="342905" y="4392153"/>
                <a:ext cx="3599725"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Unexpected/unplanned peak in demand.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Sudden spike impacts performanc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Cannot over provision for extreme cases.</a:t>
                </a:r>
              </a:p>
            </p:txBody>
          </p:sp>
        </p:grpSp>
        <p:cxnSp>
          <p:nvCxnSpPr>
            <p:cNvPr id="25" name="Straight Arrow Connector 24">
              <a:extLst>
                <a:ext uri="{FF2B5EF4-FFF2-40B4-BE49-F238E27FC236}">
                  <a16:creationId xmlns:a16="http://schemas.microsoft.com/office/drawing/2014/main" id="{B5F70571-79C1-493D-ADDD-BE3B9275586D}"/>
                </a:ext>
              </a:extLst>
            </p:cNvPr>
            <p:cNvCxnSpPr>
              <a:cxnSpLocks/>
            </p:cNvCxnSpPr>
            <p:nvPr/>
          </p:nvCxnSpPr>
          <p:spPr bwMode="auto">
            <a:xfrm flipH="1" flipV="1">
              <a:off x="2958848" y="4023587"/>
              <a:ext cx="4" cy="768756"/>
            </a:xfrm>
            <a:prstGeom prst="straightConnector1">
              <a:avLst/>
            </a:prstGeom>
            <a:noFill/>
            <a:ln w="25400" cap="flat" cmpd="sng" algn="ctr">
              <a:solidFill>
                <a:srgbClr val="292929"/>
              </a:solidFill>
              <a:prstDash val="solid"/>
              <a:headEnd type="none" w="med" len="med"/>
              <a:tailEnd type="triangle"/>
            </a:ln>
            <a:effectLst/>
          </p:spPr>
        </p:cxnSp>
        <p:cxnSp>
          <p:nvCxnSpPr>
            <p:cNvPr id="26" name="Straight Arrow Connector 25">
              <a:extLst>
                <a:ext uri="{FF2B5EF4-FFF2-40B4-BE49-F238E27FC236}">
                  <a16:creationId xmlns:a16="http://schemas.microsoft.com/office/drawing/2014/main" id="{119B66B4-4D7A-467A-B3CE-BEBB005ED6AA}"/>
                </a:ext>
              </a:extLst>
            </p:cNvPr>
            <p:cNvCxnSpPr>
              <a:cxnSpLocks/>
            </p:cNvCxnSpPr>
            <p:nvPr/>
          </p:nvCxnSpPr>
          <p:spPr bwMode="auto">
            <a:xfrm>
              <a:off x="2958850" y="4783101"/>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27" name="Rectangle 26">
              <a:extLst>
                <a:ext uri="{FF2B5EF4-FFF2-40B4-BE49-F238E27FC236}">
                  <a16:creationId xmlns:a16="http://schemas.microsoft.com/office/drawing/2014/main" id="{693CA917-DEBE-45D0-8561-ABC9DC2A2B3E}"/>
                </a:ext>
              </a:extLst>
            </p:cNvPr>
            <p:cNvSpPr/>
            <p:nvPr/>
          </p:nvSpPr>
          <p:spPr>
            <a:xfrm rot="16200000">
              <a:off x="2327891" y="4356925"/>
              <a:ext cx="873331"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grpSp>
          <p:nvGrpSpPr>
            <p:cNvPr id="28" name="Group 27">
              <a:extLst>
                <a:ext uri="{FF2B5EF4-FFF2-40B4-BE49-F238E27FC236}">
                  <a16:creationId xmlns:a16="http://schemas.microsoft.com/office/drawing/2014/main" id="{0438842F-E604-43D4-8894-732D926E0D21}"/>
                </a:ext>
              </a:extLst>
            </p:cNvPr>
            <p:cNvGrpSpPr/>
            <p:nvPr/>
          </p:nvGrpSpPr>
          <p:grpSpPr>
            <a:xfrm>
              <a:off x="2953595" y="4112606"/>
              <a:ext cx="2785152" cy="421773"/>
              <a:chOff x="5520892" y="5257417"/>
              <a:chExt cx="3307216" cy="721360"/>
            </a:xfrm>
          </p:grpSpPr>
          <p:cxnSp>
            <p:nvCxnSpPr>
              <p:cNvPr id="29" name="Straight Arrow Connector 28">
                <a:extLst>
                  <a:ext uri="{FF2B5EF4-FFF2-40B4-BE49-F238E27FC236}">
                    <a16:creationId xmlns:a16="http://schemas.microsoft.com/office/drawing/2014/main" id="{2D1B10C7-DCE6-4EC2-AEEB-8D2DDA1DCB3B}"/>
                  </a:ext>
                </a:extLst>
              </p:cNvPr>
              <p:cNvCxnSpPr/>
              <p:nvPr/>
            </p:nvCxnSpPr>
            <p:spPr bwMode="auto">
              <a:xfrm>
                <a:off x="7600265" y="5975286"/>
                <a:ext cx="1227843" cy="2508"/>
              </a:xfrm>
              <a:prstGeom prst="straightConnector1">
                <a:avLst/>
              </a:prstGeom>
              <a:noFill/>
              <a:ln w="25400" cap="flat" cmpd="sng" algn="ctr">
                <a:solidFill>
                  <a:srgbClr val="292929"/>
                </a:solidFill>
                <a:prstDash val="solid"/>
                <a:headEnd type="none" w="med" len="med"/>
                <a:tailEnd type="triangle"/>
              </a:ln>
              <a:effectLst/>
            </p:spPr>
          </p:cxnSp>
          <p:cxnSp>
            <p:nvCxnSpPr>
              <p:cNvPr id="30" name="Straight Connector 29">
                <a:extLst>
                  <a:ext uri="{FF2B5EF4-FFF2-40B4-BE49-F238E27FC236}">
                    <a16:creationId xmlns:a16="http://schemas.microsoft.com/office/drawing/2014/main" id="{CF57AC37-B68A-41FB-848F-A99F68FE0AE1}"/>
                  </a:ext>
                </a:extLst>
              </p:cNvPr>
              <p:cNvCxnSpPr>
                <a:endCxn id="31" idx="0"/>
              </p:cNvCxnSpPr>
              <p:nvPr/>
            </p:nvCxnSpPr>
            <p:spPr bwMode="auto">
              <a:xfrm>
                <a:off x="5520892" y="5967876"/>
                <a:ext cx="1168667" cy="0"/>
              </a:xfrm>
              <a:prstGeom prst="line">
                <a:avLst/>
              </a:prstGeom>
              <a:noFill/>
              <a:ln w="25400" cap="flat" cmpd="sng" algn="ctr">
                <a:solidFill>
                  <a:srgbClr val="292929"/>
                </a:solidFill>
                <a:prstDash val="solid"/>
                <a:headEnd type="none" w="med" len="med"/>
                <a:tailEnd type="triangle"/>
              </a:ln>
              <a:effectLst/>
            </p:spPr>
          </p:cxnSp>
          <p:sp>
            <p:nvSpPr>
              <p:cNvPr id="31" name="Freeform 83">
                <a:extLst>
                  <a:ext uri="{FF2B5EF4-FFF2-40B4-BE49-F238E27FC236}">
                    <a16:creationId xmlns:a16="http://schemas.microsoft.com/office/drawing/2014/main" id="{072E2710-6BF4-4D5E-804E-1D77173F811D}"/>
                  </a:ext>
                </a:extLst>
              </p:cNvPr>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25400" cap="flat" cmpd="sng" algn="ctr">
                <a:solidFill>
                  <a:srgbClr val="292929"/>
                </a:solidFill>
                <a:prstDash val="solid"/>
                <a:headEnd type="none" w="med" len="med"/>
                <a:tailEnd type="triangle"/>
              </a:ln>
              <a:effectLst/>
            </p:spPr>
            <p:txBody>
              <a:bodyPr rtlCol="0" anchor="ctr"/>
              <a:lstStyle/>
              <a:p>
                <a:pPr algn="ctr" defTabSz="1242953">
                  <a:defRPr/>
                </a:pPr>
                <a:endParaRPr lang="en-US" sz="2754" kern="0">
                  <a:solidFill>
                    <a:srgbClr val="292929"/>
                  </a:solidFill>
                  <a:latin typeface="Segoe UI"/>
                </a:endParaRPr>
              </a:p>
            </p:txBody>
          </p:sp>
        </p:grpSp>
        <p:grpSp>
          <p:nvGrpSpPr>
            <p:cNvPr id="32" name="Group 31">
              <a:extLst>
                <a:ext uri="{FF2B5EF4-FFF2-40B4-BE49-F238E27FC236}">
                  <a16:creationId xmlns:a16="http://schemas.microsoft.com/office/drawing/2014/main" id="{418424C3-0316-4737-8B67-DB7EB144EC94}"/>
                </a:ext>
              </a:extLst>
            </p:cNvPr>
            <p:cNvGrpSpPr/>
            <p:nvPr/>
          </p:nvGrpSpPr>
          <p:grpSpPr>
            <a:xfrm>
              <a:off x="6063461" y="2671393"/>
              <a:ext cx="3085844" cy="928267"/>
              <a:chOff x="342905" y="2485579"/>
              <a:chExt cx="3492569" cy="1083658"/>
            </a:xfrm>
          </p:grpSpPr>
          <p:sp>
            <p:nvSpPr>
              <p:cNvPr id="33" name="TextBox 32">
                <a:extLst>
                  <a:ext uri="{FF2B5EF4-FFF2-40B4-BE49-F238E27FC236}">
                    <a16:creationId xmlns:a16="http://schemas.microsoft.com/office/drawing/2014/main" id="{9C64DC7D-0101-4AA6-8FEB-A86048BA6044}"/>
                  </a:ext>
                </a:extLst>
              </p:cNvPr>
              <p:cNvSpPr txBox="1"/>
              <p:nvPr/>
            </p:nvSpPr>
            <p:spPr>
              <a:xfrm>
                <a:off x="342905" y="2485579"/>
                <a:ext cx="3119051"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Growing Fast</a:t>
                </a:r>
              </a:p>
            </p:txBody>
          </p:sp>
          <p:sp>
            <p:nvSpPr>
              <p:cNvPr id="34" name="Rectangle 33">
                <a:extLst>
                  <a:ext uri="{FF2B5EF4-FFF2-40B4-BE49-F238E27FC236}">
                    <a16:creationId xmlns:a16="http://schemas.microsoft.com/office/drawing/2014/main" id="{847C9069-C19A-412E-A65D-5C4D482A56DA}"/>
                  </a:ext>
                </a:extLst>
              </p:cNvPr>
              <p:cNvSpPr/>
              <p:nvPr/>
            </p:nvSpPr>
            <p:spPr>
              <a:xfrm>
                <a:off x="342905" y="2952454"/>
                <a:ext cx="3492569"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Successful services needs to grow/scal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Keeping up with growth is a big IT challenge.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Cannot provision hardware fast enough.</a:t>
                </a:r>
              </a:p>
            </p:txBody>
          </p:sp>
        </p:grpSp>
        <p:cxnSp>
          <p:nvCxnSpPr>
            <p:cNvPr id="35" name="Straight Arrow Connector 34">
              <a:extLst>
                <a:ext uri="{FF2B5EF4-FFF2-40B4-BE49-F238E27FC236}">
                  <a16:creationId xmlns:a16="http://schemas.microsoft.com/office/drawing/2014/main" id="{BB1BC3D7-28B2-4A1C-8526-B0123B2A2446}"/>
                </a:ext>
              </a:extLst>
            </p:cNvPr>
            <p:cNvCxnSpPr>
              <a:cxnSpLocks/>
            </p:cNvCxnSpPr>
            <p:nvPr/>
          </p:nvCxnSpPr>
          <p:spPr bwMode="auto">
            <a:xfrm flipH="1" flipV="1">
              <a:off x="2950519" y="2776748"/>
              <a:ext cx="3073" cy="797087"/>
            </a:xfrm>
            <a:prstGeom prst="straightConnector1">
              <a:avLst/>
            </a:prstGeom>
            <a:noFill/>
            <a:ln w="25400" cap="flat" cmpd="sng" algn="ctr">
              <a:solidFill>
                <a:srgbClr val="292929"/>
              </a:solidFill>
              <a:prstDash val="solid"/>
              <a:headEnd type="none" w="med" len="med"/>
              <a:tailEnd type="triangle"/>
            </a:ln>
            <a:effectLst/>
          </p:spPr>
        </p:cxnSp>
        <p:cxnSp>
          <p:nvCxnSpPr>
            <p:cNvPr id="36" name="Straight Arrow Connector 35">
              <a:extLst>
                <a:ext uri="{FF2B5EF4-FFF2-40B4-BE49-F238E27FC236}">
                  <a16:creationId xmlns:a16="http://schemas.microsoft.com/office/drawing/2014/main" id="{8A808728-50BE-44C3-B429-1C76E0B3F888}"/>
                </a:ext>
              </a:extLst>
            </p:cNvPr>
            <p:cNvCxnSpPr>
              <a:cxnSpLocks/>
            </p:cNvCxnSpPr>
            <p:nvPr/>
          </p:nvCxnSpPr>
          <p:spPr bwMode="auto">
            <a:xfrm>
              <a:off x="2953596" y="3562114"/>
              <a:ext cx="2785809" cy="801"/>
            </a:xfrm>
            <a:prstGeom prst="straightConnector1">
              <a:avLst/>
            </a:prstGeom>
            <a:noFill/>
            <a:ln w="25400" cap="flat" cmpd="sng" algn="ctr">
              <a:solidFill>
                <a:srgbClr val="292929"/>
              </a:solidFill>
              <a:prstDash val="solid"/>
              <a:headEnd type="none" w="med" len="med"/>
              <a:tailEnd type="triangle"/>
            </a:ln>
            <a:effectLst/>
          </p:spPr>
        </p:cxnSp>
        <p:sp>
          <p:nvSpPr>
            <p:cNvPr id="37" name="Rectangle 36">
              <a:extLst>
                <a:ext uri="{FF2B5EF4-FFF2-40B4-BE49-F238E27FC236}">
                  <a16:creationId xmlns:a16="http://schemas.microsoft.com/office/drawing/2014/main" id="{C1678387-11D3-47A8-BF88-479655335A22}"/>
                </a:ext>
              </a:extLst>
            </p:cNvPr>
            <p:cNvSpPr/>
            <p:nvPr/>
          </p:nvSpPr>
          <p:spPr>
            <a:xfrm rot="16200000">
              <a:off x="2321523" y="3154121"/>
              <a:ext cx="869411"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sp>
          <p:nvSpPr>
            <p:cNvPr id="38" name="Freeform 90">
              <a:extLst>
                <a:ext uri="{FF2B5EF4-FFF2-40B4-BE49-F238E27FC236}">
                  <a16:creationId xmlns:a16="http://schemas.microsoft.com/office/drawing/2014/main" id="{E12235C6-BFFD-4659-B7A0-C596D372C69B}"/>
                </a:ext>
              </a:extLst>
            </p:cNvPr>
            <p:cNvSpPr/>
            <p:nvPr/>
          </p:nvSpPr>
          <p:spPr>
            <a:xfrm>
              <a:off x="2945362" y="2822580"/>
              <a:ext cx="2726356" cy="737233"/>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rgbClr val="292929"/>
              </a:solidFill>
              <a:headEnd type="none" w="med" len="med"/>
              <a:tailEnd type="triangle"/>
            </a:ln>
            <a:effectLst/>
          </p:spPr>
          <p:txBody>
            <a:bodyPr lIns="75192" tIns="37596" rIns="75192" bIns="37596" rtlCol="0" anchor="ctr"/>
            <a:lstStyle/>
            <a:p>
              <a:pPr algn="ctr" defTabSz="1242953">
                <a:defRPr/>
              </a:pPr>
              <a:endParaRPr lang="en-US" sz="2754" kern="0">
                <a:solidFill>
                  <a:sysClr val="windowText" lastClr="000000"/>
                </a:solidFill>
                <a:latin typeface="Segoe UI"/>
              </a:endParaRPr>
            </a:p>
          </p:txBody>
        </p:sp>
        <p:grpSp>
          <p:nvGrpSpPr>
            <p:cNvPr id="39" name="Group 38">
              <a:extLst>
                <a:ext uri="{FF2B5EF4-FFF2-40B4-BE49-F238E27FC236}">
                  <a16:creationId xmlns:a16="http://schemas.microsoft.com/office/drawing/2014/main" id="{F23EB9B5-375F-499C-9D19-074944059085}"/>
                </a:ext>
              </a:extLst>
            </p:cNvPr>
            <p:cNvGrpSpPr/>
            <p:nvPr/>
          </p:nvGrpSpPr>
          <p:grpSpPr>
            <a:xfrm>
              <a:off x="6063459" y="5152444"/>
              <a:ext cx="2973207" cy="933276"/>
              <a:chOff x="342905" y="5150364"/>
              <a:chExt cx="3941859" cy="1089506"/>
            </a:xfrm>
          </p:grpSpPr>
          <p:sp>
            <p:nvSpPr>
              <p:cNvPr id="40" name="TextBox 39">
                <a:extLst>
                  <a:ext uri="{FF2B5EF4-FFF2-40B4-BE49-F238E27FC236}">
                    <a16:creationId xmlns:a16="http://schemas.microsoft.com/office/drawing/2014/main" id="{FC13ADFD-C705-44F7-9445-8F08EE371FB0}"/>
                  </a:ext>
                </a:extLst>
              </p:cNvPr>
              <p:cNvSpPr txBox="1"/>
              <p:nvPr/>
            </p:nvSpPr>
            <p:spPr>
              <a:xfrm>
                <a:off x="342905" y="5150364"/>
                <a:ext cx="3941859" cy="412518"/>
              </a:xfrm>
              <a:prstGeom prst="rect">
                <a:avLst/>
              </a:prstGeom>
              <a:noFill/>
              <a:ln>
                <a:noFill/>
              </a:ln>
            </p:spPr>
            <p:txBody>
              <a:bodyPr wrap="square" lIns="0" tIns="46615" rIns="0" bIns="46615" rtlCol="0">
                <a:spAutoFit/>
              </a:bodyPr>
              <a:lstStyle/>
              <a:p>
                <a:pPr defTabSz="1242953">
                  <a:lnSpc>
                    <a:spcPct val="90000"/>
                  </a:lnSpc>
                  <a:spcBef>
                    <a:spcPct val="20000"/>
                  </a:spcBef>
                  <a:defRPr/>
                </a:pPr>
                <a:r>
                  <a:rPr lang="en-US" sz="1836" kern="0">
                    <a:solidFill>
                      <a:srgbClr val="00AEEF">
                        <a:alpha val="99000"/>
                      </a:srgbClr>
                    </a:solidFill>
                    <a:latin typeface="Segoe UI" pitchFamily="34" charset="0"/>
                    <a:ea typeface="Segoe UI" pitchFamily="34" charset="0"/>
                    <a:cs typeface="Segoe UI" pitchFamily="34" charset="0"/>
                  </a:rPr>
                  <a:t>Predictable Bursting</a:t>
                </a:r>
              </a:p>
            </p:txBody>
          </p:sp>
          <p:sp>
            <p:nvSpPr>
              <p:cNvPr id="41" name="Rectangle 40">
                <a:extLst>
                  <a:ext uri="{FF2B5EF4-FFF2-40B4-BE49-F238E27FC236}">
                    <a16:creationId xmlns:a16="http://schemas.microsoft.com/office/drawing/2014/main" id="{61DA63FB-4BFE-492C-8655-F508346CCA95}"/>
                  </a:ext>
                </a:extLst>
              </p:cNvPr>
              <p:cNvSpPr/>
              <p:nvPr/>
            </p:nvSpPr>
            <p:spPr>
              <a:xfrm>
                <a:off x="342905" y="5623087"/>
                <a:ext cx="3653646" cy="616783"/>
              </a:xfrm>
              <a:prstGeom prst="rect">
                <a:avLst/>
              </a:prstGeom>
              <a:ln>
                <a:noFill/>
              </a:ln>
            </p:spPr>
            <p:txBody>
              <a:bodyPr wrap="square" lIns="0" tIns="0" rIns="0" bIns="0">
                <a:spAutoFit/>
              </a:bodyPr>
              <a:lstStyle/>
              <a:p>
                <a:pPr marL="0" lvl="1" defTabSz="1002183" fontAlgn="base">
                  <a:spcAft>
                    <a:spcPct val="0"/>
                  </a:spcAft>
                  <a:defRPr/>
                </a:pPr>
                <a:r>
                  <a:rPr lang="en-US" sz="1122" kern="0">
                    <a:solidFill>
                      <a:srgbClr val="292929">
                        <a:alpha val="99000"/>
                      </a:srgbClr>
                    </a:solidFill>
                    <a:latin typeface="Segoe UI"/>
                    <a:ea typeface="Kozuka Gothic Pro R" pitchFamily="34" charset="-128"/>
                  </a:rPr>
                  <a:t>Services with micro seasonality trends.   </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Peaks due to periodic increased demand.</a:t>
                </a:r>
              </a:p>
              <a:p>
                <a:pPr marL="0" lvl="1" defTabSz="1002183" fontAlgn="base">
                  <a:spcAft>
                    <a:spcPct val="0"/>
                  </a:spcAft>
                  <a:defRPr/>
                </a:pPr>
                <a:r>
                  <a:rPr lang="en-US" sz="1122" kern="0">
                    <a:solidFill>
                      <a:srgbClr val="292929">
                        <a:alpha val="99000"/>
                      </a:srgbClr>
                    </a:solidFill>
                    <a:latin typeface="Segoe UI"/>
                    <a:ea typeface="Kozuka Gothic Pro R" pitchFamily="34" charset="-128"/>
                  </a:rPr>
                  <a:t>IT complexity and wasted capacity.</a:t>
                </a:r>
              </a:p>
            </p:txBody>
          </p:sp>
        </p:grpSp>
        <p:cxnSp>
          <p:nvCxnSpPr>
            <p:cNvPr id="42" name="Straight Arrow Connector 41">
              <a:extLst>
                <a:ext uri="{FF2B5EF4-FFF2-40B4-BE49-F238E27FC236}">
                  <a16:creationId xmlns:a16="http://schemas.microsoft.com/office/drawing/2014/main" id="{4EF5167A-90DB-4CE1-9179-93A7F342132F}"/>
                </a:ext>
              </a:extLst>
            </p:cNvPr>
            <p:cNvCxnSpPr>
              <a:cxnSpLocks/>
            </p:cNvCxnSpPr>
            <p:nvPr/>
          </p:nvCxnSpPr>
          <p:spPr bwMode="auto">
            <a:xfrm flipV="1">
              <a:off x="2972035" y="5282465"/>
              <a:ext cx="0" cy="768759"/>
            </a:xfrm>
            <a:prstGeom prst="straightConnector1">
              <a:avLst/>
            </a:prstGeom>
            <a:noFill/>
            <a:ln w="25400" cap="flat" cmpd="sng" algn="ctr">
              <a:solidFill>
                <a:srgbClr val="292929"/>
              </a:solidFill>
              <a:prstDash val="solid"/>
              <a:headEnd type="none" w="med" len="med"/>
              <a:tailEnd type="triangle"/>
            </a:ln>
            <a:effectLst/>
          </p:spPr>
        </p:cxnSp>
        <p:cxnSp>
          <p:nvCxnSpPr>
            <p:cNvPr id="43" name="Straight Arrow Connector 42">
              <a:extLst>
                <a:ext uri="{FF2B5EF4-FFF2-40B4-BE49-F238E27FC236}">
                  <a16:creationId xmlns:a16="http://schemas.microsoft.com/office/drawing/2014/main" id="{8929777F-4906-45BC-8814-3E8BC7F44D99}"/>
                </a:ext>
              </a:extLst>
            </p:cNvPr>
            <p:cNvCxnSpPr>
              <a:cxnSpLocks/>
            </p:cNvCxnSpPr>
            <p:nvPr/>
          </p:nvCxnSpPr>
          <p:spPr bwMode="auto">
            <a:xfrm>
              <a:off x="2958573" y="6040477"/>
              <a:ext cx="2785808" cy="801"/>
            </a:xfrm>
            <a:prstGeom prst="straightConnector1">
              <a:avLst/>
            </a:prstGeom>
            <a:noFill/>
            <a:ln w="25400" cap="flat" cmpd="sng" algn="ctr">
              <a:solidFill>
                <a:srgbClr val="292929"/>
              </a:solidFill>
              <a:prstDash val="solid"/>
              <a:headEnd type="none" w="med" len="med"/>
              <a:tailEnd type="triangle"/>
            </a:ln>
            <a:effectLst/>
          </p:spPr>
        </p:cxnSp>
        <p:sp>
          <p:nvSpPr>
            <p:cNvPr id="44" name="Rectangle 43">
              <a:extLst>
                <a:ext uri="{FF2B5EF4-FFF2-40B4-BE49-F238E27FC236}">
                  <a16:creationId xmlns:a16="http://schemas.microsoft.com/office/drawing/2014/main" id="{D95A261B-B6C0-4FAF-B95D-FE32FC45A872}"/>
                </a:ext>
              </a:extLst>
            </p:cNvPr>
            <p:cNvSpPr/>
            <p:nvPr/>
          </p:nvSpPr>
          <p:spPr>
            <a:xfrm rot="16200000">
              <a:off x="2338932" y="5434497"/>
              <a:ext cx="877627" cy="196762"/>
            </a:xfrm>
            <a:prstGeom prst="rect">
              <a:avLst/>
            </a:prstGeom>
            <a:ln>
              <a:noFill/>
            </a:ln>
          </p:spPr>
          <p:txBody>
            <a:bodyPr wrap="square" lIns="75192" tIns="37596" rIns="75192" bIns="37596">
              <a:spAutoFit/>
            </a:bodyPr>
            <a:lstStyle/>
            <a:p>
              <a:pPr marL="250568" indent="-250568" algn="ctr" defTabSz="1002266" eaLnBrk="0" fontAlgn="base" hangingPunct="0">
                <a:lnSpc>
                  <a:spcPts val="877"/>
                </a:lnSpc>
                <a:spcBef>
                  <a:spcPct val="20000"/>
                </a:spcBef>
                <a:spcAft>
                  <a:spcPct val="0"/>
                </a:spcAft>
                <a:buClr>
                  <a:srgbClr val="000000"/>
                </a:buClr>
                <a:defRPr/>
              </a:pPr>
              <a:r>
                <a:rPr lang="en-US" sz="1122" kern="0">
                  <a:solidFill>
                    <a:srgbClr val="292929">
                      <a:alpha val="99000"/>
                    </a:srgbClr>
                  </a:solidFill>
                  <a:latin typeface="Segoe UI"/>
                </a:rPr>
                <a:t>Compute </a:t>
              </a:r>
            </a:p>
          </p:txBody>
        </p:sp>
        <p:sp>
          <p:nvSpPr>
            <p:cNvPr id="45" name="Freeform 97">
              <a:extLst>
                <a:ext uri="{FF2B5EF4-FFF2-40B4-BE49-F238E27FC236}">
                  <a16:creationId xmlns:a16="http://schemas.microsoft.com/office/drawing/2014/main" id="{8FF55B84-B17D-4EFB-9E46-90AE337A7349}"/>
                </a:ext>
              </a:extLst>
            </p:cNvPr>
            <p:cNvSpPr/>
            <p:nvPr/>
          </p:nvSpPr>
          <p:spPr>
            <a:xfrm>
              <a:off x="2970188" y="5330733"/>
              <a:ext cx="2579638" cy="499417"/>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25400" cap="flat" cmpd="sng" algn="ctr">
              <a:solidFill>
                <a:srgbClr val="292929"/>
              </a:solidFill>
              <a:prstDash val="solid"/>
              <a:headEnd type="none" w="med" len="med"/>
              <a:tailEnd type="triangle"/>
            </a:ln>
            <a:effectLst/>
          </p:spPr>
          <p:txBody>
            <a:bodyPr lIns="75194" tIns="37598" rIns="75194" bIns="37598" rtlCol="0" anchor="ctr"/>
            <a:lstStyle/>
            <a:p>
              <a:pPr algn="ctr" defTabSz="1242953">
                <a:defRPr/>
              </a:pPr>
              <a:endParaRPr lang="en-US" sz="2754" kern="0">
                <a:solidFill>
                  <a:srgbClr val="292929"/>
                </a:solidFill>
                <a:latin typeface="Segoe UI"/>
              </a:endParaRPr>
            </a:p>
          </p:txBody>
        </p:sp>
        <p:cxnSp>
          <p:nvCxnSpPr>
            <p:cNvPr id="46" name="Straight Connector 45">
              <a:extLst>
                <a:ext uri="{FF2B5EF4-FFF2-40B4-BE49-F238E27FC236}">
                  <a16:creationId xmlns:a16="http://schemas.microsoft.com/office/drawing/2014/main" id="{6D162B8A-4C86-4B87-95A1-C21D98DE01CD}"/>
                </a:ext>
              </a:extLst>
            </p:cNvPr>
            <p:cNvCxnSpPr>
              <a:cxnSpLocks/>
            </p:cNvCxnSpPr>
            <p:nvPr/>
          </p:nvCxnSpPr>
          <p:spPr bwMode="auto">
            <a:xfrm>
              <a:off x="2993282" y="5651670"/>
              <a:ext cx="2618036" cy="21289"/>
            </a:xfrm>
            <a:prstGeom prst="line">
              <a:avLst/>
            </a:prstGeom>
            <a:noFill/>
            <a:ln w="19050" cap="flat" cmpd="sng" algn="ctr">
              <a:solidFill>
                <a:srgbClr val="292929"/>
              </a:solidFill>
              <a:prstDash val="sysDot"/>
              <a:headEnd type="none" w="med" len="med"/>
              <a:tailEnd type="none" w="med" len="med"/>
            </a:ln>
            <a:effectLst/>
          </p:spPr>
        </p:cxnSp>
        <p:cxnSp>
          <p:nvCxnSpPr>
            <p:cNvPr id="47" name="Straight Connector 46">
              <a:extLst>
                <a:ext uri="{FF2B5EF4-FFF2-40B4-BE49-F238E27FC236}">
                  <a16:creationId xmlns:a16="http://schemas.microsoft.com/office/drawing/2014/main" id="{7B27DA6E-9183-47D0-8D8D-11A9E977A825}"/>
                </a:ext>
              </a:extLst>
            </p:cNvPr>
            <p:cNvCxnSpPr>
              <a:cxnSpLocks/>
            </p:cNvCxnSpPr>
            <p:nvPr/>
          </p:nvCxnSpPr>
          <p:spPr>
            <a:xfrm>
              <a:off x="2288293" y="3740103"/>
              <a:ext cx="6371660" cy="0"/>
            </a:xfrm>
            <a:prstGeom prst="line">
              <a:avLst/>
            </a:prstGeom>
            <a:noFill/>
            <a:ln w="9525" cap="flat" cmpd="sng" algn="ctr">
              <a:solidFill>
                <a:srgbClr val="0071BC">
                  <a:lumMod val="40000"/>
                  <a:lumOff val="60000"/>
                </a:srgbClr>
              </a:solidFill>
              <a:prstDash val="solid"/>
            </a:ln>
            <a:effectLst/>
          </p:spPr>
        </p:cxnSp>
        <p:cxnSp>
          <p:nvCxnSpPr>
            <p:cNvPr id="48" name="Straight Connector 47">
              <a:extLst>
                <a:ext uri="{FF2B5EF4-FFF2-40B4-BE49-F238E27FC236}">
                  <a16:creationId xmlns:a16="http://schemas.microsoft.com/office/drawing/2014/main" id="{79187E3D-AC1C-49DD-9E20-066D891BECF7}"/>
                </a:ext>
              </a:extLst>
            </p:cNvPr>
            <p:cNvCxnSpPr>
              <a:cxnSpLocks/>
            </p:cNvCxnSpPr>
            <p:nvPr/>
          </p:nvCxnSpPr>
          <p:spPr>
            <a:xfrm>
              <a:off x="2288293" y="4980296"/>
              <a:ext cx="6371660" cy="0"/>
            </a:xfrm>
            <a:prstGeom prst="line">
              <a:avLst/>
            </a:prstGeom>
            <a:noFill/>
            <a:ln w="9525" cap="flat" cmpd="sng" algn="ctr">
              <a:solidFill>
                <a:srgbClr val="0071BC">
                  <a:lumMod val="40000"/>
                  <a:lumOff val="60000"/>
                </a:srgbClr>
              </a:solidFill>
              <a:prstDash val="solid"/>
            </a:ln>
            <a:effectLst/>
          </p:spPr>
        </p:cxnSp>
        <p:cxnSp>
          <p:nvCxnSpPr>
            <p:cNvPr id="49" name="Straight Connector 48">
              <a:extLst>
                <a:ext uri="{FF2B5EF4-FFF2-40B4-BE49-F238E27FC236}">
                  <a16:creationId xmlns:a16="http://schemas.microsoft.com/office/drawing/2014/main" id="{28C7AB2B-4C0F-46A3-B7FD-18FAD4CAA43D}"/>
                </a:ext>
              </a:extLst>
            </p:cNvPr>
            <p:cNvCxnSpPr>
              <a:cxnSpLocks/>
            </p:cNvCxnSpPr>
            <p:nvPr/>
          </p:nvCxnSpPr>
          <p:spPr>
            <a:xfrm>
              <a:off x="2288293" y="2516406"/>
              <a:ext cx="6371660" cy="0"/>
            </a:xfrm>
            <a:prstGeom prst="line">
              <a:avLst/>
            </a:prstGeom>
            <a:noFill/>
            <a:ln w="9525" cap="flat" cmpd="sng" algn="ctr">
              <a:solidFill>
                <a:srgbClr val="0071BC">
                  <a:lumMod val="40000"/>
                  <a:lumOff val="60000"/>
                </a:srgbClr>
              </a:solidFill>
              <a:prstDash val="solid"/>
            </a:ln>
            <a:effectLst/>
          </p:spPr>
        </p:cxnSp>
      </p:grpSp>
    </p:spTree>
    <p:extLst>
      <p:ext uri="{BB962C8B-B14F-4D97-AF65-F5344CB8AC3E}">
        <p14:creationId xmlns:p14="http://schemas.microsoft.com/office/powerpoint/2010/main" val="32352700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 name="Rectangle 325">
            <a:extLst>
              <a:ext uri="{FF2B5EF4-FFF2-40B4-BE49-F238E27FC236}">
                <a16:creationId xmlns:a16="http://schemas.microsoft.com/office/drawing/2014/main" id="{5C5AB348-E75C-41D2-A64E-59D4AC7A8835}"/>
              </a:ext>
            </a:extLst>
          </p:cNvPr>
          <p:cNvSpPr/>
          <p:nvPr/>
        </p:nvSpPr>
        <p:spPr>
          <a:xfrm>
            <a:off x="5588318" y="1629167"/>
            <a:ext cx="1386106" cy="374910"/>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On-premises</a:t>
            </a:r>
          </a:p>
        </p:txBody>
      </p:sp>
      <p:sp>
        <p:nvSpPr>
          <p:cNvPr id="328" name="Rectangle 327">
            <a:extLst>
              <a:ext uri="{FF2B5EF4-FFF2-40B4-BE49-F238E27FC236}">
                <a16:creationId xmlns:a16="http://schemas.microsoft.com/office/drawing/2014/main" id="{37742351-D24E-44A2-8373-6FFE4F9F3BEF}"/>
              </a:ext>
            </a:extLst>
          </p:cNvPr>
          <p:cNvSpPr/>
          <p:nvPr/>
        </p:nvSpPr>
        <p:spPr>
          <a:xfrm>
            <a:off x="5487146" y="5587136"/>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center Management</a:t>
            </a:r>
          </a:p>
        </p:txBody>
      </p:sp>
      <p:sp>
        <p:nvSpPr>
          <p:cNvPr id="329" name="Rectangle 328">
            <a:extLst>
              <a:ext uri="{FF2B5EF4-FFF2-40B4-BE49-F238E27FC236}">
                <a16:creationId xmlns:a16="http://schemas.microsoft.com/office/drawing/2014/main" id="{8023C85F-B2E6-4F6F-B58D-3939853AB56F}"/>
              </a:ext>
            </a:extLst>
          </p:cNvPr>
          <p:cNvSpPr/>
          <p:nvPr/>
        </p:nvSpPr>
        <p:spPr>
          <a:xfrm>
            <a:off x="5487146" y="5108375"/>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ardware</a:t>
            </a:r>
          </a:p>
        </p:txBody>
      </p:sp>
      <p:sp>
        <p:nvSpPr>
          <p:cNvPr id="331" name="Rectangle 330">
            <a:extLst>
              <a:ext uri="{FF2B5EF4-FFF2-40B4-BE49-F238E27FC236}">
                <a16:creationId xmlns:a16="http://schemas.microsoft.com/office/drawing/2014/main" id="{27159407-87B6-405D-B087-B703B7E178C2}"/>
              </a:ext>
            </a:extLst>
          </p:cNvPr>
          <p:cNvSpPr/>
          <p:nvPr/>
        </p:nvSpPr>
        <p:spPr>
          <a:xfrm>
            <a:off x="5487146" y="4153281"/>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 provision /patching</a:t>
            </a:r>
          </a:p>
        </p:txBody>
      </p:sp>
      <p:sp>
        <p:nvSpPr>
          <p:cNvPr id="332" name="Rectangle 331">
            <a:extLst>
              <a:ext uri="{FF2B5EF4-FFF2-40B4-BE49-F238E27FC236}">
                <a16:creationId xmlns:a16="http://schemas.microsoft.com/office/drawing/2014/main" id="{EC612568-4108-4DFE-85D6-10572AD2EDF8}"/>
              </a:ext>
            </a:extLst>
          </p:cNvPr>
          <p:cNvSpPr/>
          <p:nvPr/>
        </p:nvSpPr>
        <p:spPr>
          <a:xfrm>
            <a:off x="5487146" y="3674518"/>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33" name="Rectangle 332">
            <a:extLst>
              <a:ext uri="{FF2B5EF4-FFF2-40B4-BE49-F238E27FC236}">
                <a16:creationId xmlns:a16="http://schemas.microsoft.com/office/drawing/2014/main" id="{04B73E38-D3C9-4452-B1CC-D3AAC1AB0EF0}"/>
              </a:ext>
            </a:extLst>
          </p:cNvPr>
          <p:cNvSpPr/>
          <p:nvPr/>
        </p:nvSpPr>
        <p:spPr>
          <a:xfrm>
            <a:off x="5487146" y="4632044"/>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Virtualization</a:t>
            </a:r>
          </a:p>
        </p:txBody>
      </p:sp>
      <p:sp>
        <p:nvSpPr>
          <p:cNvPr id="334" name="Rectangle 333">
            <a:extLst>
              <a:ext uri="{FF2B5EF4-FFF2-40B4-BE49-F238E27FC236}">
                <a16:creationId xmlns:a16="http://schemas.microsoft.com/office/drawing/2014/main" id="{4FF62C77-3304-4315-951A-FC0BC6F04647}"/>
              </a:ext>
            </a:extLst>
          </p:cNvPr>
          <p:cNvSpPr/>
          <p:nvPr/>
        </p:nvSpPr>
        <p:spPr>
          <a:xfrm>
            <a:off x="5487146" y="2716992"/>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35" name="Rectangle 334">
            <a:extLst>
              <a:ext uri="{FF2B5EF4-FFF2-40B4-BE49-F238E27FC236}">
                <a16:creationId xmlns:a16="http://schemas.microsoft.com/office/drawing/2014/main" id="{375D6CF8-B702-4FD6-98FB-E85A57AA33CD}"/>
              </a:ext>
            </a:extLst>
          </p:cNvPr>
          <p:cNvSpPr>
            <a:spLocks/>
          </p:cNvSpPr>
          <p:nvPr/>
        </p:nvSpPr>
        <p:spPr>
          <a:xfrm>
            <a:off x="5487146" y="2238228"/>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36" name="Rectangle 335">
            <a:extLst>
              <a:ext uri="{FF2B5EF4-FFF2-40B4-BE49-F238E27FC236}">
                <a16:creationId xmlns:a16="http://schemas.microsoft.com/office/drawing/2014/main" id="{28F17679-1E0C-45A8-90BE-9A10311ECA20}"/>
              </a:ext>
            </a:extLst>
          </p:cNvPr>
          <p:cNvSpPr/>
          <p:nvPr/>
        </p:nvSpPr>
        <p:spPr>
          <a:xfrm>
            <a:off x="5487146" y="3195755"/>
            <a:ext cx="1662436"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102" name="Rectangle 101">
            <a:extLst>
              <a:ext uri="{FF2B5EF4-FFF2-40B4-BE49-F238E27FC236}">
                <a16:creationId xmlns:a16="http://schemas.microsoft.com/office/drawing/2014/main" id="{40FDFF73-BE2C-4747-A2F3-A1C19787D5F0}"/>
              </a:ext>
            </a:extLst>
          </p:cNvPr>
          <p:cNvSpPr/>
          <p:nvPr/>
        </p:nvSpPr>
        <p:spPr>
          <a:xfrm>
            <a:off x="5566132" y="6044590"/>
            <a:ext cx="1504467" cy="5134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SQL Server 2017/2019</a:t>
            </a:r>
          </a:p>
        </p:txBody>
      </p:sp>
      <p:sp>
        <p:nvSpPr>
          <p:cNvPr id="380" name="Rectangle 379">
            <a:extLst>
              <a:ext uri="{FF2B5EF4-FFF2-40B4-BE49-F238E27FC236}">
                <a16:creationId xmlns:a16="http://schemas.microsoft.com/office/drawing/2014/main" id="{827CD6D7-9ED3-45D4-8883-E33FBC09EC55}"/>
              </a:ext>
            </a:extLst>
          </p:cNvPr>
          <p:cNvSpPr/>
          <p:nvPr/>
        </p:nvSpPr>
        <p:spPr>
          <a:xfrm>
            <a:off x="7758934" y="1629167"/>
            <a:ext cx="1447251" cy="5688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Infrastructure</a:t>
            </a:r>
          </a:p>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88" name="Rectangle 387">
            <a:extLst>
              <a:ext uri="{FF2B5EF4-FFF2-40B4-BE49-F238E27FC236}">
                <a16:creationId xmlns:a16="http://schemas.microsoft.com/office/drawing/2014/main" id="{21288FD3-AB70-4664-9BBA-23D72942366D}"/>
              </a:ext>
            </a:extLst>
          </p:cNvPr>
          <p:cNvSpPr/>
          <p:nvPr/>
        </p:nvSpPr>
        <p:spPr>
          <a:xfrm>
            <a:off x="7651342" y="5585735"/>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89" name="Rectangle 388">
            <a:extLst>
              <a:ext uri="{FF2B5EF4-FFF2-40B4-BE49-F238E27FC236}">
                <a16:creationId xmlns:a16="http://schemas.microsoft.com/office/drawing/2014/main" id="{E62A6D1A-2795-454D-A7FF-1A6572C479A4}"/>
              </a:ext>
            </a:extLst>
          </p:cNvPr>
          <p:cNvSpPr/>
          <p:nvPr/>
        </p:nvSpPr>
        <p:spPr>
          <a:xfrm>
            <a:off x="7651342" y="5106973"/>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91" name="Rectangle 390">
            <a:extLst>
              <a:ext uri="{FF2B5EF4-FFF2-40B4-BE49-F238E27FC236}">
                <a16:creationId xmlns:a16="http://schemas.microsoft.com/office/drawing/2014/main" id="{B0F545D2-DCAE-404F-8814-AE6941FC9960}"/>
              </a:ext>
            </a:extLst>
          </p:cNvPr>
          <p:cNvSpPr/>
          <p:nvPr/>
        </p:nvSpPr>
        <p:spPr>
          <a:xfrm>
            <a:off x="7651342" y="4630639"/>
            <a:ext cx="166243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83" name="Rectangle 382">
            <a:extLst>
              <a:ext uri="{FF2B5EF4-FFF2-40B4-BE49-F238E27FC236}">
                <a16:creationId xmlns:a16="http://schemas.microsoft.com/office/drawing/2014/main" id="{A45AE035-F041-4091-A37E-B92AF1890848}"/>
              </a:ext>
            </a:extLst>
          </p:cNvPr>
          <p:cNvSpPr/>
          <p:nvPr/>
        </p:nvSpPr>
        <p:spPr>
          <a:xfrm>
            <a:off x="7651342" y="415187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O/S</a:t>
            </a:r>
          </a:p>
        </p:txBody>
      </p:sp>
      <p:sp>
        <p:nvSpPr>
          <p:cNvPr id="384" name="Rectangle 383">
            <a:extLst>
              <a:ext uri="{FF2B5EF4-FFF2-40B4-BE49-F238E27FC236}">
                <a16:creationId xmlns:a16="http://schemas.microsoft.com/office/drawing/2014/main" id="{361E662F-2C71-4845-8F33-7786B24EF9E3}"/>
              </a:ext>
            </a:extLst>
          </p:cNvPr>
          <p:cNvSpPr/>
          <p:nvPr/>
        </p:nvSpPr>
        <p:spPr>
          <a:xfrm>
            <a:off x="7651342" y="367311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base Provision/ Patch/Scaling</a:t>
            </a:r>
          </a:p>
        </p:txBody>
      </p:sp>
      <p:sp>
        <p:nvSpPr>
          <p:cNvPr id="385" name="Rectangle 384">
            <a:extLst>
              <a:ext uri="{FF2B5EF4-FFF2-40B4-BE49-F238E27FC236}">
                <a16:creationId xmlns:a16="http://schemas.microsoft.com/office/drawing/2014/main" id="{CA516A82-DE11-4409-B2C7-D295969291D1}"/>
              </a:ext>
            </a:extLst>
          </p:cNvPr>
          <p:cNvSpPr/>
          <p:nvPr/>
        </p:nvSpPr>
        <p:spPr>
          <a:xfrm>
            <a:off x="7651342" y="2715590"/>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86" name="Rectangle 385">
            <a:extLst>
              <a:ext uri="{FF2B5EF4-FFF2-40B4-BE49-F238E27FC236}">
                <a16:creationId xmlns:a16="http://schemas.microsoft.com/office/drawing/2014/main" id="{2942E14C-C3D7-4EAE-BFC9-CBF439361005}"/>
              </a:ext>
            </a:extLst>
          </p:cNvPr>
          <p:cNvSpPr>
            <a:spLocks/>
          </p:cNvSpPr>
          <p:nvPr/>
        </p:nvSpPr>
        <p:spPr>
          <a:xfrm>
            <a:off x="7651342" y="2236825"/>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87" name="Rectangle 386">
            <a:extLst>
              <a:ext uri="{FF2B5EF4-FFF2-40B4-BE49-F238E27FC236}">
                <a16:creationId xmlns:a16="http://schemas.microsoft.com/office/drawing/2014/main" id="{09484967-9419-40F6-9227-89468593D338}"/>
              </a:ext>
            </a:extLst>
          </p:cNvPr>
          <p:cNvSpPr/>
          <p:nvPr/>
        </p:nvSpPr>
        <p:spPr>
          <a:xfrm>
            <a:off x="7651342" y="3194351"/>
            <a:ext cx="166243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High availability /DR/Backups</a:t>
            </a:r>
          </a:p>
        </p:txBody>
      </p:sp>
      <p:sp>
        <p:nvSpPr>
          <p:cNvPr id="103" name="Rectangle 102">
            <a:extLst>
              <a:ext uri="{FF2B5EF4-FFF2-40B4-BE49-F238E27FC236}">
                <a16:creationId xmlns:a16="http://schemas.microsoft.com/office/drawing/2014/main" id="{BA6313E0-AA7E-43F7-845E-C5345C1EF189}"/>
              </a:ext>
            </a:extLst>
          </p:cNvPr>
          <p:cNvSpPr/>
          <p:nvPr/>
        </p:nvSpPr>
        <p:spPr>
          <a:xfrm>
            <a:off x="7730327" y="6044590"/>
            <a:ext cx="1504467" cy="347185"/>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zure SQL VMs</a:t>
            </a:r>
          </a:p>
        </p:txBody>
      </p:sp>
      <p:sp>
        <p:nvSpPr>
          <p:cNvPr id="338" name="Rectangle 337">
            <a:extLst>
              <a:ext uri="{FF2B5EF4-FFF2-40B4-BE49-F238E27FC236}">
                <a16:creationId xmlns:a16="http://schemas.microsoft.com/office/drawing/2014/main" id="{E6859764-545D-42FD-AFBC-6DB61D372D3D}"/>
              </a:ext>
            </a:extLst>
          </p:cNvPr>
          <p:cNvSpPr/>
          <p:nvPr/>
        </p:nvSpPr>
        <p:spPr>
          <a:xfrm>
            <a:off x="10020246" y="1629167"/>
            <a:ext cx="1346129" cy="568809"/>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Platform</a:t>
            </a:r>
          </a:p>
          <a:p>
            <a:pPr marL="0" lvl="1" algn="ctr" defTabSz="1217996" fontAlgn="base">
              <a:lnSpc>
                <a:spcPct val="90000"/>
              </a:lnSpc>
              <a:defRPr/>
            </a:pPr>
            <a:r>
              <a:rPr lang="en-US" sz="1400" dirty="0">
                <a:solidFill>
                  <a:schemeClr val="tx1"/>
                </a:solidFill>
                <a:latin typeface="Segoe UI Semibold" panose="020B0702040204020203" pitchFamily="34" charset="0"/>
                <a:ea typeface="Kozuka Gothic Pro R" pitchFamily="34" charset="-128"/>
                <a:cs typeface="Segoe UI Semibold" panose="020B0702040204020203" pitchFamily="34" charset="0"/>
              </a:rPr>
              <a:t>(as a Service)</a:t>
            </a:r>
          </a:p>
        </p:txBody>
      </p:sp>
      <p:sp>
        <p:nvSpPr>
          <p:cNvPr id="354" name="Rectangle 353">
            <a:extLst>
              <a:ext uri="{FF2B5EF4-FFF2-40B4-BE49-F238E27FC236}">
                <a16:creationId xmlns:a16="http://schemas.microsoft.com/office/drawing/2014/main" id="{C6889EDB-B547-4894-9E68-1325B12A3152}"/>
              </a:ext>
            </a:extLst>
          </p:cNvPr>
          <p:cNvSpPr/>
          <p:nvPr/>
        </p:nvSpPr>
        <p:spPr>
          <a:xfrm>
            <a:off x="9889522" y="2726611"/>
            <a:ext cx="160757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Data</a:t>
            </a:r>
          </a:p>
        </p:txBody>
      </p:sp>
      <p:sp>
        <p:nvSpPr>
          <p:cNvPr id="355" name="Rectangle 354">
            <a:extLst>
              <a:ext uri="{FF2B5EF4-FFF2-40B4-BE49-F238E27FC236}">
                <a16:creationId xmlns:a16="http://schemas.microsoft.com/office/drawing/2014/main" id="{737440F1-687D-4B3C-A94C-BAC0462B96B7}"/>
              </a:ext>
            </a:extLst>
          </p:cNvPr>
          <p:cNvSpPr>
            <a:spLocks/>
          </p:cNvSpPr>
          <p:nvPr/>
        </p:nvSpPr>
        <p:spPr>
          <a:xfrm>
            <a:off x="9889522" y="2247848"/>
            <a:ext cx="1607578" cy="435240"/>
          </a:xfrm>
          <a:prstGeom prst="rect">
            <a:avLst/>
          </a:prstGeom>
          <a:solidFill>
            <a:schemeClr val="tx2"/>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FFFFFF"/>
                </a:solidFill>
                <a:latin typeface="Segoe UI"/>
                <a:ea typeface="Segoe UI" pitchFamily="34" charset="0"/>
                <a:cs typeface="Segoe UI" pitchFamily="34" charset="0"/>
              </a:rPr>
              <a:t>Applications</a:t>
            </a:r>
          </a:p>
        </p:txBody>
      </p:sp>
      <p:sp>
        <p:nvSpPr>
          <p:cNvPr id="347" name="Rectangle 346">
            <a:extLst>
              <a:ext uri="{FF2B5EF4-FFF2-40B4-BE49-F238E27FC236}">
                <a16:creationId xmlns:a16="http://schemas.microsoft.com/office/drawing/2014/main" id="{8A24D846-46BE-4D34-975B-24B0D4FF7652}"/>
              </a:ext>
            </a:extLst>
          </p:cNvPr>
          <p:cNvSpPr/>
          <p:nvPr/>
        </p:nvSpPr>
        <p:spPr>
          <a:xfrm>
            <a:off x="9889522" y="5587134"/>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center Management</a:t>
            </a:r>
          </a:p>
        </p:txBody>
      </p:sp>
      <p:sp>
        <p:nvSpPr>
          <p:cNvPr id="348" name="Rectangle 347">
            <a:extLst>
              <a:ext uri="{FF2B5EF4-FFF2-40B4-BE49-F238E27FC236}">
                <a16:creationId xmlns:a16="http://schemas.microsoft.com/office/drawing/2014/main" id="{94A22BD9-5258-4FD2-AAB9-6B1824A25480}"/>
              </a:ext>
            </a:extLst>
          </p:cNvPr>
          <p:cNvSpPr/>
          <p:nvPr/>
        </p:nvSpPr>
        <p:spPr>
          <a:xfrm>
            <a:off x="9889522" y="5108371"/>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ardware</a:t>
            </a:r>
          </a:p>
        </p:txBody>
      </p:sp>
      <p:sp>
        <p:nvSpPr>
          <p:cNvPr id="350" name="Rectangle 349">
            <a:extLst>
              <a:ext uri="{FF2B5EF4-FFF2-40B4-BE49-F238E27FC236}">
                <a16:creationId xmlns:a16="http://schemas.microsoft.com/office/drawing/2014/main" id="{4BE8E2AA-3D9E-4D68-BD88-5E9D1E577D24}"/>
              </a:ext>
            </a:extLst>
          </p:cNvPr>
          <p:cNvSpPr/>
          <p:nvPr/>
        </p:nvSpPr>
        <p:spPr>
          <a:xfrm>
            <a:off x="9889522" y="4641663"/>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Virtualization</a:t>
            </a:r>
          </a:p>
        </p:txBody>
      </p:sp>
      <p:sp>
        <p:nvSpPr>
          <p:cNvPr id="351" name="Rectangle 350">
            <a:extLst>
              <a:ext uri="{FF2B5EF4-FFF2-40B4-BE49-F238E27FC236}">
                <a16:creationId xmlns:a16="http://schemas.microsoft.com/office/drawing/2014/main" id="{7EC59310-BA56-4726-ADD6-65D1F8701C91}"/>
              </a:ext>
            </a:extLst>
          </p:cNvPr>
          <p:cNvSpPr/>
          <p:nvPr/>
        </p:nvSpPr>
        <p:spPr>
          <a:xfrm>
            <a:off x="9889522" y="4162900"/>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O/S</a:t>
            </a:r>
          </a:p>
        </p:txBody>
      </p:sp>
      <p:sp>
        <p:nvSpPr>
          <p:cNvPr id="352" name="Rectangle 351">
            <a:extLst>
              <a:ext uri="{FF2B5EF4-FFF2-40B4-BE49-F238E27FC236}">
                <a16:creationId xmlns:a16="http://schemas.microsoft.com/office/drawing/2014/main" id="{8286D5EE-50B8-48CB-A9AB-65FCB2A2A3E6}"/>
              </a:ext>
            </a:extLst>
          </p:cNvPr>
          <p:cNvSpPr/>
          <p:nvPr/>
        </p:nvSpPr>
        <p:spPr>
          <a:xfrm>
            <a:off x="9889522" y="3684138"/>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Database Provision/ Patch/Scaling</a:t>
            </a:r>
          </a:p>
        </p:txBody>
      </p:sp>
      <p:sp>
        <p:nvSpPr>
          <p:cNvPr id="353" name="Rectangle 352">
            <a:extLst>
              <a:ext uri="{FF2B5EF4-FFF2-40B4-BE49-F238E27FC236}">
                <a16:creationId xmlns:a16="http://schemas.microsoft.com/office/drawing/2014/main" id="{D66B5819-4074-4BA9-8B0A-8C9F95B95B01}"/>
              </a:ext>
            </a:extLst>
          </p:cNvPr>
          <p:cNvSpPr/>
          <p:nvPr/>
        </p:nvSpPr>
        <p:spPr>
          <a:xfrm>
            <a:off x="9889522" y="3205374"/>
            <a:ext cx="1607578" cy="435240"/>
          </a:xfrm>
          <a:prstGeom prst="rect">
            <a:avLst/>
          </a:prstGeom>
          <a:solidFill>
            <a:srgbClr val="50E6FF"/>
          </a:solidFill>
          <a:ln w="9525" cap="flat" cmpd="sng" algn="ctr">
            <a:noFill/>
            <a:prstDash val="solid"/>
          </a:ln>
          <a:effectLst/>
        </p:spPr>
        <p:txBody>
          <a:bodyPr lIns="143407" tIns="89630" rIns="143407" bIns="89630" rtlCol="0" anchor="ctr" anchorCtr="0">
            <a:noAutofit/>
          </a:bodyPr>
          <a:lstStyle/>
          <a:p>
            <a:pPr algn="ctr" defTabSz="1218096">
              <a:defRPr/>
            </a:pPr>
            <a:r>
              <a:rPr lang="en-US" sz="1100" kern="0" dirty="0">
                <a:solidFill>
                  <a:srgbClr val="505050"/>
                </a:solidFill>
                <a:latin typeface="Segoe UI"/>
                <a:ea typeface="Segoe UI" pitchFamily="34" charset="0"/>
                <a:cs typeface="Segoe UI" pitchFamily="34" charset="0"/>
              </a:rPr>
              <a:t>High Availability/ DR/Backups</a:t>
            </a:r>
          </a:p>
        </p:txBody>
      </p:sp>
      <p:sp>
        <p:nvSpPr>
          <p:cNvPr id="104" name="Rectangle 103">
            <a:extLst>
              <a:ext uri="{FF2B5EF4-FFF2-40B4-BE49-F238E27FC236}">
                <a16:creationId xmlns:a16="http://schemas.microsoft.com/office/drawing/2014/main" id="{32C8AE07-695C-456F-BB1E-1CCE6E0F787E}"/>
              </a:ext>
            </a:extLst>
          </p:cNvPr>
          <p:cNvSpPr/>
          <p:nvPr/>
        </p:nvSpPr>
        <p:spPr>
          <a:xfrm>
            <a:off x="9847236" y="6044590"/>
            <a:ext cx="1746196" cy="369367"/>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spcBef>
                <a:spcPts val="600"/>
              </a:spcBef>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Azure SQL Database</a:t>
            </a:r>
          </a:p>
        </p:txBody>
      </p:sp>
      <p:sp>
        <p:nvSpPr>
          <p:cNvPr id="106" name="Rectangle 105">
            <a:extLst>
              <a:ext uri="{FF2B5EF4-FFF2-40B4-BE49-F238E27FC236}">
                <a16:creationId xmlns:a16="http://schemas.microsoft.com/office/drawing/2014/main" id="{4E4CAA2D-2060-4CEE-9035-CD518219275B}"/>
              </a:ext>
            </a:extLst>
          </p:cNvPr>
          <p:cNvSpPr/>
          <p:nvPr/>
        </p:nvSpPr>
        <p:spPr>
          <a:xfrm>
            <a:off x="480762" y="1802759"/>
            <a:ext cx="4323047" cy="41549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spAutoFit/>
          </a:bodyPr>
          <a:lstStyle/>
          <a:p>
            <a:pPr defTabSz="914225">
              <a:defRPr/>
            </a:pPr>
            <a:r>
              <a:rPr lang="en-US" sz="1600" dirty="0">
                <a:solidFill>
                  <a:srgbClr val="0078D7"/>
                </a:solidFill>
                <a:latin typeface="Segoe UI Semibold"/>
              </a:rPr>
              <a:t>On-premises costs</a:t>
            </a:r>
            <a:r>
              <a:rPr lang="en-US" sz="1600" dirty="0">
                <a:solidFill>
                  <a:srgbClr val="505050">
                    <a:lumMod val="50000"/>
                  </a:srgbClr>
                </a:solidFill>
                <a:latin typeface="Segoe UI Semibold"/>
              </a:rPr>
              <a:t> </a:t>
            </a:r>
            <a:r>
              <a:rPr lang="en-US" sz="1600" dirty="0">
                <a:solidFill>
                  <a:srgbClr val="505050">
                    <a:lumMod val="50000"/>
                  </a:srgbClr>
                </a:solidFill>
                <a:latin typeface="Segoe UI"/>
              </a:rPr>
              <a:t>tend to be driven by hardware and data center management costs</a:t>
            </a:r>
          </a:p>
          <a:p>
            <a:pPr defTabSz="914225">
              <a:spcBef>
                <a:spcPts val="1200"/>
              </a:spcBef>
              <a:defRPr/>
            </a:pPr>
            <a:r>
              <a:rPr lang="en-US" sz="1600" b="1" dirty="0">
                <a:solidFill>
                  <a:srgbClr val="0078D7"/>
                </a:solidFill>
                <a:latin typeface="Segoe UI Semibold"/>
              </a:rPr>
              <a:t>Infrastructure-as-a-Service </a:t>
            </a:r>
            <a:r>
              <a:rPr lang="en-US" sz="1600" dirty="0">
                <a:solidFill>
                  <a:srgbClr val="505050">
                    <a:lumMod val="50000"/>
                  </a:srgbClr>
                </a:solidFill>
                <a:latin typeface="Segoe UI"/>
              </a:rPr>
              <a:t>reduces cost categories related to data center and compute</a:t>
            </a:r>
          </a:p>
          <a:p>
            <a:pPr defTabSz="914225">
              <a:spcBef>
                <a:spcPts val="1200"/>
              </a:spcBef>
              <a:defRPr/>
            </a:pPr>
            <a:r>
              <a:rPr lang="en-US" sz="1600" b="1" dirty="0">
                <a:solidFill>
                  <a:srgbClr val="0078D7"/>
                </a:solidFill>
                <a:latin typeface="Segoe UI"/>
              </a:rPr>
              <a:t>Platform-as-a-Service </a:t>
            </a:r>
            <a:r>
              <a:rPr lang="en-US" sz="1600" dirty="0">
                <a:solidFill>
                  <a:srgbClr val="505050">
                    <a:lumMod val="50000"/>
                  </a:srgbClr>
                </a:solidFill>
                <a:latin typeface="Segoe UI"/>
              </a:rPr>
              <a:t>off-loads customers’ most administrative tasks to Azure, further improving efficiency with machine-learning capabilities for performance and security </a:t>
            </a:r>
          </a:p>
          <a:p>
            <a:pPr marL="285695" indent="-285695" defTabSz="914225">
              <a:spcBef>
                <a:spcPts val="1200"/>
              </a:spcBef>
              <a:buFont typeface="Arial" panose="020B0604020202020204" pitchFamily="34" charset="0"/>
              <a:buChar char="•"/>
              <a:defRPr/>
            </a:pPr>
            <a:r>
              <a:rPr lang="en-US" sz="1600" b="1" dirty="0">
                <a:solidFill>
                  <a:srgbClr val="505050">
                    <a:lumMod val="50000"/>
                  </a:srgbClr>
                </a:solidFill>
                <a:latin typeface="Segoe UI"/>
              </a:rPr>
              <a:t>Managed Instance</a:t>
            </a:r>
            <a:r>
              <a:rPr lang="en-US" sz="1600" dirty="0">
                <a:solidFill>
                  <a:srgbClr val="505050">
                    <a:lumMod val="50000"/>
                  </a:srgbClr>
                </a:solidFill>
                <a:latin typeface="Segoe UI"/>
              </a:rPr>
              <a:t>: instance-level deployment for lift-shift existing apps to Azure, fully backward compatible</a:t>
            </a:r>
          </a:p>
          <a:p>
            <a:pPr marL="285695" indent="-285695" defTabSz="914225">
              <a:spcBef>
                <a:spcPts val="1200"/>
              </a:spcBef>
              <a:buFont typeface="Arial" panose="020B0604020202020204" pitchFamily="34" charset="0"/>
              <a:buChar char="•"/>
              <a:defRPr/>
            </a:pPr>
            <a:r>
              <a:rPr lang="en-US" sz="1600" b="1" dirty="0">
                <a:solidFill>
                  <a:srgbClr val="505050">
                    <a:lumMod val="50000"/>
                  </a:srgbClr>
                </a:solidFill>
                <a:latin typeface="Segoe UI"/>
              </a:rPr>
              <a:t>Single database</a:t>
            </a:r>
            <a:r>
              <a:rPr lang="en-US" sz="1600" dirty="0">
                <a:solidFill>
                  <a:srgbClr val="505050">
                    <a:lumMod val="50000"/>
                  </a:srgbClr>
                </a:solidFill>
                <a:latin typeface="Segoe UI"/>
              </a:rPr>
              <a:t>: database-level deployment for new apps</a:t>
            </a:r>
          </a:p>
        </p:txBody>
      </p:sp>
      <p:sp>
        <p:nvSpPr>
          <p:cNvPr id="2" name="Title 1">
            <a:extLst>
              <a:ext uri="{FF2B5EF4-FFF2-40B4-BE49-F238E27FC236}">
                <a16:creationId xmlns:a16="http://schemas.microsoft.com/office/drawing/2014/main" id="{7FD8E7F3-E6CB-4721-8A50-7810E5B7FCEA}"/>
              </a:ext>
            </a:extLst>
          </p:cNvPr>
          <p:cNvSpPr>
            <a:spLocks noGrp="1"/>
          </p:cNvSpPr>
          <p:nvPr>
            <p:ph type="title"/>
          </p:nvPr>
        </p:nvSpPr>
        <p:spPr>
          <a:xfrm>
            <a:off x="455994" y="300001"/>
            <a:ext cx="11306469" cy="461665"/>
          </a:xfrm>
        </p:spPr>
        <p:txBody>
          <a:bodyPr/>
          <a:lstStyle/>
          <a:p>
            <a:r>
              <a:rPr lang="en-US" dirty="0"/>
              <a:t>Hosting Models</a:t>
            </a:r>
          </a:p>
        </p:txBody>
      </p:sp>
      <p:grpSp>
        <p:nvGrpSpPr>
          <p:cNvPr id="3" name="Group 2">
            <a:extLst>
              <a:ext uri="{FF2B5EF4-FFF2-40B4-BE49-F238E27FC236}">
                <a16:creationId xmlns:a16="http://schemas.microsoft.com/office/drawing/2014/main" id="{AF938559-552A-4B82-AFF1-5C21832731B7}"/>
              </a:ext>
            </a:extLst>
          </p:cNvPr>
          <p:cNvGrpSpPr/>
          <p:nvPr/>
        </p:nvGrpSpPr>
        <p:grpSpPr>
          <a:xfrm>
            <a:off x="8284124" y="228486"/>
            <a:ext cx="3309308" cy="385861"/>
            <a:chOff x="5733892" y="458689"/>
            <a:chExt cx="3822809" cy="286191"/>
          </a:xfrm>
        </p:grpSpPr>
        <p:sp>
          <p:nvSpPr>
            <p:cNvPr id="148" name="TextBox 147">
              <a:extLst>
                <a:ext uri="{FF2B5EF4-FFF2-40B4-BE49-F238E27FC236}">
                  <a16:creationId xmlns:a16="http://schemas.microsoft.com/office/drawing/2014/main" id="{11FB6D9E-315A-4FB3-B9E0-86C72DD17414}"/>
                </a:ext>
              </a:extLst>
            </p:cNvPr>
            <p:cNvSpPr txBox="1"/>
            <p:nvPr/>
          </p:nvSpPr>
          <p:spPr>
            <a:xfrm>
              <a:off x="7684830" y="458689"/>
              <a:ext cx="1871871" cy="286191"/>
            </a:xfrm>
            <a:prstGeom prst="rect">
              <a:avLst/>
            </a:prstGeom>
            <a:solidFill>
              <a:srgbClr val="50E6FF"/>
            </a:solidFill>
            <a:ln>
              <a:noFill/>
            </a:ln>
          </p:spPr>
          <p:txBody>
            <a:bodyPr wrap="square" lIns="91427" tIns="73141" rIns="91427" bIns="73141" rtlCol="0" anchor="ctr" anchorCtr="0">
              <a:noAutofit/>
            </a:bodyPr>
            <a:lstStyle/>
            <a:p>
              <a:pPr algn="ctr" defTabSz="914225">
                <a:lnSpc>
                  <a:spcPct val="90000"/>
                </a:lnSpc>
                <a:spcAft>
                  <a:spcPts val="600"/>
                </a:spcAft>
                <a:defRPr/>
              </a:pPr>
              <a:r>
                <a:rPr lang="en-US" sz="1000" dirty="0">
                  <a:latin typeface="Segoe UI"/>
                </a:rPr>
                <a:t>Managed by Microsoft</a:t>
              </a:r>
            </a:p>
          </p:txBody>
        </p:sp>
        <p:sp>
          <p:nvSpPr>
            <p:cNvPr id="150" name="TextBox 149">
              <a:extLst>
                <a:ext uri="{FF2B5EF4-FFF2-40B4-BE49-F238E27FC236}">
                  <a16:creationId xmlns:a16="http://schemas.microsoft.com/office/drawing/2014/main" id="{893876BE-CA30-42B8-8340-6DDD1DBA559D}"/>
                </a:ext>
              </a:extLst>
            </p:cNvPr>
            <p:cNvSpPr txBox="1"/>
            <p:nvPr/>
          </p:nvSpPr>
          <p:spPr>
            <a:xfrm>
              <a:off x="5733892" y="458689"/>
              <a:ext cx="1871871" cy="286191"/>
            </a:xfrm>
            <a:prstGeom prst="rect">
              <a:avLst/>
            </a:prstGeom>
            <a:solidFill>
              <a:schemeClr val="tx2"/>
            </a:solidFill>
            <a:ln w="9525" cap="flat" cmpd="sng" algn="ctr">
              <a:noFill/>
              <a:prstDash val="solid"/>
            </a:ln>
            <a:effectLst/>
          </p:spPr>
          <p:txBody>
            <a:bodyPr lIns="91440" tIns="89630" rIns="91440" bIns="89630" rtlCol="0" anchor="ctr" anchorCtr="0">
              <a:noAutofit/>
            </a:bodyPr>
            <a:lstStyle>
              <a:defPPr>
                <a:defRPr lang="en-US"/>
              </a:defPPr>
              <a:lvl1pPr algn="ctr" defTabSz="1218096">
                <a:defRPr sz="1100" kern="0">
                  <a:solidFill>
                    <a:srgbClr val="FFFFFF"/>
                  </a:solidFill>
                  <a:latin typeface="Segoe UI"/>
                  <a:ea typeface="Segoe UI" pitchFamily="34" charset="0"/>
                  <a:cs typeface="Segoe UI" pitchFamily="34" charset="0"/>
                </a:defRPr>
              </a:lvl1pPr>
            </a:lstStyle>
            <a:p>
              <a:r>
                <a:rPr lang="en-US" dirty="0"/>
                <a:t>Managed by customer</a:t>
              </a:r>
            </a:p>
          </p:txBody>
        </p:sp>
      </p:grpSp>
      <p:sp>
        <p:nvSpPr>
          <p:cNvPr id="5" name="Rectangle 4">
            <a:extLst>
              <a:ext uri="{FF2B5EF4-FFF2-40B4-BE49-F238E27FC236}">
                <a16:creationId xmlns:a16="http://schemas.microsoft.com/office/drawing/2014/main" id="{4BADD001-4A7C-0BF7-E633-804A6580C36E}"/>
              </a:ext>
            </a:extLst>
          </p:cNvPr>
          <p:cNvSpPr/>
          <p:nvPr/>
        </p:nvSpPr>
        <p:spPr>
          <a:xfrm>
            <a:off x="9825602" y="6301294"/>
            <a:ext cx="1915227" cy="365677"/>
          </a:xfrm>
          <a:prstGeom prst="rect">
            <a:avLst/>
          </a:prstGeom>
          <a:noFill/>
          <a:ln w="9525" cap="flat" cmpd="sng" algn="ctr">
            <a:noFill/>
            <a:prstDash val="solid"/>
          </a:ln>
          <a:effectLst/>
        </p:spPr>
        <p:txBody>
          <a:bodyPr wrap="square" lIns="143407" tIns="89630" rIns="143407" bIns="8963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7996" fontAlgn="base">
              <a:spcBef>
                <a:spcPts val="600"/>
              </a:spcBef>
              <a:defRPr/>
            </a:pPr>
            <a:r>
              <a:rPr lang="en-US" sz="1200" dirty="0">
                <a:solidFill>
                  <a:schemeClr val="tx1"/>
                </a:solidFill>
                <a:latin typeface="Segoe UI Semibold" panose="020B0702040204020203" pitchFamily="34" charset="0"/>
                <a:ea typeface="Kozuka Gothic Pro R" pitchFamily="34" charset="-128"/>
                <a:cs typeface="Segoe UI Semibold" panose="020B0702040204020203" pitchFamily="34" charset="0"/>
              </a:rPr>
              <a:t>SQL Managed Instance</a:t>
            </a:r>
          </a:p>
        </p:txBody>
      </p:sp>
    </p:spTree>
    <p:extLst>
      <p:ext uri="{BB962C8B-B14F-4D97-AF65-F5344CB8AC3E}">
        <p14:creationId xmlns:p14="http://schemas.microsoft.com/office/powerpoint/2010/main" val="38315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__type":"ComplianceItemProperties:#Microsoft.Office.CompliancePolicy.ComplianceData","LastPolicyEvaluatedTimeUtc":"2020-04-30T20:06:08.5536082Z","Rules":{"0c7fbd91-e10c-46cd-b2e3-5bcaeda0676a":{"Actions":{"TagShowPolicyTip":{"ActionName":"TagShowPolicyTip","CodeVersion":"1.0.3.0","LastAppliedTimeUTC":"2020-04-30T20:06:07.2879724Z","Properties":null,"RuleVersion":"0"},"NotifyUser":{"ActionName":"NotifyUser","CodeVersion":"1.0.3.0","LastAppliedTimeUTC":"2020-04-30T20:06:07.2879724Z","Properties":null,"RuleVersion":"0"},"GenerateIncidentReport":{"ActionName":"GenerateIncidentReport","CodeVersion":"1.0.2.0","LastAppliedTimeUTC":"2020-04-30T20:06:08.5223568Z","Properties":null,"RuleVersion":"0"},"TagReporting":{"ActionName":"TagReporting","CodeVersion":"1.00.0002.000","LastAppliedTimeUTC":"2020-04-30T20:06:08.5536082Z","Properties":{},"RuleVersion":"0"}},"Properties":{},"RuleId":"0c7fbd91-e10c-46cd-b2e3-5bcaeda0676a","Scenario":0}},"UniqueId":"b5d10f51-da07-45b6-a24f-694038b9d5f5"}</_ip_UnifiedCompliancePolicyProperties>
    <MediaServiceKeyPoints xmlns="0b15a96f-9efd-4f0c-b199-c53b2a01cb9d" xsi:nil="true"/>
    <_Flow_SignoffStatus xmlns="0b15a96f-9efd-4f0c-b199-c53b2a01cb9d" xsi:nil="true"/>
  </documentManagement>
</p:properties>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BCC33FC-94BB-4B1D-A4C6-D2E6A3A4B1FD}">
  <ds:schemaRefs>
    <ds:schemaRef ds:uri="Strauss.PersonalizationDefinition"/>
  </ds:schemaRefs>
</ds:datastoreItem>
</file>

<file path=customXml/itemProps10.xml><?xml version="1.0" encoding="utf-8"?>
<ds:datastoreItem xmlns:ds="http://schemas.openxmlformats.org/officeDocument/2006/customXml" ds:itemID="{5C84204F-ED18-47D6-9E35-1DC9E3104D09}">
  <ds:schemaRefs>
    <ds:schemaRef ds:uri="Strauss.PersonalizationDefinition"/>
  </ds:schemaRefs>
</ds:datastoreItem>
</file>

<file path=customXml/itemProps11.xml><?xml version="1.0" encoding="utf-8"?>
<ds:datastoreItem xmlns:ds="http://schemas.openxmlformats.org/officeDocument/2006/customXml" ds:itemID="{063798F6-3846-4F81-93ED-5329006DCDFB}">
  <ds:schemaRefs>
    <ds:schemaRef ds:uri="Strauss.PersonalizationDefinition"/>
  </ds:schemaRefs>
</ds:datastoreItem>
</file>

<file path=customXml/itemProps12.xml><?xml version="1.0" encoding="utf-8"?>
<ds:datastoreItem xmlns:ds="http://schemas.openxmlformats.org/officeDocument/2006/customXml" ds:itemID="{7C42A160-080E-4178-8FDB-B5422D4D778A}">
  <ds:schemaRefs>
    <ds:schemaRef ds:uri="Strauss.PersonalizationDefinition"/>
  </ds:schemaRefs>
</ds:datastoreItem>
</file>

<file path=customXml/itemProps13.xml><?xml version="1.0" encoding="utf-8"?>
<ds:datastoreItem xmlns:ds="http://schemas.openxmlformats.org/officeDocument/2006/customXml" ds:itemID="{9CFE9A22-C3CB-45B7-B365-FE59FD6BB66B}">
  <ds:schemaRefs>
    <ds:schemaRef ds:uri="Strauss.PersonalizationDefinition"/>
  </ds:schemaRefs>
</ds:datastoreItem>
</file>

<file path=customXml/itemProps14.xml><?xml version="1.0" encoding="utf-8"?>
<ds:datastoreItem xmlns:ds="http://schemas.openxmlformats.org/officeDocument/2006/customXml" ds:itemID="{1B65D760-CEAB-4E24-B0BE-755F3329E48D}">
  <ds:schemaRefs>
    <ds:schemaRef ds:uri="Strauss.PersonalizationDefinition"/>
  </ds:schemaRefs>
</ds:datastoreItem>
</file>

<file path=customXml/itemProps15.xml><?xml version="1.0" encoding="utf-8"?>
<ds:datastoreItem xmlns:ds="http://schemas.openxmlformats.org/officeDocument/2006/customXml" ds:itemID="{12139F82-FEAD-40F5-87FE-244CAEC929CC}">
  <ds:schemaRefs>
    <ds:schemaRef ds:uri="Strauss.PersonalizationDefinition"/>
  </ds:schemaRefs>
</ds:datastoreItem>
</file>

<file path=customXml/itemProps16.xml><?xml version="1.0" encoding="utf-8"?>
<ds:datastoreItem xmlns:ds="http://schemas.openxmlformats.org/officeDocument/2006/customXml" ds:itemID="{F11D6EDD-F890-4D89-B5D0-C325A3333641}">
  <ds:schemaRefs>
    <ds:schemaRef ds:uri="Strauss.PersonalizationDefinition"/>
  </ds:schemaRefs>
</ds:datastoreItem>
</file>

<file path=customXml/itemProps17.xml><?xml version="1.0" encoding="utf-8"?>
<ds:datastoreItem xmlns:ds="http://schemas.openxmlformats.org/officeDocument/2006/customXml" ds:itemID="{0F8E6891-4BD5-4FBE-AED8-5D164DE7FFD5}">
  <ds:schemaRefs>
    <ds:schemaRef ds:uri="Strauss.PersonalizationDefinition"/>
  </ds:schemaRefs>
</ds:datastoreItem>
</file>

<file path=customXml/itemProps2.xml><?xml version="1.0" encoding="utf-8"?>
<ds:datastoreItem xmlns:ds="http://schemas.openxmlformats.org/officeDocument/2006/customXml" ds:itemID="{75C05EC8-D295-4080-807A-6EA8C339A657}">
  <ds:schemaRefs>
    <ds:schemaRef ds:uri="Strauss.PersonalizationDefinition"/>
  </ds:schemaRefs>
</ds:datastoreItem>
</file>

<file path=customXml/itemProps3.xml><?xml version="1.0" encoding="utf-8"?>
<ds:datastoreItem xmlns:ds="http://schemas.openxmlformats.org/officeDocument/2006/customXml" ds:itemID="{8C813AD3-4323-4935-9B1F-5249375C68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A3D745BE-9CEC-4023-A6D3-C6C7407C7839}">
  <ds:schemaRefs>
    <ds:schemaRef ds:uri="http://schemas.microsoft.com/sharepoint/v3/contenttype/forms"/>
  </ds:schemaRefs>
</ds:datastoreItem>
</file>

<file path=customXml/itemProps6.xml><?xml version="1.0" encoding="utf-8"?>
<ds:datastoreItem xmlns:ds="http://schemas.openxmlformats.org/officeDocument/2006/customXml" ds:itemID="{993A5BF1-7D62-46F4-96ED-121737ABC015}">
  <ds:schemaRefs>
    <ds:schemaRef ds:uri="0b15a96f-9efd-4f0c-b199-c53b2a01cb9d"/>
    <ds:schemaRef ds:uri="http://schemas.microsoft.com/office/2006/metadata/properties"/>
    <ds:schemaRef ds:uri="http://schemas.microsoft.com/office/infopath/2007/PartnerControls"/>
    <ds:schemaRef ds:uri="http://schemas.microsoft.com/sharepoint/v3"/>
  </ds:schemaRefs>
</ds:datastoreItem>
</file>

<file path=customXml/itemProps7.xml><?xml version="1.0" encoding="utf-8"?>
<ds:datastoreItem xmlns:ds="http://schemas.openxmlformats.org/officeDocument/2006/customXml" ds:itemID="{9EEC7FED-AC7D-45C9-8F29-C2C8A7233C3D}">
  <ds:schemaRefs>
    <ds:schemaRef ds:uri="Strauss.PersonalizationDefinition"/>
  </ds:schemaRefs>
</ds:datastoreItem>
</file>

<file path=customXml/itemProps8.xml><?xml version="1.0" encoding="utf-8"?>
<ds:datastoreItem xmlns:ds="http://schemas.openxmlformats.org/officeDocument/2006/customXml" ds:itemID="{2916D195-CB55-4895-A649-8D8A5FB512F7}">
  <ds:schemaRefs>
    <ds:schemaRef ds:uri="Strauss.PersonalizationDefinition"/>
  </ds:schemaRefs>
</ds:datastoreItem>
</file>

<file path=customXml/itemProps9.xml><?xml version="1.0" encoding="utf-8"?>
<ds:datastoreItem xmlns:ds="http://schemas.openxmlformats.org/officeDocument/2006/customXml" ds:itemID="{571C4AB8-EB1A-445F-992A-2CCE93638DAC}">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749</TotalTime>
  <Words>7022</Words>
  <Application>Microsoft Office PowerPoint</Application>
  <PresentationFormat>Widescreen</PresentationFormat>
  <Paragraphs>763</Paragraphs>
  <Slides>37</Slides>
  <Notes>32</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37</vt:i4>
      </vt:variant>
    </vt:vector>
  </HeadingPairs>
  <TitlesOfParts>
    <vt:vector size="50" baseType="lpstr">
      <vt:lpstr>Arial</vt:lpstr>
      <vt:lpstr>Calibri</vt:lpstr>
      <vt:lpstr>Calibri Light</vt:lpstr>
      <vt:lpstr>Cambria</vt:lpstr>
      <vt:lpstr>Comic Sans MS</vt:lpstr>
      <vt:lpstr>Consolas</vt:lpstr>
      <vt:lpstr>Segoe UI</vt:lpstr>
      <vt:lpstr>Segoe UI Light</vt:lpstr>
      <vt:lpstr>Segoe UI Light (Headings)</vt:lpstr>
      <vt:lpstr>Segoe UI Semibold</vt:lpstr>
      <vt:lpstr>Segoe UI Semilight</vt:lpstr>
      <vt:lpstr>Wingdings</vt:lpstr>
      <vt:lpstr>Dark Blue</vt:lpstr>
      <vt:lpstr>Introduction to Azure SQL</vt:lpstr>
      <vt:lpstr>PowerPoint Presentation</vt:lpstr>
      <vt:lpstr>Learning Units covered in this Module</vt:lpstr>
      <vt:lpstr>Lesson 1: Basic concepts of Azure SQL</vt:lpstr>
      <vt:lpstr>Objectives</vt:lpstr>
      <vt:lpstr>What is Microsoft Azure?</vt:lpstr>
      <vt:lpstr>What is Microsoft Azure?</vt:lpstr>
      <vt:lpstr>Benefits of Cloud Computing</vt:lpstr>
      <vt:lpstr>Hosting Models</vt:lpstr>
      <vt:lpstr>Data platform continuum</vt:lpstr>
      <vt:lpstr>PowerPoint Presentation</vt:lpstr>
      <vt:lpstr>A closer look… Best for</vt:lpstr>
      <vt:lpstr>Azure SQL Database Purchasing models and resources</vt:lpstr>
      <vt:lpstr>Purchasing models available for Azure SQL Database deployment:</vt:lpstr>
      <vt:lpstr>Overview Service Tiers </vt:lpstr>
      <vt:lpstr>Database Transaction Units (DTUs)</vt:lpstr>
      <vt:lpstr>DTU-based model: Service Tiers </vt:lpstr>
      <vt:lpstr>Changing Performance Levels (DTU)</vt:lpstr>
      <vt:lpstr>Changing Performance Levels (vCore)</vt:lpstr>
      <vt:lpstr>Changing Compute Tier and Hardware (vCore)</vt:lpstr>
      <vt:lpstr>vCore-based purchasing model: Provisioned compute tier </vt:lpstr>
      <vt:lpstr>Choose from hardware generations</vt:lpstr>
      <vt:lpstr>vCore-based purchasing model: Serverless compute tier</vt:lpstr>
      <vt:lpstr>Provisioned compute and serverless meet different needs</vt:lpstr>
      <vt:lpstr>Serverless price to performance with per-second billing </vt:lpstr>
      <vt:lpstr>Lesson 2: How to create Azure SQL Database</vt:lpstr>
      <vt:lpstr>Objectives</vt:lpstr>
      <vt:lpstr>Azure SQL Database Server is not a machine... </vt:lpstr>
      <vt:lpstr>Server Provisioning</vt:lpstr>
      <vt:lpstr>Azure SQL Database Firewall</vt:lpstr>
      <vt:lpstr>Demonstration</vt:lpstr>
      <vt:lpstr>Questions?</vt:lpstr>
      <vt:lpstr>SQL Server Management Studio</vt:lpstr>
      <vt:lpstr>SQL Server Data Tools</vt:lpstr>
      <vt:lpstr>Azure Data Studio</vt:lpstr>
      <vt:lpstr>Azure Porta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zure SQL Database</dc:title>
  <dc:creator>Renata Festa</dc:creator>
  <cp:lastModifiedBy>John Deardurff</cp:lastModifiedBy>
  <cp:revision>34</cp:revision>
  <dcterms:created xsi:type="dcterms:W3CDTF">2020-03-23T21:04:08Z</dcterms:created>
  <dcterms:modified xsi:type="dcterms:W3CDTF">2022-08-11T14:4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